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tags/tag8.xml" ContentType="application/vnd.openxmlformats-officedocument.presentationml.tags+xml"/>
  <Override PartName="/ppt/slideLayouts/slideLayout57.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93.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Default Extension="xlsx" ContentType="application/vnd.openxmlformats-officedocument.spreadsheetml.sheet"/>
  <Override PartName="/ppt/diagrams/layout1.xml" ContentType="application/vnd.openxmlformats-officedocument.drawingml.diagramLayout+xml"/>
  <Override PartName="/ppt/charts/chart3.xml" ContentType="application/vnd.openxmlformats-officedocument.drawingml.char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tags/tag5.xml" ContentType="application/vnd.openxmlformats-officedocument.presentationml.tags+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slideLayouts/slideLayout6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notesSlides/notesSlide13.xml" ContentType="application/vnd.openxmlformats-officedocument.presentationml.notesSlide+xml"/>
  <Default Extension="wdp" ContentType="image/vnd.ms-photo"/>
  <Override PartName="/ppt/slideLayouts/slideLayout10.xml" ContentType="application/vnd.openxmlformats-officedocument.presentationml.slideLayout+xml"/>
  <Default Extension="gif" ContentType="image/gif"/>
  <Override PartName="/ppt/notesSlides/notesSlide8.xml" ContentType="application/vnd.openxmlformats-officedocument.presentationml.notesSlide+xml"/>
  <Override PartName="/ppt/notesSlides/notesSlide20.xml" ContentType="application/vnd.openxmlformats-officedocument.presentationml.notesSlide+xml"/>
  <Override PartName="/ppt/slides/slide8.xml" ContentType="application/vnd.openxmlformats-officedocument.presentationml.slide+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88.xml" ContentType="application/vnd.openxmlformats-officedocument.presentationml.slideLayout+xml"/>
  <Override PartName="/ppt/slideLayouts/slideLayout97.xml" ContentType="application/vnd.openxmlformats-officedocument.presentationml.slideLayout+xml"/>
  <Override PartName="/ppt/tags/tag11.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Layouts/slideLayout89.xml" ContentType="application/vnd.openxmlformats-officedocument.presentationml.slideLayout+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tags/tag7.xml" ContentType="application/vnd.openxmlformats-officedocument.presentationml.tags+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Default Extension="jpeg" ContentType="image/jpeg"/>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erverZoom="100000" strictFirstAndLastChars="0" saveSubsetFonts="1">
  <p:sldMasterIdLst>
    <p:sldMasterId id="2147483648" r:id="rId1"/>
    <p:sldMasterId id="2147483760" r:id="rId2"/>
    <p:sldMasterId id="2147483832" r:id="rId3"/>
    <p:sldMasterId id="2147484525" r:id="rId4"/>
  </p:sldMasterIdLst>
  <p:notesMasterIdLst>
    <p:notesMasterId r:id="rId28"/>
  </p:notesMasterIdLst>
  <p:sldIdLst>
    <p:sldId id="788" r:id="rId5"/>
    <p:sldId id="529" r:id="rId6"/>
    <p:sldId id="851" r:id="rId7"/>
    <p:sldId id="812" r:id="rId8"/>
    <p:sldId id="807" r:id="rId9"/>
    <p:sldId id="813" r:id="rId10"/>
    <p:sldId id="826" r:id="rId11"/>
    <p:sldId id="809" r:id="rId12"/>
    <p:sldId id="816" r:id="rId13"/>
    <p:sldId id="829" r:id="rId14"/>
    <p:sldId id="833" r:id="rId15"/>
    <p:sldId id="819" r:id="rId16"/>
    <p:sldId id="852" r:id="rId17"/>
    <p:sldId id="850" r:id="rId18"/>
    <p:sldId id="792" r:id="rId19"/>
    <p:sldId id="830" r:id="rId20"/>
    <p:sldId id="822" r:id="rId21"/>
    <p:sldId id="831" r:id="rId22"/>
    <p:sldId id="849" r:id="rId23"/>
    <p:sldId id="584" r:id="rId24"/>
    <p:sldId id="853" r:id="rId25"/>
    <p:sldId id="799" r:id="rId26"/>
    <p:sldId id="825" r:id="rId27"/>
  </p:sldIdLst>
  <p:sldSz cx="24384000" cy="13716000"/>
  <p:notesSz cx="6797675" cy="9928225"/>
  <p:defaultTextStyle>
    <a:defPPr>
      <a:defRPr lang="en-US"/>
    </a:defPPr>
    <a:lvl1pPr algn="ctr" defTabSz="825500" rtl="0" fontAlgn="base" hangingPunct="0">
      <a:spcBef>
        <a:spcPct val="0"/>
      </a:spcBef>
      <a:spcAft>
        <a:spcPct val="0"/>
      </a:spcAft>
      <a:defRPr sz="5600" kern="1200">
        <a:solidFill>
          <a:srgbClr val="000000"/>
        </a:solidFill>
        <a:latin typeface="Gill Sans" charset="0"/>
        <a:ea typeface="Gill Sans" charset="0"/>
        <a:cs typeface="Gill Sans" charset="0"/>
        <a:sym typeface="Gill Sans" charset="0"/>
      </a:defRPr>
    </a:lvl1pPr>
    <a:lvl2pPr marL="342900" algn="ctr" defTabSz="825500" rtl="0" fontAlgn="base" hangingPunct="0">
      <a:spcBef>
        <a:spcPct val="0"/>
      </a:spcBef>
      <a:spcAft>
        <a:spcPct val="0"/>
      </a:spcAft>
      <a:defRPr sz="5600" kern="1200">
        <a:solidFill>
          <a:srgbClr val="000000"/>
        </a:solidFill>
        <a:latin typeface="Gill Sans" charset="0"/>
        <a:ea typeface="Gill Sans" charset="0"/>
        <a:cs typeface="Gill Sans" charset="0"/>
        <a:sym typeface="Gill Sans" charset="0"/>
      </a:defRPr>
    </a:lvl2pPr>
    <a:lvl3pPr marL="685800" algn="ctr" defTabSz="825500" rtl="0" fontAlgn="base" hangingPunct="0">
      <a:spcBef>
        <a:spcPct val="0"/>
      </a:spcBef>
      <a:spcAft>
        <a:spcPct val="0"/>
      </a:spcAft>
      <a:defRPr sz="5600" kern="1200">
        <a:solidFill>
          <a:srgbClr val="000000"/>
        </a:solidFill>
        <a:latin typeface="Gill Sans" charset="0"/>
        <a:ea typeface="Gill Sans" charset="0"/>
        <a:cs typeface="Gill Sans" charset="0"/>
        <a:sym typeface="Gill Sans" charset="0"/>
      </a:defRPr>
    </a:lvl3pPr>
    <a:lvl4pPr marL="1028700" algn="ctr" defTabSz="825500" rtl="0" fontAlgn="base" hangingPunct="0">
      <a:spcBef>
        <a:spcPct val="0"/>
      </a:spcBef>
      <a:spcAft>
        <a:spcPct val="0"/>
      </a:spcAft>
      <a:defRPr sz="5600" kern="1200">
        <a:solidFill>
          <a:srgbClr val="000000"/>
        </a:solidFill>
        <a:latin typeface="Gill Sans" charset="0"/>
        <a:ea typeface="Gill Sans" charset="0"/>
        <a:cs typeface="Gill Sans" charset="0"/>
        <a:sym typeface="Gill Sans" charset="0"/>
      </a:defRPr>
    </a:lvl4pPr>
    <a:lvl5pPr marL="1371600" algn="ctr" defTabSz="825500" rtl="0" fontAlgn="base" hangingPunct="0">
      <a:spcBef>
        <a:spcPct val="0"/>
      </a:spcBef>
      <a:spcAft>
        <a:spcPct val="0"/>
      </a:spcAft>
      <a:defRPr sz="5600" kern="1200">
        <a:solidFill>
          <a:srgbClr val="000000"/>
        </a:solidFill>
        <a:latin typeface="Gill Sans" charset="0"/>
        <a:ea typeface="Gill Sans" charset="0"/>
        <a:cs typeface="Gill Sans" charset="0"/>
        <a:sym typeface="Gill Sans" charset="0"/>
      </a:defRPr>
    </a:lvl5pPr>
    <a:lvl6pPr marL="2286000" algn="l" defTabSz="914400" rtl="0" eaLnBrk="1" latinLnBrk="0" hangingPunct="1">
      <a:defRPr sz="5600" kern="1200">
        <a:solidFill>
          <a:srgbClr val="000000"/>
        </a:solidFill>
        <a:latin typeface="Gill Sans" charset="0"/>
        <a:ea typeface="Gill Sans" charset="0"/>
        <a:cs typeface="Gill Sans" charset="0"/>
        <a:sym typeface="Gill Sans" charset="0"/>
      </a:defRPr>
    </a:lvl6pPr>
    <a:lvl7pPr marL="2743200" algn="l" defTabSz="914400" rtl="0" eaLnBrk="1" latinLnBrk="0" hangingPunct="1">
      <a:defRPr sz="5600" kern="1200">
        <a:solidFill>
          <a:srgbClr val="000000"/>
        </a:solidFill>
        <a:latin typeface="Gill Sans" charset="0"/>
        <a:ea typeface="Gill Sans" charset="0"/>
        <a:cs typeface="Gill Sans" charset="0"/>
        <a:sym typeface="Gill Sans" charset="0"/>
      </a:defRPr>
    </a:lvl7pPr>
    <a:lvl8pPr marL="3200400" algn="l" defTabSz="914400" rtl="0" eaLnBrk="1" latinLnBrk="0" hangingPunct="1">
      <a:defRPr sz="5600" kern="1200">
        <a:solidFill>
          <a:srgbClr val="000000"/>
        </a:solidFill>
        <a:latin typeface="Gill Sans" charset="0"/>
        <a:ea typeface="Gill Sans" charset="0"/>
        <a:cs typeface="Gill Sans" charset="0"/>
        <a:sym typeface="Gill Sans" charset="0"/>
      </a:defRPr>
    </a:lvl8pPr>
    <a:lvl9pPr marL="3657600" algn="l" defTabSz="914400" rtl="0" eaLnBrk="1" latinLnBrk="0" hangingPunct="1">
      <a:defRPr sz="5600" kern="1200">
        <a:solidFill>
          <a:srgbClr val="000000"/>
        </a:solidFill>
        <a:latin typeface="Gill Sans" charset="0"/>
        <a:ea typeface="Gill Sans" charset="0"/>
        <a:cs typeface="Gill Sans" charset="0"/>
        <a:sym typeface="Gill Sans" charset="0"/>
      </a:defRPr>
    </a:lvl9pPr>
  </p:defaultTextStyle>
  <p:extLst>
    <p:ext uri="{EFAFB233-063F-42B5-8137-9DF3F51BA10A}">
      <p15:sldGuideLst xmlns:p15="http://schemas.microsoft.com/office/powerpoint/2012/main" xmlns="">
        <p15:guide id="1" orient="horz" pos="4320">
          <p15:clr>
            <a:srgbClr val="A4A3A4"/>
          </p15:clr>
        </p15:guide>
        <p15:guide id="2" pos="7680">
          <p15:clr>
            <a:srgbClr val="A4A3A4"/>
          </p15:clr>
        </p15:guide>
        <p15:guide id="3" pos="2093">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4A199"/>
    <a:srgbClr val="69CAC0"/>
    <a:srgbClr val="5BBFB7"/>
    <a:srgbClr val="E8A556"/>
    <a:srgbClr val="E69427"/>
    <a:srgbClr val="D7D7D7"/>
    <a:srgbClr val="EAEAEA"/>
    <a:srgbClr val="FFFFFF"/>
    <a:srgbClr val="F4F4F4"/>
    <a:srgbClr val="DFDFD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vertBarState="minimized">
    <p:restoredLeft sz="9628" autoAdjust="0"/>
    <p:restoredTop sz="91101" autoAdjust="0"/>
  </p:normalViewPr>
  <p:slideViewPr>
    <p:cSldViewPr snapToGrid="0" snapToObjects="1">
      <p:cViewPr varScale="1">
        <p:scale>
          <a:sx n="38" d="100"/>
          <a:sy n="38" d="100"/>
        </p:scale>
        <p:origin x="-1512" y="-72"/>
      </p:cViewPr>
      <p:guideLst>
        <p:guide orient="horz" pos="4320"/>
        <p:guide pos="7680"/>
        <p:guide pos="2093"/>
      </p:guideLst>
    </p:cSldViewPr>
  </p:slideViewPr>
  <p:notesTextViewPr>
    <p:cViewPr>
      <p:scale>
        <a:sx n="100" d="100"/>
        <a:sy n="100" d="100"/>
      </p:scale>
      <p:origin x="0" y="0"/>
    </p:cViewPr>
  </p:notesTextViewPr>
  <p:sorterViewPr>
    <p:cViewPr>
      <p:scale>
        <a:sx n="50" d="100"/>
        <a:sy n="50" d="100"/>
      </p:scale>
      <p:origin x="0" y="2592"/>
    </p:cViewPr>
  </p:sorterViewPr>
  <p:notesViewPr>
    <p:cSldViewPr snapToGrid="0">
      <p:cViewPr varScale="1">
        <p:scale>
          <a:sx n="66" d="100"/>
          <a:sy n="66" d="100"/>
        </p:scale>
        <p:origin x="0" y="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Feuille_Microsoft_Office_Excel1.xlsx"/></Relationships>
</file>

<file path=ppt/charts/_rels/chart2.xml.rels><?xml version="1.0" encoding="UTF-8" standalone="yes"?>
<Relationships xmlns="http://schemas.openxmlformats.org/package/2006/relationships"><Relationship Id="rId1" Type="http://schemas.openxmlformats.org/officeDocument/2006/relationships/package" Target="../embeddings/Feuille_Microsoft_Office_Excel2.xlsx"/></Relationships>
</file>

<file path=ppt/charts/_rels/chart3.xml.rels><?xml version="1.0" encoding="UTF-8" standalone="yes"?>
<Relationships xmlns="http://schemas.openxmlformats.org/package/2006/relationships"><Relationship Id="rId1" Type="http://schemas.openxmlformats.org/officeDocument/2006/relationships/package" Target="../embeddings/Feuille_Microsoft_Office_Excel3.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7.0902458683708494E-2"/>
          <c:y val="3.1515877813767336E-2"/>
          <c:w val="0.89874263145615862"/>
          <c:h val="0.75544058934468605"/>
        </c:manualLayout>
      </c:layout>
      <c:lineChart>
        <c:grouping val="standard"/>
        <c:ser>
          <c:idx val="0"/>
          <c:order val="0"/>
          <c:tx>
            <c:strRef>
              <c:f>Sheet1!$A$2</c:f>
              <c:strCache>
                <c:ptCount val="1"/>
                <c:pt idx="0">
                  <c:v>Big 4</c:v>
                </c:pt>
              </c:strCache>
            </c:strRef>
          </c:tx>
          <c:spPr>
            <a:ln w="88900">
              <a:solidFill>
                <a:schemeClr val="accent5"/>
              </a:solidFill>
              <a:prstDash val="solid"/>
            </a:ln>
            <a:effectLst/>
          </c:spPr>
          <c:marker>
            <c:symbol val="circle"/>
            <c:size val="22"/>
            <c:spPr>
              <a:solidFill>
                <a:srgbClr val="FFFFFF"/>
              </a:solidFill>
              <a:ln w="76200">
                <a:solidFill>
                  <a:schemeClr val="accent5"/>
                </a:solidFill>
                <a:prstDash val="solid"/>
              </a:ln>
              <a:effectLst/>
            </c:spPr>
          </c:marker>
          <c:cat>
            <c:strRef>
              <c:f>Sheet1!$B$1:$H$1</c:f>
              <c:strCache>
                <c:ptCount val="7"/>
                <c:pt idx="0">
                  <c:v>Industry Knowledge</c:v>
                </c:pt>
                <c:pt idx="1">
                  <c:v>Brand</c:v>
                </c:pt>
                <c:pt idx="2">
                  <c:v>Trust &amp; credit worthiness</c:v>
                </c:pt>
                <c:pt idx="3">
                  <c:v>Time to deliver report</c:v>
                </c:pt>
                <c:pt idx="4">
                  <c:v>Full data vs. Sample audit</c:v>
                </c:pt>
                <c:pt idx="5">
                  <c:v>Delivery within budget</c:v>
                </c:pt>
                <c:pt idx="6">
                  <c:v>Price</c:v>
                </c:pt>
              </c:strCache>
            </c:strRef>
          </c:cat>
          <c:val>
            <c:numRef>
              <c:f>Sheet1!$B$2:$H$2</c:f>
              <c:numCache>
                <c:formatCode>General</c:formatCode>
                <c:ptCount val="7"/>
                <c:pt idx="0">
                  <c:v>5</c:v>
                </c:pt>
                <c:pt idx="1">
                  <c:v>5</c:v>
                </c:pt>
                <c:pt idx="2">
                  <c:v>5</c:v>
                </c:pt>
                <c:pt idx="3">
                  <c:v>2</c:v>
                </c:pt>
                <c:pt idx="4">
                  <c:v>1</c:v>
                </c:pt>
                <c:pt idx="5">
                  <c:v>1</c:v>
                </c:pt>
                <c:pt idx="6">
                  <c:v>1</c:v>
                </c:pt>
              </c:numCache>
            </c:numRef>
          </c:val>
          <c:extLst xmlns:c16r2="http://schemas.microsoft.com/office/drawing/2015/06/chart">
            <c:ext xmlns:c16="http://schemas.microsoft.com/office/drawing/2014/chart" uri="{C3380CC4-5D6E-409C-BE32-E72D297353CC}">
              <c16:uniqueId val="{00000000-E8A3-49CD-81C6-FC62E195276A}"/>
            </c:ext>
          </c:extLst>
        </c:ser>
        <c:ser>
          <c:idx val="1"/>
          <c:order val="1"/>
          <c:tx>
            <c:strRef>
              <c:f>Sheet1!$A$3</c:f>
              <c:strCache>
                <c:ptCount val="1"/>
                <c:pt idx="0">
                  <c:v>BI - Auditing</c:v>
                </c:pt>
              </c:strCache>
            </c:strRef>
          </c:tx>
          <c:spPr>
            <a:ln w="88900">
              <a:solidFill>
                <a:schemeClr val="accent3"/>
              </a:solidFill>
              <a:prstDash val="solid"/>
            </a:ln>
            <a:effectLst/>
          </c:spPr>
          <c:marker>
            <c:symbol val="circle"/>
            <c:size val="22"/>
            <c:spPr>
              <a:solidFill>
                <a:srgbClr val="FFFFFF"/>
              </a:solidFill>
              <a:ln w="76200">
                <a:solidFill>
                  <a:schemeClr val="accent3"/>
                </a:solidFill>
                <a:prstDash val="solid"/>
              </a:ln>
              <a:effectLst/>
            </c:spPr>
          </c:marker>
          <c:cat>
            <c:strRef>
              <c:f>Sheet1!$B$1:$H$1</c:f>
              <c:strCache>
                <c:ptCount val="7"/>
                <c:pt idx="0">
                  <c:v>Industry Knowledge</c:v>
                </c:pt>
                <c:pt idx="1">
                  <c:v>Brand</c:v>
                </c:pt>
                <c:pt idx="2">
                  <c:v>Trust &amp; credit worthiness</c:v>
                </c:pt>
                <c:pt idx="3">
                  <c:v>Time to deliver report</c:v>
                </c:pt>
                <c:pt idx="4">
                  <c:v>Full data vs. Sample audit</c:v>
                </c:pt>
                <c:pt idx="5">
                  <c:v>Delivery within budget</c:v>
                </c:pt>
                <c:pt idx="6">
                  <c:v>Price</c:v>
                </c:pt>
              </c:strCache>
            </c:strRef>
          </c:cat>
          <c:val>
            <c:numRef>
              <c:f>Sheet1!$B$3:$H$3</c:f>
              <c:numCache>
                <c:formatCode>General</c:formatCode>
                <c:ptCount val="7"/>
                <c:pt idx="0">
                  <c:v>4</c:v>
                </c:pt>
                <c:pt idx="1">
                  <c:v>4</c:v>
                </c:pt>
                <c:pt idx="2">
                  <c:v>4</c:v>
                </c:pt>
                <c:pt idx="3">
                  <c:v>3</c:v>
                </c:pt>
                <c:pt idx="4">
                  <c:v>4</c:v>
                </c:pt>
                <c:pt idx="5">
                  <c:v>3</c:v>
                </c:pt>
                <c:pt idx="6">
                  <c:v>3</c:v>
                </c:pt>
              </c:numCache>
            </c:numRef>
          </c:val>
          <c:extLst xmlns:c16r2="http://schemas.microsoft.com/office/drawing/2015/06/chart">
            <c:ext xmlns:c16="http://schemas.microsoft.com/office/drawing/2014/chart" uri="{C3380CC4-5D6E-409C-BE32-E72D297353CC}">
              <c16:uniqueId val="{00000001-E8A3-49CD-81C6-FC62E195276A}"/>
            </c:ext>
          </c:extLst>
        </c:ser>
        <c:ser>
          <c:idx val="2"/>
          <c:order val="2"/>
          <c:tx>
            <c:strRef>
              <c:f>Sheet1!$A$4</c:f>
              <c:strCache>
                <c:ptCount val="1"/>
                <c:pt idx="0">
                  <c:v>Eye2Scan</c:v>
                </c:pt>
              </c:strCache>
            </c:strRef>
          </c:tx>
          <c:spPr>
            <a:ln w="88900">
              <a:solidFill>
                <a:schemeClr val="bg2">
                  <a:lumMod val="75000"/>
                </a:schemeClr>
              </a:solidFill>
            </a:ln>
          </c:spPr>
          <c:marker>
            <c:symbol val="circle"/>
            <c:size val="22"/>
            <c:spPr>
              <a:solidFill>
                <a:srgbClr val="FFFFFF"/>
              </a:solidFill>
              <a:ln w="88900">
                <a:solidFill>
                  <a:schemeClr val="bg2">
                    <a:lumMod val="75000"/>
                  </a:schemeClr>
                </a:solidFill>
              </a:ln>
            </c:spPr>
          </c:marker>
          <c:cat>
            <c:strRef>
              <c:f>Sheet1!$B$1:$H$1</c:f>
              <c:strCache>
                <c:ptCount val="7"/>
                <c:pt idx="0">
                  <c:v>Industry Knowledge</c:v>
                </c:pt>
                <c:pt idx="1">
                  <c:v>Brand</c:v>
                </c:pt>
                <c:pt idx="2">
                  <c:v>Trust &amp; credit worthiness</c:v>
                </c:pt>
                <c:pt idx="3">
                  <c:v>Time to deliver report</c:v>
                </c:pt>
                <c:pt idx="4">
                  <c:v>Full data vs. Sample audit</c:v>
                </c:pt>
                <c:pt idx="5">
                  <c:v>Delivery within budget</c:v>
                </c:pt>
                <c:pt idx="6">
                  <c:v>Price</c:v>
                </c:pt>
              </c:strCache>
            </c:strRef>
          </c:cat>
          <c:val>
            <c:numRef>
              <c:f>Sheet1!$B$4:$H$4</c:f>
              <c:numCache>
                <c:formatCode>General</c:formatCode>
                <c:ptCount val="7"/>
                <c:pt idx="0">
                  <c:v>3</c:v>
                </c:pt>
                <c:pt idx="1">
                  <c:v>2</c:v>
                </c:pt>
                <c:pt idx="2">
                  <c:v>2</c:v>
                </c:pt>
                <c:pt idx="3">
                  <c:v>5</c:v>
                </c:pt>
                <c:pt idx="4">
                  <c:v>5</c:v>
                </c:pt>
                <c:pt idx="5">
                  <c:v>5</c:v>
                </c:pt>
                <c:pt idx="6">
                  <c:v>5</c:v>
                </c:pt>
              </c:numCache>
            </c:numRef>
          </c:val>
          <c:extLst xmlns:c16r2="http://schemas.microsoft.com/office/drawing/2015/06/chart">
            <c:ext xmlns:c16="http://schemas.microsoft.com/office/drawing/2014/chart" uri="{C3380CC4-5D6E-409C-BE32-E72D297353CC}">
              <c16:uniqueId val="{00000002-E8A3-49CD-81C6-FC62E195276A}"/>
            </c:ext>
          </c:extLst>
        </c:ser>
        <c:marker val="1"/>
        <c:axId val="114180480"/>
        <c:axId val="114182016"/>
      </c:lineChart>
      <c:catAx>
        <c:axId val="114180480"/>
        <c:scaling>
          <c:orientation val="minMax"/>
        </c:scaling>
        <c:axPos val="b"/>
        <c:numFmt formatCode="General" sourceLinked="0"/>
        <c:majorTickMark val="cross"/>
        <c:tickLblPos val="low"/>
        <c:spPr>
          <a:ln w="41275">
            <a:solidFill>
              <a:srgbClr val="919191"/>
            </a:solidFill>
            <a:prstDash val="solid"/>
          </a:ln>
        </c:spPr>
        <c:txPr>
          <a:bodyPr rot="0" vert="horz" anchor="t" anchorCtr="0"/>
          <a:lstStyle/>
          <a:p>
            <a:pPr>
              <a:defRPr lang="en-US" sz="3200" b="0" i="0" u="none" strike="noStrike" baseline="0">
                <a:solidFill>
                  <a:schemeClr val="tx1">
                    <a:alpha val="67000"/>
                  </a:schemeClr>
                </a:solidFill>
                <a:latin typeface="Lato Light"/>
                <a:ea typeface="Lato Light"/>
                <a:cs typeface="Lato Light"/>
              </a:defRPr>
            </a:pPr>
            <a:endParaRPr lang="fr-FR"/>
          </a:p>
        </c:txPr>
        <c:crossAx val="114182016"/>
        <c:crosses val="autoZero"/>
        <c:auto val="1"/>
        <c:lblAlgn val="ctr"/>
        <c:lblOffset val="100"/>
        <c:tickMarkSkip val="1"/>
      </c:catAx>
      <c:valAx>
        <c:axId val="114182016"/>
        <c:scaling>
          <c:orientation val="minMax"/>
        </c:scaling>
        <c:axPos val="l"/>
        <c:numFmt formatCode="General" sourceLinked="1"/>
        <c:majorTickMark val="cross"/>
        <c:tickLblPos val="nextTo"/>
        <c:spPr>
          <a:ln w="41275">
            <a:solidFill>
              <a:srgbClr val="919191"/>
            </a:solidFill>
            <a:prstDash val="solid"/>
          </a:ln>
        </c:spPr>
        <c:txPr>
          <a:bodyPr rot="0" vert="horz"/>
          <a:lstStyle/>
          <a:p>
            <a:pPr>
              <a:defRPr lang="en-US" sz="3200" b="0" i="0" u="none" strike="noStrike" baseline="0">
                <a:solidFill>
                  <a:schemeClr val="tx1">
                    <a:alpha val="76000"/>
                  </a:schemeClr>
                </a:solidFill>
                <a:latin typeface="Lato Light"/>
                <a:ea typeface="Lato Light"/>
                <a:cs typeface="Lato Light"/>
              </a:defRPr>
            </a:pPr>
            <a:endParaRPr lang="fr-FR"/>
          </a:p>
        </c:txPr>
        <c:crossAx val="114180480"/>
        <c:crosses val="autoZero"/>
        <c:crossBetween val="midCat"/>
        <c:majorUnit val="1"/>
      </c:valAx>
      <c:spPr>
        <a:solidFill>
          <a:schemeClr val="tx1">
            <a:lumMod val="60000"/>
            <a:lumOff val="40000"/>
            <a:alpha val="5000"/>
          </a:schemeClr>
        </a:solidFill>
        <a:ln w="33881">
          <a:noFill/>
        </a:ln>
      </c:spPr>
    </c:plotArea>
    <c:plotVisOnly val="1"/>
    <c:dispBlanksAs val="gap"/>
  </c:chart>
  <c:spPr>
    <a:noFill/>
    <a:ln>
      <a:noFill/>
    </a:ln>
  </c:spPr>
  <c:txPr>
    <a:bodyPr/>
    <a:lstStyle/>
    <a:p>
      <a:pPr>
        <a:defRPr sz="3201" b="0" i="0" u="none" strike="noStrike" baseline="0">
          <a:solidFill>
            <a:srgbClr val="000000"/>
          </a:solidFill>
          <a:latin typeface="Gill Sans"/>
          <a:ea typeface="Gill Sans"/>
          <a:cs typeface="Gill Sans"/>
        </a:defRPr>
      </a:pPr>
      <a:endParaRPr lang="fr-FR"/>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fr-FR"/>
  <c:chart>
    <c:title>
      <c:tx>
        <c:rich>
          <a:bodyPr/>
          <a:lstStyle/>
          <a:p>
            <a:pPr>
              <a:defRPr lang="en-US" sz="3134" b="0" i="0" u="none" strike="noStrike" baseline="0">
                <a:solidFill>
                  <a:srgbClr val="000000"/>
                </a:solidFill>
                <a:latin typeface="Lato Regular"/>
                <a:ea typeface="Lato Regular"/>
                <a:cs typeface="Lato Regular"/>
              </a:defRPr>
            </a:pPr>
            <a:endParaRPr lang="pl-PL"/>
          </a:p>
        </c:rich>
      </c:tx>
      <c:layout>
        <c:manualLayout>
          <c:xMode val="edge"/>
          <c:yMode val="edge"/>
          <c:x val="0.49431230610134425"/>
          <c:y val="2.0338983050847397E-2"/>
        </c:manualLayout>
      </c:layout>
      <c:spPr>
        <a:noFill/>
        <a:ln w="33165">
          <a:noFill/>
        </a:ln>
      </c:spPr>
    </c:title>
    <c:plotArea>
      <c:layout>
        <c:manualLayout>
          <c:layoutTarget val="inner"/>
          <c:xMode val="edge"/>
          <c:yMode val="edge"/>
          <c:x val="0.28128231644260615"/>
          <c:y val="4.0036880622504226E-2"/>
          <c:w val="0.71975180972078634"/>
          <c:h val="0.84790841327916366"/>
        </c:manualLayout>
      </c:layout>
      <c:barChart>
        <c:barDir val="col"/>
        <c:grouping val="stacked"/>
        <c:ser>
          <c:idx val="0"/>
          <c:order val="0"/>
          <c:tx>
            <c:strRef>
              <c:f>Sheet1!$A$3</c:f>
              <c:strCache>
                <c:ptCount val="1"/>
                <c:pt idx="0">
                  <c:v>2015</c:v>
                </c:pt>
              </c:strCache>
            </c:strRef>
          </c:tx>
          <c:spPr>
            <a:solidFill>
              <a:srgbClr val="69C9BF"/>
            </a:solidFill>
            <a:ln w="33165">
              <a:noFill/>
            </a:ln>
            <a:effectLst>
              <a:outerShdw dist="330200" dir="2280000" sx="99000" sy="99000" algn="br">
                <a:schemeClr val="bg1">
                  <a:lumMod val="90000"/>
                  <a:alpha val="87000"/>
                </a:schemeClr>
              </a:outerShdw>
            </a:effectLst>
          </c:spPr>
          <c:cat>
            <c:numRef>
              <c:f>Sheet1!$B$1:$F$1</c:f>
              <c:numCache>
                <c:formatCode>0</c:formatCode>
                <c:ptCount val="5"/>
                <c:pt idx="0">
                  <c:v>2016</c:v>
                </c:pt>
                <c:pt idx="1">
                  <c:v>2017</c:v>
                </c:pt>
                <c:pt idx="2">
                  <c:v>2018</c:v>
                </c:pt>
                <c:pt idx="3">
                  <c:v>2019</c:v>
                </c:pt>
                <c:pt idx="4">
                  <c:v>2020</c:v>
                </c:pt>
              </c:numCache>
            </c:numRef>
          </c:cat>
          <c:val>
            <c:numRef>
              <c:f>Sheet1!$B$3:$F$3</c:f>
              <c:numCache>
                <c:formatCode>General</c:formatCode>
                <c:ptCount val="5"/>
                <c:pt idx="0">
                  <c:v>2</c:v>
                </c:pt>
                <c:pt idx="1">
                  <c:v>8</c:v>
                </c:pt>
                <c:pt idx="2">
                  <c:v>35</c:v>
                </c:pt>
                <c:pt idx="3">
                  <c:v>80</c:v>
                </c:pt>
                <c:pt idx="4">
                  <c:v>165</c:v>
                </c:pt>
              </c:numCache>
            </c:numRef>
          </c:val>
          <c:extLst xmlns:c16r2="http://schemas.microsoft.com/office/drawing/2015/06/chart">
            <c:ext xmlns:c16="http://schemas.microsoft.com/office/drawing/2014/chart" uri="{C3380CC4-5D6E-409C-BE32-E72D297353CC}">
              <c16:uniqueId val="{00000000-87B7-46D3-B769-112A2F376C9F}"/>
            </c:ext>
          </c:extLst>
        </c:ser>
        <c:ser>
          <c:idx val="1"/>
          <c:order val="1"/>
          <c:tx>
            <c:strRef>
              <c:f>Sheet1!$A$2</c:f>
              <c:strCache>
                <c:ptCount val="1"/>
              </c:strCache>
            </c:strRef>
          </c:tx>
          <c:val>
            <c:numRef>
              <c:f>Sheet1!$B$2:$F$2</c:f>
              <c:numCache>
                <c:formatCode>General</c:formatCode>
                <c:ptCount val="5"/>
                <c:pt idx="0">
                  <c:v>1</c:v>
                </c:pt>
                <c:pt idx="1">
                  <c:v>3</c:v>
                </c:pt>
                <c:pt idx="2">
                  <c:v>11</c:v>
                </c:pt>
                <c:pt idx="3">
                  <c:v>46</c:v>
                </c:pt>
                <c:pt idx="4">
                  <c:v>126</c:v>
                </c:pt>
              </c:numCache>
            </c:numRef>
          </c:val>
          <c:extLst xmlns:c16r2="http://schemas.microsoft.com/office/drawing/2015/06/chart">
            <c:ext xmlns:c16="http://schemas.microsoft.com/office/drawing/2014/chart" uri="{C3380CC4-5D6E-409C-BE32-E72D297353CC}">
              <c16:uniqueId val="{00000001-87B7-46D3-B769-112A2F376C9F}"/>
            </c:ext>
          </c:extLst>
        </c:ser>
        <c:gapWidth val="29"/>
        <c:overlap val="100"/>
        <c:axId val="114490752"/>
        <c:axId val="112788608"/>
      </c:barChart>
      <c:catAx>
        <c:axId val="114490752"/>
        <c:scaling>
          <c:orientation val="minMax"/>
        </c:scaling>
        <c:axPos val="b"/>
        <c:numFmt formatCode="General" sourceLinked="0"/>
        <c:majorTickMark val="none"/>
        <c:tickLblPos val="low"/>
        <c:spPr>
          <a:ln w="8291">
            <a:noFill/>
          </a:ln>
        </c:spPr>
        <c:txPr>
          <a:bodyPr rot="0" vert="horz"/>
          <a:lstStyle/>
          <a:p>
            <a:pPr>
              <a:defRPr lang="en-US" sz="3200" b="0" i="0" u="none" strike="noStrike" baseline="0">
                <a:solidFill>
                  <a:schemeClr val="tx1"/>
                </a:solidFill>
                <a:latin typeface="Lato Light"/>
                <a:ea typeface="Lato Light"/>
                <a:cs typeface="Lato Light"/>
              </a:defRPr>
            </a:pPr>
            <a:endParaRPr lang="fr-FR"/>
          </a:p>
        </c:txPr>
        <c:crossAx val="112788608"/>
        <c:crosses val="autoZero"/>
        <c:auto val="1"/>
        <c:lblAlgn val="ctr"/>
        <c:lblOffset val="100"/>
        <c:tickLblSkip val="1"/>
        <c:tickMarkSkip val="1"/>
      </c:catAx>
      <c:valAx>
        <c:axId val="112788608"/>
        <c:scaling>
          <c:orientation val="minMax"/>
          <c:min val="0"/>
        </c:scaling>
        <c:axPos val="l"/>
        <c:majorGridlines>
          <c:spPr>
            <a:ln w="16582">
              <a:solidFill>
                <a:schemeClr val="tx1">
                  <a:lumMod val="60000"/>
                  <a:lumOff val="40000"/>
                  <a:alpha val="20000"/>
                </a:schemeClr>
              </a:solidFill>
              <a:prstDash val="solid"/>
            </a:ln>
          </c:spPr>
        </c:majorGridlines>
        <c:numFmt formatCode="General" sourceLinked="0"/>
        <c:majorTickMark val="none"/>
        <c:tickLblPos val="nextTo"/>
        <c:spPr>
          <a:ln w="8291">
            <a:noFill/>
          </a:ln>
        </c:spPr>
        <c:txPr>
          <a:bodyPr rot="0" vert="horz"/>
          <a:lstStyle/>
          <a:p>
            <a:pPr>
              <a:defRPr lang="en-US" sz="3200" b="0" i="0" u="none" strike="noStrike" baseline="0">
                <a:solidFill>
                  <a:schemeClr val="tx1"/>
                </a:solidFill>
                <a:latin typeface="Lato Light"/>
                <a:ea typeface="Lato Light"/>
                <a:cs typeface="Lato Light"/>
              </a:defRPr>
            </a:pPr>
            <a:endParaRPr lang="fr-FR"/>
          </a:p>
        </c:txPr>
        <c:crossAx val="114490752"/>
        <c:crosses val="autoZero"/>
        <c:crossBetween val="between"/>
        <c:majorUnit val="50"/>
      </c:valAx>
      <c:spPr>
        <a:noFill/>
        <a:ln w="33165">
          <a:noFill/>
        </a:ln>
      </c:spPr>
    </c:plotArea>
    <c:plotVisOnly val="1"/>
    <c:dispBlanksAs val="gap"/>
  </c:chart>
  <c:spPr>
    <a:noFill/>
    <a:ln>
      <a:noFill/>
    </a:ln>
  </c:spPr>
  <c:txPr>
    <a:bodyPr/>
    <a:lstStyle/>
    <a:p>
      <a:pPr>
        <a:defRPr sz="3134" b="0" i="0" u="none" strike="noStrike" baseline="0">
          <a:solidFill>
            <a:srgbClr val="000000"/>
          </a:solidFill>
          <a:latin typeface="Lato Regular"/>
          <a:ea typeface="Lato Regular"/>
          <a:cs typeface="Lato Regular"/>
        </a:defRPr>
      </a:pPr>
      <a:endParaRPr lang="fr-FR"/>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fr-FR"/>
  <c:chart>
    <c:autoTitleDeleted val="1"/>
    <c:plotArea>
      <c:layout/>
      <c:doughnutChart>
        <c:varyColors val="1"/>
        <c:ser>
          <c:idx val="0"/>
          <c:order val="0"/>
          <c:tx>
            <c:strRef>
              <c:f>Sheet1!$B$1</c:f>
              <c:strCache>
                <c:ptCount val="1"/>
                <c:pt idx="0">
                  <c:v>Sales</c:v>
                </c:pt>
              </c:strCache>
            </c:strRef>
          </c:tx>
          <c:spPr>
            <a:solidFill>
              <a:srgbClr val="C22733"/>
            </a:solidFill>
            <a:ln>
              <a:noFill/>
            </a:ln>
          </c:spPr>
          <c:dPt>
            <c:idx val="0"/>
            <c:spPr>
              <a:solidFill>
                <a:schemeClr val="accent3"/>
              </a:solidFill>
              <a:ln w="19050">
                <a:noFill/>
              </a:ln>
              <a:effectLst/>
            </c:spPr>
            <c:extLst xmlns:c16r2="http://schemas.microsoft.com/office/drawing/2015/06/chart">
              <c:ext xmlns:c16="http://schemas.microsoft.com/office/drawing/2014/chart" uri="{C3380CC4-5D6E-409C-BE32-E72D297353CC}">
                <c16:uniqueId val="{00000001-A9ED-4E8A-8B03-7AA3BBA5B2D7}"/>
              </c:ext>
            </c:extLst>
          </c:dPt>
          <c:dPt>
            <c:idx val="1"/>
            <c:spPr>
              <a:solidFill>
                <a:schemeClr val="tx2"/>
              </a:solidFill>
              <a:ln w="19050">
                <a:noFill/>
              </a:ln>
              <a:effectLst/>
            </c:spPr>
            <c:extLst xmlns:c16r2="http://schemas.microsoft.com/office/drawing/2015/06/chart">
              <c:ext xmlns:c16="http://schemas.microsoft.com/office/drawing/2014/chart" uri="{C3380CC4-5D6E-409C-BE32-E72D297353CC}">
                <c16:uniqueId val="{00000003-A9ED-4E8A-8B03-7AA3BBA5B2D7}"/>
              </c:ext>
            </c:extLst>
          </c:dPt>
          <c:dPt>
            <c:idx val="2"/>
            <c:spPr>
              <a:solidFill>
                <a:schemeClr val="accent5"/>
              </a:solidFill>
              <a:ln w="19050">
                <a:noFill/>
              </a:ln>
              <a:effectLst/>
            </c:spPr>
            <c:extLst xmlns:c16r2="http://schemas.microsoft.com/office/drawing/2015/06/chart">
              <c:ext xmlns:c16="http://schemas.microsoft.com/office/drawing/2014/chart" uri="{C3380CC4-5D6E-409C-BE32-E72D297353CC}">
                <c16:uniqueId val="{00000005-A9ED-4E8A-8B03-7AA3BBA5B2D7}"/>
              </c:ext>
            </c:extLst>
          </c:dPt>
          <c:dPt>
            <c:idx val="3"/>
            <c:spPr>
              <a:solidFill>
                <a:schemeClr val="accent1"/>
              </a:solidFill>
              <a:ln w="19050">
                <a:noFill/>
              </a:ln>
              <a:effectLst/>
            </c:spPr>
            <c:extLst xmlns:c16r2="http://schemas.microsoft.com/office/drawing/2015/06/chart">
              <c:ext xmlns:c16="http://schemas.microsoft.com/office/drawing/2014/chart" uri="{C3380CC4-5D6E-409C-BE32-E72D297353CC}">
                <c16:uniqueId val="{00000007-A9ED-4E8A-8B03-7AA3BBA5B2D7}"/>
              </c:ext>
            </c:extLst>
          </c:dPt>
          <c:cat>
            <c:strRef>
              <c:f>Sheet1!$A$2:$A$5</c:f>
              <c:strCache>
                <c:ptCount val="4"/>
                <c:pt idx="0">
                  <c:v>Work Cap</c:v>
                </c:pt>
                <c:pt idx="1">
                  <c:v>Operat°</c:v>
                </c:pt>
                <c:pt idx="2">
                  <c:v>Sales &amp; Mkg</c:v>
                </c:pt>
                <c:pt idx="3">
                  <c:v>Develop</c:v>
                </c:pt>
              </c:strCache>
            </c:strRef>
          </c:cat>
          <c:val>
            <c:numRef>
              <c:f>Sheet1!$B$2:$B$5</c:f>
              <c:numCache>
                <c:formatCode>0%</c:formatCode>
                <c:ptCount val="4"/>
                <c:pt idx="0">
                  <c:v>0.22033898305084701</c:v>
                </c:pt>
                <c:pt idx="1">
                  <c:v>0.38983050847457618</c:v>
                </c:pt>
                <c:pt idx="2">
                  <c:v>0.23728813559322123</c:v>
                </c:pt>
                <c:pt idx="3">
                  <c:v>0.15254237288135616</c:v>
                </c:pt>
              </c:numCache>
            </c:numRef>
          </c:val>
          <c:extLst xmlns:c16r2="http://schemas.microsoft.com/office/drawing/2015/06/chart">
            <c:ext xmlns:c16="http://schemas.microsoft.com/office/drawing/2014/chart" uri="{C3380CC4-5D6E-409C-BE32-E72D297353CC}">
              <c16:uniqueId val="{00000008-A9ED-4E8A-8B03-7AA3BBA5B2D7}"/>
            </c:ext>
          </c:extLst>
        </c:ser>
        <c:firstSliceAng val="247"/>
        <c:holeSize val="35"/>
      </c:doughnutChart>
      <c:spPr>
        <a:noFill/>
        <a:ln>
          <a:noFill/>
        </a:ln>
        <a:effectLst/>
      </c:spPr>
    </c:plotArea>
    <c:plotVisOnly val="1"/>
    <c:dispBlanksAs val="zero"/>
  </c:chart>
  <c:spPr>
    <a:noFill/>
    <a:ln>
      <a:noFill/>
    </a:ln>
    <a:effectLst/>
  </c:spPr>
  <c:txPr>
    <a:bodyPr/>
    <a:lstStyle/>
    <a:p>
      <a:pPr>
        <a:defRPr/>
      </a:pPr>
      <a:endParaRPr lang="fr-FR"/>
    </a:p>
  </c:txPr>
  <c:externalData r:id="rId1"/>
</c:chartSpac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5415D7-6025-0845-857F-D93D3CAD524D}" type="doc">
      <dgm:prSet loTypeId="urn:microsoft.com/office/officeart/2005/8/layout/funnel1" loCatId="" qsTypeId="urn:microsoft.com/office/officeart/2005/8/quickstyle/simple5" qsCatId="simple" csTypeId="urn:microsoft.com/office/officeart/2005/8/colors/colorful2" csCatId="colorful" phldr="1"/>
      <dgm:spPr/>
      <dgm:t>
        <a:bodyPr/>
        <a:lstStyle/>
        <a:p>
          <a:endParaRPr lang="en-US"/>
        </a:p>
      </dgm:t>
    </dgm:pt>
    <dgm:pt modelId="{D9A88FB3-2000-9F4D-AF9A-2D6F38CC9F72}">
      <dgm:prSet phldrT="[Text]"/>
      <dgm:spPr/>
      <dgm:t>
        <a:bodyPr/>
        <a:lstStyle/>
        <a:p>
          <a:endParaRPr lang="en-US" dirty="0"/>
        </a:p>
      </dgm:t>
    </dgm:pt>
    <dgm:pt modelId="{AE02A668-2D8B-344F-801A-C7FB0BFD5890}" type="sibTrans" cxnId="{608644C3-6695-F847-9850-6D1DD6896665}">
      <dgm:prSet/>
      <dgm:spPr/>
      <dgm:t>
        <a:bodyPr/>
        <a:lstStyle/>
        <a:p>
          <a:endParaRPr lang="en-US"/>
        </a:p>
      </dgm:t>
    </dgm:pt>
    <dgm:pt modelId="{B81FCA98-8442-8244-B71E-6FC7BF3A36BF}" type="parTrans" cxnId="{608644C3-6695-F847-9850-6D1DD6896665}">
      <dgm:prSet/>
      <dgm:spPr/>
      <dgm:t>
        <a:bodyPr/>
        <a:lstStyle/>
        <a:p>
          <a:endParaRPr lang="en-US"/>
        </a:p>
      </dgm:t>
    </dgm:pt>
    <dgm:pt modelId="{7581ACAB-4D2D-734B-A180-CB70BFF44131}" type="pres">
      <dgm:prSet presAssocID="{005415D7-6025-0845-857F-D93D3CAD524D}" presName="Name0" presStyleCnt="0">
        <dgm:presLayoutVars>
          <dgm:chMax val="4"/>
          <dgm:resizeHandles val="exact"/>
        </dgm:presLayoutVars>
      </dgm:prSet>
      <dgm:spPr/>
      <dgm:t>
        <a:bodyPr/>
        <a:lstStyle/>
        <a:p>
          <a:endParaRPr lang="fr-FR"/>
        </a:p>
      </dgm:t>
    </dgm:pt>
    <dgm:pt modelId="{9EDD9FBB-AD37-C44B-8108-BD72F744A750}" type="pres">
      <dgm:prSet presAssocID="{005415D7-6025-0845-857F-D93D3CAD524D}" presName="ellipse" presStyleLbl="trBgShp" presStyleIdx="0" presStyleCnt="1" custAng="4149078" custScaleX="91770" custScaleY="161935" custLinFactNeighborX="53907" custLinFactNeighborY="44147"/>
      <dgm:spPr/>
      <dgm:t>
        <a:bodyPr/>
        <a:lstStyle/>
        <a:p>
          <a:endParaRPr lang="fr-FR"/>
        </a:p>
      </dgm:t>
    </dgm:pt>
    <dgm:pt modelId="{2761D55A-68DA-0F45-BABB-B3AD40C45E70}" type="pres">
      <dgm:prSet presAssocID="{005415D7-6025-0845-857F-D93D3CAD524D}" presName="arrow1" presStyleLbl="fgShp" presStyleIdx="0" presStyleCnt="1" custAng="4346121" custScaleX="56127" custScaleY="123077" custLinFactX="-100000" custLinFactY="-84258" custLinFactNeighborX="-130977" custLinFactNeighborY="-100000"/>
      <dgm:spPr/>
      <dgm:t>
        <a:bodyPr/>
        <a:lstStyle/>
        <a:p>
          <a:endParaRPr lang="fr-FR"/>
        </a:p>
      </dgm:t>
    </dgm:pt>
    <dgm:pt modelId="{6F7D390C-31F6-7643-BBFC-76370D0A2E04}" type="pres">
      <dgm:prSet presAssocID="{005415D7-6025-0845-857F-D93D3CAD524D}" presName="rectangle" presStyleLbl="revTx" presStyleIdx="0" presStyleCnt="1">
        <dgm:presLayoutVars>
          <dgm:bulletEnabled val="1"/>
        </dgm:presLayoutVars>
      </dgm:prSet>
      <dgm:spPr/>
      <dgm:t>
        <a:bodyPr/>
        <a:lstStyle/>
        <a:p>
          <a:endParaRPr lang="fr-FR"/>
        </a:p>
      </dgm:t>
    </dgm:pt>
    <dgm:pt modelId="{2FDC006B-B260-1E4F-88CA-47821DB7AF62}" type="pres">
      <dgm:prSet presAssocID="{005415D7-6025-0845-857F-D93D3CAD524D}" presName="funnel" presStyleLbl="trAlignAcc1" presStyleIdx="0" presStyleCnt="1" custAng="4178732" custScaleX="87126" custScaleY="142857" custLinFactNeighborX="20574" custLinFactNeighborY="4974"/>
      <dgm:spPr/>
      <dgm:t>
        <a:bodyPr/>
        <a:lstStyle/>
        <a:p>
          <a:endParaRPr lang="fr-FR"/>
        </a:p>
      </dgm:t>
    </dgm:pt>
  </dgm:ptLst>
  <dgm:cxnLst>
    <dgm:cxn modelId="{B08F9FBF-0A67-E447-834A-164D5C54BAE8}" type="presOf" srcId="{005415D7-6025-0845-857F-D93D3CAD524D}" destId="{7581ACAB-4D2D-734B-A180-CB70BFF44131}" srcOrd="0" destOrd="0" presId="urn:microsoft.com/office/officeart/2005/8/layout/funnel1"/>
    <dgm:cxn modelId="{67AD5367-4095-AE4D-86D1-4D2D0FDBADF2}" type="presOf" srcId="{D9A88FB3-2000-9F4D-AF9A-2D6F38CC9F72}" destId="{6F7D390C-31F6-7643-BBFC-76370D0A2E04}" srcOrd="0" destOrd="0" presId="urn:microsoft.com/office/officeart/2005/8/layout/funnel1"/>
    <dgm:cxn modelId="{608644C3-6695-F847-9850-6D1DD6896665}" srcId="{005415D7-6025-0845-857F-D93D3CAD524D}" destId="{D9A88FB3-2000-9F4D-AF9A-2D6F38CC9F72}" srcOrd="0" destOrd="0" parTransId="{B81FCA98-8442-8244-B71E-6FC7BF3A36BF}" sibTransId="{AE02A668-2D8B-344F-801A-C7FB0BFD5890}"/>
    <dgm:cxn modelId="{F06D15A7-8F46-6246-ABFC-709D8854246D}" type="presParOf" srcId="{7581ACAB-4D2D-734B-A180-CB70BFF44131}" destId="{9EDD9FBB-AD37-C44B-8108-BD72F744A750}" srcOrd="0" destOrd="0" presId="urn:microsoft.com/office/officeart/2005/8/layout/funnel1"/>
    <dgm:cxn modelId="{F976F1BD-0A3C-6647-A859-E7CE70CA7F9A}" type="presParOf" srcId="{7581ACAB-4D2D-734B-A180-CB70BFF44131}" destId="{2761D55A-68DA-0F45-BABB-B3AD40C45E70}" srcOrd="1" destOrd="0" presId="urn:microsoft.com/office/officeart/2005/8/layout/funnel1"/>
    <dgm:cxn modelId="{7E553869-C225-854C-AF31-D2DB31F8921B}" type="presParOf" srcId="{7581ACAB-4D2D-734B-A180-CB70BFF44131}" destId="{6F7D390C-31F6-7643-BBFC-76370D0A2E04}" srcOrd="2" destOrd="0" presId="urn:microsoft.com/office/officeart/2005/8/layout/funnel1"/>
    <dgm:cxn modelId="{A5301A11-50BD-5C46-BC25-2FC832B29A0C}" type="presParOf" srcId="{7581ACAB-4D2D-734B-A180-CB70BFF44131}" destId="{2FDC006B-B260-1E4F-88CA-47821DB7AF62}" srcOrd="3" destOrd="0" presId="urn:microsoft.com/office/officeart/2005/8/layout/funnel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DD9FBB-AD37-C44B-8108-BD72F744A750}">
      <dsp:nvSpPr>
        <dsp:cNvPr id="0" name=""/>
        <dsp:cNvSpPr/>
      </dsp:nvSpPr>
      <dsp:spPr>
        <a:xfrm rot="4149078">
          <a:off x="11609479" y="2307716"/>
          <a:ext cx="11194512" cy="6860148"/>
        </a:xfrm>
        <a:prstGeom prst="ellipse">
          <a:avLst/>
        </a:prstGeom>
        <a:solidFill>
          <a:schemeClr val="accent2">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761D55A-68DA-0F45-BABB-B3AD40C45E70}">
      <dsp:nvSpPr>
        <dsp:cNvPr id="0" name=""/>
        <dsp:cNvSpPr/>
      </dsp:nvSpPr>
      <dsp:spPr>
        <a:xfrm rot="4346121">
          <a:off x="4108499" y="9259822"/>
          <a:ext cx="1326864" cy="1862137"/>
        </a:xfrm>
        <a:prstGeom prst="downArrow">
          <a:avLst/>
        </a:prstGeom>
        <a:gradFill rotWithShape="0">
          <a:gsLst>
            <a:gs pos="0">
              <a:schemeClr val="accent2">
                <a:tint val="40000"/>
                <a:hueOff val="0"/>
                <a:satOff val="0"/>
                <a:lumOff val="0"/>
                <a:alphaOff val="0"/>
                <a:satMod val="103000"/>
                <a:lumMod val="102000"/>
                <a:tint val="94000"/>
              </a:schemeClr>
            </a:gs>
            <a:gs pos="50000">
              <a:schemeClr val="accent2">
                <a:tint val="40000"/>
                <a:hueOff val="0"/>
                <a:satOff val="0"/>
                <a:lumOff val="0"/>
                <a:alphaOff val="0"/>
                <a:satMod val="110000"/>
                <a:lumMod val="100000"/>
                <a:shade val="100000"/>
              </a:schemeClr>
            </a:gs>
            <a:gs pos="100000">
              <a:schemeClr val="accent2">
                <a:tint val="4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dsp:style>
    </dsp:sp>
    <dsp:sp modelId="{6F7D390C-31F6-7643-BBFC-76370D0A2E04}">
      <dsp:nvSpPr>
        <dsp:cNvPr id="0" name=""/>
        <dsp:cNvSpPr/>
      </dsp:nvSpPr>
      <dsp:spPr>
        <a:xfrm>
          <a:off x="4976137" y="13333180"/>
          <a:ext cx="11347390" cy="28368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62280" tIns="462280" rIns="462280" bIns="462280" numCol="1" spcCol="1270" anchor="ctr" anchorCtr="0">
          <a:noAutofit/>
        </a:bodyPr>
        <a:lstStyle/>
        <a:p>
          <a:pPr lvl="0" algn="ctr" defTabSz="2889250">
            <a:lnSpc>
              <a:spcPct val="90000"/>
            </a:lnSpc>
            <a:spcBef>
              <a:spcPct val="0"/>
            </a:spcBef>
            <a:spcAft>
              <a:spcPct val="35000"/>
            </a:spcAft>
          </a:pPr>
          <a:endParaRPr lang="en-US" sz="6500" kern="1200" dirty="0"/>
        </a:p>
      </dsp:txBody>
      <dsp:txXfrm>
        <a:off x="4976137" y="13333180"/>
        <a:ext cx="11347390" cy="2836847"/>
      </dsp:txXfrm>
    </dsp:sp>
    <dsp:sp modelId="{2FDC006B-B260-1E4F-88CA-47821DB7AF62}">
      <dsp:nvSpPr>
        <dsp:cNvPr id="0" name=""/>
        <dsp:cNvSpPr/>
      </dsp:nvSpPr>
      <dsp:spPr>
        <a:xfrm rot="4178732">
          <a:off x="7606406" y="-513382"/>
          <a:ext cx="11534282" cy="15129838"/>
        </a:xfrm>
        <a:prstGeom prst="funnel">
          <a:avLst/>
        </a:prstGeom>
        <a:solidFill>
          <a:schemeClr val="lt1">
            <a:alpha val="4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Lato" panose="020F0502020204030203"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atin typeface="Lato" panose="020F0502020204030203" pitchFamily="34" charset="0"/>
                <a:cs typeface="Arial" panose="020B0604020202020204" pitchFamily="34" charset="0"/>
              </a:defRPr>
            </a:lvl1pPr>
          </a:lstStyle>
          <a:p>
            <a:fld id="{47C21CD8-7795-E840-AA35-88C1B2608893}" type="datetimeFigureOut">
              <a:rPr lang="en-US" smtClean="0"/>
              <a:pPr/>
              <a:t>11/13/2016</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pl-PL"/>
              <a:t>Click to edit Master text styles</a:t>
            </a:r>
          </a:p>
          <a:p>
            <a:pPr lvl="1"/>
            <a:r>
              <a:rPr lang="pl-PL"/>
              <a:t>Second level</a:t>
            </a:r>
          </a:p>
          <a:p>
            <a:pPr lvl="2"/>
            <a:r>
              <a:rPr lang="pl-PL"/>
              <a:t>Third level</a:t>
            </a:r>
          </a:p>
          <a:p>
            <a:pPr lvl="3"/>
            <a:r>
              <a:rPr lang="pl-PL"/>
              <a:t>Fourth level</a:t>
            </a:r>
          </a:p>
          <a:p>
            <a:pPr lvl="4"/>
            <a:r>
              <a:rPr lang="pl-PL"/>
              <a:t>Fifth level</a:t>
            </a:r>
            <a:endParaRPr lang="en-US"/>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atin typeface="Lato" panose="020F0502020204030203"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atin typeface="Lato" panose="020F0502020204030203" pitchFamily="34" charset="0"/>
                <a:cs typeface="Arial" panose="020B0604020202020204" pitchFamily="34" charset="0"/>
              </a:defRPr>
            </a:lvl1pPr>
          </a:lstStyle>
          <a:p>
            <a:fld id="{5700194D-96AF-7742-89F5-075982327549}" type="slidenum">
              <a:rPr lang="en-US" smtClean="0"/>
              <a:pPr/>
              <a:t>‹N°›</a:t>
            </a:fld>
            <a:endParaRPr lang="en-US" dirty="0"/>
          </a:p>
        </p:txBody>
      </p:sp>
    </p:spTree>
    <p:extLst>
      <p:ext uri="{BB962C8B-B14F-4D97-AF65-F5344CB8AC3E}">
        <p14:creationId xmlns:p14="http://schemas.microsoft.com/office/powerpoint/2010/main" xmlns="" val="591727885"/>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700194D-96AF-7742-89F5-075982327549}" type="slidenum">
              <a:rPr lang="en-US" smtClean="0"/>
              <a:pPr/>
              <a:t>1</a:t>
            </a:fld>
            <a:endParaRPr lang="en-US" dirty="0"/>
          </a:p>
        </p:txBody>
      </p:sp>
    </p:spTree>
    <p:extLst>
      <p:ext uri="{BB962C8B-B14F-4D97-AF65-F5344CB8AC3E}">
        <p14:creationId xmlns:p14="http://schemas.microsoft.com/office/powerpoint/2010/main" xmlns="" val="2567405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10</a:t>
            </a:fld>
            <a:endParaRPr lang="en-US" dirty="0"/>
          </a:p>
        </p:txBody>
      </p:sp>
    </p:spTree>
    <p:extLst>
      <p:ext uri="{BB962C8B-B14F-4D97-AF65-F5344CB8AC3E}">
        <p14:creationId xmlns:p14="http://schemas.microsoft.com/office/powerpoint/2010/main" xmlns="" val="13460961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11</a:t>
            </a:fld>
            <a:endParaRPr lang="en-US" dirty="0"/>
          </a:p>
        </p:txBody>
      </p:sp>
    </p:spTree>
    <p:extLst>
      <p:ext uri="{BB962C8B-B14F-4D97-AF65-F5344CB8AC3E}">
        <p14:creationId xmlns:p14="http://schemas.microsoft.com/office/powerpoint/2010/main" xmlns="" val="12624667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noProof="0"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12</a:t>
            </a:fld>
            <a:endParaRPr lang="en-US" dirty="0"/>
          </a:p>
        </p:txBody>
      </p:sp>
    </p:spTree>
    <p:extLst>
      <p:ext uri="{BB962C8B-B14F-4D97-AF65-F5344CB8AC3E}">
        <p14:creationId xmlns:p14="http://schemas.microsoft.com/office/powerpoint/2010/main" xmlns="" val="15027528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13</a:t>
            </a:fld>
            <a:endParaRPr lang="en-US" dirty="0"/>
          </a:p>
        </p:txBody>
      </p:sp>
    </p:spTree>
    <p:extLst>
      <p:ext uri="{BB962C8B-B14F-4D97-AF65-F5344CB8AC3E}">
        <p14:creationId xmlns:p14="http://schemas.microsoft.com/office/powerpoint/2010/main" xmlns="" val="13370118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BRUNO</a:t>
            </a:r>
            <a:endParaRPr lang="en-US" b="1" dirty="0"/>
          </a:p>
          <a:p>
            <a:endParaRPr lang="en-US" dirty="0"/>
          </a:p>
          <a:p>
            <a:r>
              <a:rPr lang="en-US" dirty="0"/>
              <a:t>The business model of Eye2Scan relies on 4 pillars</a:t>
            </a:r>
          </a:p>
          <a:p>
            <a:endParaRPr lang="en-US" dirty="0"/>
          </a:p>
          <a:p>
            <a:r>
              <a:rPr lang="en-US" dirty="0"/>
              <a:t>From a </a:t>
            </a:r>
            <a:r>
              <a:rPr lang="en-US" b="1" dirty="0"/>
              <a:t>marketing</a:t>
            </a:r>
            <a:r>
              <a:rPr lang="en-US" dirty="0"/>
              <a:t> point of view, we propose a ready</a:t>
            </a:r>
            <a:r>
              <a:rPr lang="en-US" baseline="0" dirty="0"/>
              <a:t> to plug and ready to use software, literally connecting the brain of an internal auditor to your ERP system. It is simple to install, simple to use and cost effective, only representing the costs of a few months of an internal Auditor. We offer to the customers a 3 years subscription contract. They will benefit from low annual budget, permanent improvements and this brings some security and value in our backlog.</a:t>
            </a:r>
            <a:endParaRPr lang="en-US" dirty="0"/>
          </a:p>
          <a:p>
            <a:endParaRPr lang="en-US" dirty="0"/>
          </a:p>
          <a:p>
            <a:r>
              <a:rPr lang="en-US" dirty="0"/>
              <a:t>We</a:t>
            </a:r>
            <a:r>
              <a:rPr lang="en-US" baseline="0" dirty="0"/>
              <a:t> have also designed a </a:t>
            </a:r>
            <a:r>
              <a:rPr lang="en-US" b="1" baseline="0" dirty="0"/>
              <a:t>complete s</a:t>
            </a:r>
            <a:r>
              <a:rPr lang="en-US" b="1" dirty="0"/>
              <a:t>ervice to support </a:t>
            </a:r>
            <a:r>
              <a:rPr lang="en-US" dirty="0"/>
              <a:t>our customers.</a:t>
            </a:r>
            <a:r>
              <a:rPr lang="en-US" baseline="0" dirty="0"/>
              <a:t> Thanks to the 3 years </a:t>
            </a:r>
            <a:r>
              <a:rPr lang="en-US" baseline="0" dirty="0" err="1"/>
              <a:t>subsciption</a:t>
            </a:r>
            <a:r>
              <a:rPr lang="en-US" baseline="0" dirty="0"/>
              <a:t>, we package for them: </a:t>
            </a:r>
          </a:p>
          <a:p>
            <a:pPr>
              <a:buFontTx/>
              <a:buChar char="-"/>
            </a:pPr>
            <a:r>
              <a:rPr lang="en-US" dirty="0"/>
              <a:t>Software</a:t>
            </a:r>
            <a:r>
              <a:rPr lang="en-US" baseline="0" dirty="0"/>
              <a:t> and Rules maintenance and updates</a:t>
            </a:r>
          </a:p>
          <a:p>
            <a:pPr>
              <a:buFontTx/>
              <a:buChar char="-"/>
            </a:pPr>
            <a:r>
              <a:rPr lang="en-US" baseline="0" dirty="0"/>
              <a:t> A pack of on-site service (installation support, training, support to users). This allows us to keep a strong and tight relationship with our customer base and perfectly understand their needs in terms of tests and future improvements</a:t>
            </a:r>
          </a:p>
          <a:p>
            <a:pPr>
              <a:buFontTx/>
              <a:buChar char="-"/>
            </a:pPr>
            <a:r>
              <a:rPr lang="en-US" baseline="0" dirty="0"/>
              <a:t> a technical assistance through a telephone platform</a:t>
            </a:r>
          </a:p>
          <a:p>
            <a:pPr>
              <a:buFontTx/>
              <a:buNone/>
            </a:pPr>
            <a:r>
              <a:rPr lang="en-US" dirty="0"/>
              <a:t>In order to reinforce the technical support for</a:t>
            </a:r>
            <a:r>
              <a:rPr lang="en-US" baseline="0" dirty="0"/>
              <a:t> installation and assistance we are developing partnership with ERP integrators. This brings some technical support for customers. For our partners it allows cross selling and a % of our sales. For us it allows a network of technical support, some potential network leads and references.</a:t>
            </a:r>
          </a:p>
          <a:p>
            <a:pPr>
              <a:buFontTx/>
              <a:buNone/>
            </a:pPr>
            <a:endParaRPr lang="en-US" baseline="0" dirty="0"/>
          </a:p>
          <a:p>
            <a:pPr>
              <a:buFontTx/>
              <a:buNone/>
            </a:pPr>
            <a:r>
              <a:rPr lang="en-US" baseline="0" dirty="0"/>
              <a:t>In order to bring high value to our customers, we pay a lot of </a:t>
            </a:r>
            <a:r>
              <a:rPr lang="en-US" b="1" baseline="0" dirty="0"/>
              <a:t>attention to people</a:t>
            </a:r>
            <a:r>
              <a:rPr lang="en-US" baseline="0" dirty="0"/>
              <a:t>. The cornerstone of our strategy being to digitalize internal Audit we need to have a unique combination of high skills in internal Audit and in IT skills. How to do so? </a:t>
            </a:r>
          </a:p>
          <a:p>
            <a:pPr>
              <a:buFontTx/>
              <a:buChar char="-"/>
            </a:pPr>
            <a:r>
              <a:rPr lang="en-US" baseline="0" dirty="0"/>
              <a:t>We want to </a:t>
            </a:r>
            <a:r>
              <a:rPr lang="en-US" b="1" i="1" baseline="0" dirty="0"/>
              <a:t>attract </a:t>
            </a:r>
            <a:r>
              <a:rPr lang="en-US" baseline="0" dirty="0"/>
              <a:t>key skills by proposing them above the market average compensations. </a:t>
            </a:r>
          </a:p>
          <a:p>
            <a:pPr>
              <a:buFontTx/>
              <a:buChar char="-"/>
            </a:pPr>
            <a:r>
              <a:rPr lang="en-US" baseline="0" dirty="0"/>
              <a:t>We are exciting their </a:t>
            </a:r>
            <a:r>
              <a:rPr lang="en-US" b="1" i="1" baseline="0" dirty="0"/>
              <a:t>motivation</a:t>
            </a:r>
            <a:r>
              <a:rPr lang="en-US" baseline="0" dirty="0"/>
              <a:t> by letting them work on a start-up project with clear entrepreneurial spirit and empowering them. </a:t>
            </a:r>
          </a:p>
          <a:p>
            <a:pPr>
              <a:buFontTx/>
              <a:buChar char="-"/>
            </a:pPr>
            <a:r>
              <a:rPr lang="en-US" baseline="0" dirty="0"/>
              <a:t>For instance we want to </a:t>
            </a:r>
            <a:r>
              <a:rPr lang="en-US" b="1" i="1" baseline="0" dirty="0"/>
              <a:t>recruit</a:t>
            </a:r>
            <a:r>
              <a:rPr lang="en-US" baseline="0" dirty="0"/>
              <a:t> In-house sales force for each European market : experienced Auditors (former managers who have the experience and taste for customer development) and with entrepreneurial spirit. </a:t>
            </a:r>
          </a:p>
          <a:p>
            <a:pPr>
              <a:buFontTx/>
              <a:buChar char="-"/>
            </a:pPr>
            <a:r>
              <a:rPr lang="en-US" baseline="0" dirty="0"/>
              <a:t>How do we </a:t>
            </a:r>
            <a:r>
              <a:rPr lang="en-US" b="1" i="1" baseline="0" dirty="0"/>
              <a:t>retain </a:t>
            </a:r>
            <a:r>
              <a:rPr lang="en-US" baseline="0" dirty="0"/>
              <a:t>them: Through training and high benefits including a share scheme.</a:t>
            </a:r>
          </a:p>
          <a:p>
            <a:pPr>
              <a:buFontTx/>
              <a:buChar char="-"/>
            </a:pPr>
            <a:endParaRPr lang="en-US" baseline="0" dirty="0"/>
          </a:p>
          <a:p>
            <a:pPr>
              <a:buFontTx/>
              <a:buNone/>
            </a:pPr>
            <a:r>
              <a:rPr lang="en-US" baseline="0" dirty="0"/>
              <a:t>At the heart of our business model, lies the </a:t>
            </a:r>
            <a:r>
              <a:rPr lang="en-US" b="1" baseline="0" dirty="0"/>
              <a:t>technology</a:t>
            </a:r>
            <a:r>
              <a:rPr lang="en-US" baseline="0" dirty="0"/>
              <a:t>. So our view is not “</a:t>
            </a:r>
            <a:r>
              <a:rPr lang="en-US" i="1" baseline="0" dirty="0"/>
              <a:t>techno for the sake of techno</a:t>
            </a:r>
            <a:r>
              <a:rPr lang="en-US" baseline="0" dirty="0"/>
              <a:t>”, but technology to serve a market and our customers needs.</a:t>
            </a:r>
          </a:p>
          <a:p>
            <a:pPr>
              <a:buFontTx/>
              <a:buChar char="-"/>
            </a:pPr>
            <a:r>
              <a:rPr lang="en-US" baseline="0" dirty="0"/>
              <a:t>The business model relies on permanent development library of tests which are fully automated and use standard files and tables of ERP. We currently have developed more than 50 audit tests. Our roadmap is to deliver 20 more tests every semester, reaching 200 tests in 5 years. This is bringing a unique and strong differentiation and a clear competitive advantage which will be very difficult to copy.</a:t>
            </a:r>
          </a:p>
          <a:p>
            <a:pPr>
              <a:buFontTx/>
              <a:buChar char="-"/>
            </a:pPr>
            <a:r>
              <a:rPr lang="en-US" baseline="0" dirty="0"/>
              <a:t>We are preparing a SAP partner certification program. This will allow to reinforce our brand and creditworthiness</a:t>
            </a:r>
          </a:p>
          <a:p>
            <a:pPr>
              <a:buFontTx/>
              <a:buChar char="-"/>
            </a:pPr>
            <a:r>
              <a:rPr lang="en-US" baseline="0" dirty="0"/>
              <a:t>Enhancing the product architecture in our roadmap by developing a full web-based version of E2S. This will allow a full </a:t>
            </a:r>
            <a:r>
              <a:rPr lang="en-US" baseline="0" dirty="0" err="1"/>
              <a:t>SaaS</a:t>
            </a:r>
            <a:r>
              <a:rPr lang="en-US" baseline="0" dirty="0"/>
              <a:t> mode, additional features and allowing to address cross selling and up selling. By allowing conversion tables with major ERP systems the new release will also allow to develop new versions of Eye2scan with the major ERP providers while keeping “in-house” the main differentiation (the brain of an auditor).</a:t>
            </a:r>
          </a:p>
        </p:txBody>
      </p:sp>
      <p:sp>
        <p:nvSpPr>
          <p:cNvPr id="4" name="Slide Number Placeholder 3"/>
          <p:cNvSpPr>
            <a:spLocks noGrp="1"/>
          </p:cNvSpPr>
          <p:nvPr>
            <p:ph type="sldNum" sz="quarter" idx="10"/>
          </p:nvPr>
        </p:nvSpPr>
        <p:spPr/>
        <p:txBody>
          <a:bodyPr/>
          <a:lstStyle/>
          <a:p>
            <a:fld id="{5700194D-96AF-7742-89F5-075982327549}" type="slidenum">
              <a:rPr lang="en-US" smtClean="0"/>
              <a:pPr/>
              <a:t>14</a:t>
            </a:fld>
            <a:endParaRPr lang="en-US" dirty="0"/>
          </a:p>
        </p:txBody>
      </p:sp>
    </p:spTree>
    <p:extLst>
      <p:ext uri="{BB962C8B-B14F-4D97-AF65-F5344CB8AC3E}">
        <p14:creationId xmlns:p14="http://schemas.microsoft.com/office/powerpoint/2010/main" xmlns="" val="15166127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3C4082CF-39BC-4942-984E-FCFF9BBFE4D9}" type="slidenum">
              <a:rPr lang="da-DK" altLang="en-US" smtClean="0"/>
              <a:pPr/>
              <a:t>15</a:t>
            </a:fld>
            <a:endParaRPr lang="da-DK" altLang="en-US"/>
          </a:p>
        </p:txBody>
      </p:sp>
    </p:spTree>
    <p:extLst>
      <p:ext uri="{BB962C8B-B14F-4D97-AF65-F5344CB8AC3E}">
        <p14:creationId xmlns:p14="http://schemas.microsoft.com/office/powerpoint/2010/main" xmlns="" val="9186401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16</a:t>
            </a:fld>
            <a:endParaRPr lang="en-US" dirty="0"/>
          </a:p>
        </p:txBody>
      </p:sp>
    </p:spTree>
    <p:extLst>
      <p:ext uri="{BB962C8B-B14F-4D97-AF65-F5344CB8AC3E}">
        <p14:creationId xmlns:p14="http://schemas.microsoft.com/office/powerpoint/2010/main" xmlns="" val="20688448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17</a:t>
            </a:fld>
            <a:endParaRPr lang="en-US" dirty="0"/>
          </a:p>
        </p:txBody>
      </p:sp>
    </p:spTree>
    <p:extLst>
      <p:ext uri="{BB962C8B-B14F-4D97-AF65-F5344CB8AC3E}">
        <p14:creationId xmlns:p14="http://schemas.microsoft.com/office/powerpoint/2010/main" xmlns="" val="65287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TYLER</a:t>
            </a:r>
            <a:endParaRPr lang="en-US" b="1"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18</a:t>
            </a:fld>
            <a:endParaRPr lang="en-US" dirty="0"/>
          </a:p>
        </p:txBody>
      </p:sp>
    </p:spTree>
    <p:extLst>
      <p:ext uri="{BB962C8B-B14F-4D97-AF65-F5344CB8AC3E}">
        <p14:creationId xmlns:p14="http://schemas.microsoft.com/office/powerpoint/2010/main" xmlns="" val="32064325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kern="1200" dirty="0">
                <a:solidFill>
                  <a:schemeClr val="tx1"/>
                </a:solidFill>
                <a:latin typeface="+mn-lt"/>
                <a:ea typeface="+mn-ea"/>
                <a:cs typeface="+mn-cs"/>
              </a:rPr>
              <a:t>TYLER</a:t>
            </a:r>
            <a:endParaRPr lang="en-US" sz="1200" b="1"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5700194D-96AF-7742-89F5-075982327549}" type="slidenum">
              <a:rPr lang="en-US" smtClean="0"/>
              <a:pPr/>
              <a:t>19</a:t>
            </a:fld>
            <a:endParaRPr lang="en-US" dirty="0"/>
          </a:p>
        </p:txBody>
      </p:sp>
    </p:spTree>
    <p:extLst>
      <p:ext uri="{BB962C8B-B14F-4D97-AF65-F5344CB8AC3E}">
        <p14:creationId xmlns:p14="http://schemas.microsoft.com/office/powerpoint/2010/main" xmlns="" val="925568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2</a:t>
            </a:fld>
            <a:endParaRPr lang="en-US" dirty="0"/>
          </a:p>
        </p:txBody>
      </p:sp>
    </p:spTree>
    <p:extLst>
      <p:ext uri="{BB962C8B-B14F-4D97-AF65-F5344CB8AC3E}">
        <p14:creationId xmlns:p14="http://schemas.microsoft.com/office/powerpoint/2010/main" xmlns="" val="10487085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00194D-96AF-7742-89F5-075982327549}" type="slidenum">
              <a:rPr lang="en-US" smtClean="0"/>
              <a:pPr/>
              <a:t>20</a:t>
            </a:fld>
            <a:endParaRPr lang="en-US" dirty="0"/>
          </a:p>
        </p:txBody>
      </p:sp>
    </p:spTree>
    <p:extLst>
      <p:ext uri="{BB962C8B-B14F-4D97-AF65-F5344CB8AC3E}">
        <p14:creationId xmlns:p14="http://schemas.microsoft.com/office/powerpoint/2010/main" xmlns="" val="38627335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21</a:t>
            </a:fld>
            <a:endParaRPr lang="en-US" dirty="0"/>
          </a:p>
        </p:txBody>
      </p:sp>
    </p:spTree>
    <p:extLst>
      <p:ext uri="{BB962C8B-B14F-4D97-AF65-F5344CB8AC3E}">
        <p14:creationId xmlns:p14="http://schemas.microsoft.com/office/powerpoint/2010/main" xmlns="" val="20688448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00194D-96AF-7742-89F5-075982327549}" type="slidenum">
              <a:rPr lang="en-US" smtClean="0"/>
              <a:pPr/>
              <a:t>22</a:t>
            </a:fld>
            <a:endParaRPr lang="en-US" dirty="0"/>
          </a:p>
        </p:txBody>
      </p:sp>
    </p:spTree>
    <p:extLst>
      <p:ext uri="{BB962C8B-B14F-4D97-AF65-F5344CB8AC3E}">
        <p14:creationId xmlns:p14="http://schemas.microsoft.com/office/powerpoint/2010/main" xmlns="" val="29623377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00194D-96AF-7742-89F5-075982327549}" type="slidenum">
              <a:rPr lang="en-US" smtClean="0"/>
              <a:pPr/>
              <a:t>23</a:t>
            </a:fld>
            <a:endParaRPr lang="en-US" dirty="0"/>
          </a:p>
        </p:txBody>
      </p:sp>
    </p:spTree>
    <p:extLst>
      <p:ext uri="{BB962C8B-B14F-4D97-AF65-F5344CB8AC3E}">
        <p14:creationId xmlns:p14="http://schemas.microsoft.com/office/powerpoint/2010/main" xmlns="" val="165608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3</a:t>
            </a:fld>
            <a:endParaRPr lang="en-US" dirty="0"/>
          </a:p>
        </p:txBody>
      </p:sp>
    </p:spTree>
    <p:extLst>
      <p:ext uri="{BB962C8B-B14F-4D97-AF65-F5344CB8AC3E}">
        <p14:creationId xmlns:p14="http://schemas.microsoft.com/office/powerpoint/2010/main" xmlns="" val="3853811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4</a:t>
            </a:fld>
            <a:endParaRPr lang="en-US" dirty="0"/>
          </a:p>
        </p:txBody>
      </p:sp>
    </p:spTree>
    <p:extLst>
      <p:ext uri="{BB962C8B-B14F-4D97-AF65-F5344CB8AC3E}">
        <p14:creationId xmlns:p14="http://schemas.microsoft.com/office/powerpoint/2010/main" xmlns="" val="1024466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dirty="0">
              <a:solidFill>
                <a:srgbClr val="FFFFFF"/>
              </a:solidFill>
              <a:latin typeface="Aleo" panose="020F0502020204030203" pitchFamily="34" charset="0"/>
              <a:ea typeface="Aleo Regular" charset="0"/>
              <a:cs typeface="Aleo Regular" charset="0"/>
            </a:endParaRPr>
          </a:p>
        </p:txBody>
      </p:sp>
      <p:sp>
        <p:nvSpPr>
          <p:cNvPr id="4" name="Slide Number Placeholder 3"/>
          <p:cNvSpPr>
            <a:spLocks noGrp="1"/>
          </p:cNvSpPr>
          <p:nvPr>
            <p:ph type="sldNum" sz="quarter" idx="10"/>
          </p:nvPr>
        </p:nvSpPr>
        <p:spPr/>
        <p:txBody>
          <a:bodyPr/>
          <a:lstStyle/>
          <a:p>
            <a:fld id="{5700194D-96AF-7742-89F5-075982327549}" type="slidenum">
              <a:rPr lang="en-US" smtClean="0"/>
              <a:pPr/>
              <a:t>5</a:t>
            </a:fld>
            <a:endParaRPr lang="en-US" dirty="0"/>
          </a:p>
        </p:txBody>
      </p:sp>
    </p:spTree>
    <p:extLst>
      <p:ext uri="{BB962C8B-B14F-4D97-AF65-F5344CB8AC3E}">
        <p14:creationId xmlns:p14="http://schemas.microsoft.com/office/powerpoint/2010/main" xmlns="" val="8329764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fr-FR"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6</a:t>
            </a:fld>
            <a:endParaRPr lang="en-US" dirty="0"/>
          </a:p>
        </p:txBody>
      </p:sp>
    </p:spTree>
    <p:extLst>
      <p:ext uri="{BB962C8B-B14F-4D97-AF65-F5344CB8AC3E}">
        <p14:creationId xmlns:p14="http://schemas.microsoft.com/office/powerpoint/2010/main" xmlns="" val="14501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rard</a:t>
            </a:r>
          </a:p>
        </p:txBody>
      </p:sp>
      <p:sp>
        <p:nvSpPr>
          <p:cNvPr id="4" name="Slide Number Placeholder 3"/>
          <p:cNvSpPr>
            <a:spLocks noGrp="1"/>
          </p:cNvSpPr>
          <p:nvPr>
            <p:ph type="sldNum" sz="quarter" idx="10"/>
          </p:nvPr>
        </p:nvSpPr>
        <p:spPr/>
        <p:txBody>
          <a:bodyPr/>
          <a:lstStyle/>
          <a:p>
            <a:fld id="{5700194D-96AF-7742-89F5-075982327549}" type="slidenum">
              <a:rPr lang="en-US" smtClean="0"/>
              <a:pPr/>
              <a:t>7</a:t>
            </a:fld>
            <a:endParaRPr lang="en-US" dirty="0"/>
          </a:p>
        </p:txBody>
      </p:sp>
    </p:spTree>
    <p:extLst>
      <p:ext uri="{BB962C8B-B14F-4D97-AF65-F5344CB8AC3E}">
        <p14:creationId xmlns:p14="http://schemas.microsoft.com/office/powerpoint/2010/main" xmlns="" val="1764213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700194D-96AF-7742-89F5-075982327549}" type="slidenum">
              <a:rPr lang="en-US" smtClean="0"/>
              <a:pPr/>
              <a:t>8</a:t>
            </a:fld>
            <a:endParaRPr lang="en-US" dirty="0"/>
          </a:p>
        </p:txBody>
      </p:sp>
    </p:spTree>
    <p:extLst>
      <p:ext uri="{BB962C8B-B14F-4D97-AF65-F5344CB8AC3E}">
        <p14:creationId xmlns:p14="http://schemas.microsoft.com/office/powerpoint/2010/main" xmlns="" val="291963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Tx/>
              <a:buNone/>
            </a:pPr>
            <a:endParaRPr lang="en-US" b="1" baseline="0" noProof="0" dirty="0"/>
          </a:p>
        </p:txBody>
      </p:sp>
      <p:sp>
        <p:nvSpPr>
          <p:cNvPr id="4" name="Slide Number Placeholder 3"/>
          <p:cNvSpPr>
            <a:spLocks noGrp="1"/>
          </p:cNvSpPr>
          <p:nvPr>
            <p:ph type="sldNum" sz="quarter" idx="10"/>
          </p:nvPr>
        </p:nvSpPr>
        <p:spPr/>
        <p:txBody>
          <a:bodyPr/>
          <a:lstStyle/>
          <a:p>
            <a:fld id="{5700194D-96AF-7742-89F5-075982327549}" type="slidenum">
              <a:rPr lang="en-US" smtClean="0"/>
              <a:pPr/>
              <a:t>9</a:t>
            </a:fld>
            <a:endParaRPr lang="en-US" dirty="0"/>
          </a:p>
        </p:txBody>
      </p:sp>
    </p:spTree>
    <p:extLst>
      <p:ext uri="{BB962C8B-B14F-4D97-AF65-F5344CB8AC3E}">
        <p14:creationId xmlns:p14="http://schemas.microsoft.com/office/powerpoint/2010/main" xmlns="" val="1421571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c Preview">
    <p:spTree>
      <p:nvGrpSpPr>
        <p:cNvPr id="1" name=""/>
        <p:cNvGrpSpPr/>
        <p:nvPr/>
      </p:nvGrpSpPr>
      <p:grpSpPr>
        <a:xfrm>
          <a:off x="0" y="0"/>
          <a:ext cx="0" cy="0"/>
          <a:chOff x="0" y="0"/>
          <a:chExt cx="0" cy="0"/>
        </a:xfrm>
      </p:grpSpPr>
      <p:grpSp>
        <p:nvGrpSpPr>
          <p:cNvPr id="34" name="Group 33"/>
          <p:cNvGrpSpPr/>
          <p:nvPr userDrawn="1"/>
        </p:nvGrpSpPr>
        <p:grpSpPr>
          <a:xfrm>
            <a:off x="1442306" y="-3834"/>
            <a:ext cx="23221093" cy="13803971"/>
            <a:chOff x="4630060" y="-3834"/>
            <a:chExt cx="16424861" cy="13803971"/>
          </a:xfrm>
        </p:grpSpPr>
        <p:sp>
          <p:nvSpPr>
            <p:cNvPr id="6" name="AutoShape 1"/>
            <p:cNvSpPr>
              <a:spLocks/>
            </p:cNvSpPr>
            <p:nvPr userDrawn="1"/>
          </p:nvSpPr>
          <p:spPr bwMode="auto">
            <a:xfrm>
              <a:off x="8724900" y="-3834"/>
              <a:ext cx="12330021" cy="13803971"/>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 name="connsiteX0" fmla="*/ 11798 w 21600"/>
                <a:gd name="connsiteY0" fmla="*/ 0 h 21606"/>
                <a:gd name="connsiteX1" fmla="*/ 21530 w 21600"/>
                <a:gd name="connsiteY1" fmla="*/ 6 h 21606"/>
                <a:gd name="connsiteX2" fmla="*/ 21600 w 21600"/>
                <a:gd name="connsiteY2" fmla="*/ 21606 h 21606"/>
                <a:gd name="connsiteX3" fmla="*/ 0 w 21600"/>
                <a:gd name="connsiteY3" fmla="*/ 21553 h 21606"/>
                <a:gd name="connsiteX4" fmla="*/ 11798 w 21600"/>
                <a:gd name="connsiteY4" fmla="*/ 0 h 21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606">
                  <a:moveTo>
                    <a:pt x="11798" y="0"/>
                  </a:moveTo>
                  <a:lnTo>
                    <a:pt x="21530" y="6"/>
                  </a:lnTo>
                  <a:cubicBezTo>
                    <a:pt x="21553" y="7206"/>
                    <a:pt x="21577" y="14406"/>
                    <a:pt x="21600" y="21606"/>
                  </a:cubicBezTo>
                  <a:lnTo>
                    <a:pt x="0" y="21553"/>
                  </a:lnTo>
                  <a:lnTo>
                    <a:pt x="11798" y="0"/>
                  </a:lnTo>
                  <a:close/>
                </a:path>
              </a:pathLst>
            </a:custGeom>
            <a:solidFill>
              <a:schemeClr val="tx1">
                <a:lumMod val="75000"/>
                <a:alpha val="9000"/>
              </a:schemeClr>
            </a:solidFill>
            <a:ln>
              <a:noFill/>
            </a:ln>
            <a:effectLst/>
            <a:extLst/>
          </p:spPr>
          <p:txBody>
            <a:bodyPr wrap="square" lIns="38100" tIns="38100" rIns="38100" bIns="38100" anchor="ctr">
              <a:noAutofit/>
            </a:bodyPr>
            <a:lstStyle/>
            <a:p>
              <a:pPr lvl="0" defTabSz="457200"/>
              <a:endParaRPr lang="en-US" sz="3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pic>
          <p:nvPicPr>
            <p:cNvPr id="4" name="Picture 6" descr="droppedImage.pdf"/>
            <p:cNvPicPr>
              <a:picLocks noChangeAspect="1"/>
            </p:cNvPicPr>
            <p:nvPr userDrawn="1"/>
          </p:nvPicPr>
          <p:blipFill rotWithShape="1">
            <a:blip r:embed="rId2">
              <a:extLst>
                <a:ext uri="{28A0092B-C50C-407E-A947-70E740481C1C}">
                  <a14:useLocalDpi xmlns:a14="http://schemas.microsoft.com/office/drawing/2010/main" xmlns="" val="0"/>
                </a:ext>
              </a:extLst>
            </a:blip>
            <a:srcRect l="66906"/>
            <a:stretch/>
          </p:blipFill>
          <p:spPr bwMode="auto">
            <a:xfrm>
              <a:off x="16334550" y="902367"/>
              <a:ext cx="3399655" cy="339023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nvGrpSpPr>
            <p:cNvPr id="30" name="Group 29"/>
            <p:cNvGrpSpPr/>
            <p:nvPr userDrawn="1"/>
          </p:nvGrpSpPr>
          <p:grpSpPr>
            <a:xfrm>
              <a:off x="4630060" y="9755187"/>
              <a:ext cx="13092022" cy="2290529"/>
              <a:chOff x="1344613" y="4179316"/>
              <a:chExt cx="21704300" cy="3797300"/>
            </a:xfrm>
          </p:grpSpPr>
          <p:grpSp>
            <p:nvGrpSpPr>
              <p:cNvPr id="7" name="Group 6"/>
              <p:cNvGrpSpPr/>
              <p:nvPr userDrawn="1"/>
            </p:nvGrpSpPr>
            <p:grpSpPr>
              <a:xfrm>
                <a:off x="1344613" y="4179316"/>
                <a:ext cx="3797300" cy="3797300"/>
                <a:chOff x="1774599" y="9001126"/>
                <a:chExt cx="3797300" cy="3797300"/>
              </a:xfrm>
            </p:grpSpPr>
            <p:sp>
              <p:nvSpPr>
                <p:cNvPr id="8" name="AutoShape 11"/>
                <p:cNvSpPr>
                  <a:spLocks/>
                </p:cNvSpPr>
                <p:nvPr userDrawn="1"/>
              </p:nvSpPr>
              <p:spPr bwMode="auto">
                <a:xfrm>
                  <a:off x="1774599" y="9001126"/>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9" name="Freeform 8"/>
                <p:cNvSpPr>
                  <a:spLocks/>
                </p:cNvSpPr>
                <p:nvPr userDrawn="1"/>
              </p:nvSpPr>
              <p:spPr bwMode="auto">
                <a:xfrm>
                  <a:off x="3271612" y="10027801"/>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tx2">
                    <a:lumMod val="75000"/>
                    <a:alpha val="50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10" name="AutoShape 13"/>
                <p:cNvSpPr>
                  <a:spLocks/>
                </p:cNvSpPr>
                <p:nvPr userDrawn="1"/>
              </p:nvSpPr>
              <p:spPr bwMode="auto">
                <a:xfrm>
                  <a:off x="2350861" y="9558338"/>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nvGrpSpPr>
              <p:cNvPr id="11" name="Group 10"/>
              <p:cNvGrpSpPr/>
              <p:nvPr userDrawn="1"/>
            </p:nvGrpSpPr>
            <p:grpSpPr>
              <a:xfrm>
                <a:off x="7313613" y="4179316"/>
                <a:ext cx="3797300" cy="3797300"/>
                <a:chOff x="7448608" y="8868229"/>
                <a:chExt cx="3797300" cy="3797300"/>
              </a:xfrm>
            </p:grpSpPr>
            <p:sp>
              <p:nvSpPr>
                <p:cNvPr id="12" name="AutoShape 11"/>
                <p:cNvSpPr>
                  <a:spLocks/>
                </p:cNvSpPr>
                <p:nvPr userDrawn="1"/>
              </p:nvSpPr>
              <p:spPr bwMode="auto">
                <a:xfrm>
                  <a:off x="7448608" y="8868229"/>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13" name="Freeform 12"/>
                <p:cNvSpPr>
                  <a:spLocks/>
                </p:cNvSpPr>
                <p:nvPr userDrawn="1"/>
              </p:nvSpPr>
              <p:spPr bwMode="auto">
                <a:xfrm>
                  <a:off x="8945621" y="9894904"/>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6">
                    <a:lumMod val="75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14" name="AutoShape 13"/>
                <p:cNvSpPr>
                  <a:spLocks/>
                </p:cNvSpPr>
                <p:nvPr userDrawn="1"/>
              </p:nvSpPr>
              <p:spPr bwMode="auto">
                <a:xfrm>
                  <a:off x="8024870" y="9425441"/>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6"/>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nvGrpSpPr>
              <p:cNvPr id="15" name="Group 14"/>
              <p:cNvGrpSpPr/>
              <p:nvPr userDrawn="1"/>
            </p:nvGrpSpPr>
            <p:grpSpPr>
              <a:xfrm>
                <a:off x="13282613" y="4179316"/>
                <a:ext cx="3797300" cy="3797300"/>
                <a:chOff x="12986999" y="8868229"/>
                <a:chExt cx="3797300" cy="3797300"/>
              </a:xfrm>
            </p:grpSpPr>
            <p:sp>
              <p:nvSpPr>
                <p:cNvPr id="16" name="AutoShape 11"/>
                <p:cNvSpPr>
                  <a:spLocks/>
                </p:cNvSpPr>
                <p:nvPr userDrawn="1"/>
              </p:nvSpPr>
              <p:spPr bwMode="auto">
                <a:xfrm>
                  <a:off x="12986999" y="8868229"/>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17" name="Freeform 16"/>
                <p:cNvSpPr>
                  <a:spLocks/>
                </p:cNvSpPr>
                <p:nvPr userDrawn="1"/>
              </p:nvSpPr>
              <p:spPr bwMode="auto">
                <a:xfrm>
                  <a:off x="14484012" y="9894904"/>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3">
                    <a:lumMod val="75000"/>
                    <a:alpha val="50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18" name="AutoShape 13"/>
                <p:cNvSpPr>
                  <a:spLocks/>
                </p:cNvSpPr>
                <p:nvPr userDrawn="1"/>
              </p:nvSpPr>
              <p:spPr bwMode="auto">
                <a:xfrm>
                  <a:off x="13563261" y="9425441"/>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4"/>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nvGrpSpPr>
              <p:cNvPr id="19" name="Group 18"/>
              <p:cNvGrpSpPr/>
              <p:nvPr userDrawn="1"/>
            </p:nvGrpSpPr>
            <p:grpSpPr>
              <a:xfrm>
                <a:off x="19251613" y="4179316"/>
                <a:ext cx="3797300" cy="3797300"/>
                <a:chOff x="18828205" y="9201735"/>
                <a:chExt cx="3797300" cy="3797300"/>
              </a:xfrm>
            </p:grpSpPr>
            <p:sp>
              <p:nvSpPr>
                <p:cNvPr id="20" name="AutoShape 11"/>
                <p:cNvSpPr>
                  <a:spLocks/>
                </p:cNvSpPr>
                <p:nvPr userDrawn="1"/>
              </p:nvSpPr>
              <p:spPr bwMode="auto">
                <a:xfrm>
                  <a:off x="18828205" y="9201735"/>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21" name="Freeform 20"/>
                <p:cNvSpPr>
                  <a:spLocks/>
                </p:cNvSpPr>
                <p:nvPr userDrawn="1"/>
              </p:nvSpPr>
              <p:spPr bwMode="auto">
                <a:xfrm>
                  <a:off x="20325218" y="10228410"/>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2">
                    <a:lumMod val="75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22" name="AutoShape 13"/>
                <p:cNvSpPr>
                  <a:spLocks/>
                </p:cNvSpPr>
                <p:nvPr userDrawn="1"/>
              </p:nvSpPr>
              <p:spPr bwMode="auto">
                <a:xfrm>
                  <a:off x="19404467" y="9758947"/>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grpSp>
      <p:pic>
        <p:nvPicPr>
          <p:cNvPr id="24" name="Picture 23"/>
          <p:cNvPicPr>
            <a:picLocks noChangeAspect="1"/>
          </p:cNvPicPr>
          <p:nvPr userDrawn="1"/>
        </p:nvPicPr>
        <p:blipFill>
          <a:blip r:embed="rId3">
            <a:lum bright="2000"/>
          </a:blip>
          <a:stretch>
            <a:fillRect/>
          </a:stretch>
        </p:blipFill>
        <p:spPr>
          <a:xfrm>
            <a:off x="1082291" y="2254039"/>
            <a:ext cx="10050505" cy="4279074"/>
          </a:xfrm>
          <a:prstGeom prst="rect">
            <a:avLst/>
          </a:prstGeom>
        </p:spPr>
      </p:pic>
    </p:spTree>
    <p:extLst>
      <p:ext uri="{BB962C8B-B14F-4D97-AF65-F5344CB8AC3E}">
        <p14:creationId xmlns:p14="http://schemas.microsoft.com/office/powerpoint/2010/main" xmlns="" val="1408468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ustom placeholder 3">
    <p:spTree>
      <p:nvGrpSpPr>
        <p:cNvPr id="1" name=""/>
        <p:cNvGrpSpPr/>
        <p:nvPr/>
      </p:nvGrpSpPr>
      <p:grpSpPr>
        <a:xfrm>
          <a:off x="0" y="0"/>
          <a:ext cx="0" cy="0"/>
          <a:chOff x="0" y="0"/>
          <a:chExt cx="0" cy="0"/>
        </a:xfrm>
      </p:grpSpPr>
      <p:sp>
        <p:nvSpPr>
          <p:cNvPr id="8" name="Rectangle 7"/>
          <p:cNvSpPr/>
          <p:nvPr userDrawn="1"/>
        </p:nvSpPr>
        <p:spPr bwMode="auto">
          <a:xfrm>
            <a:off x="0" y="0"/>
            <a:ext cx="24384000"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0" y="0"/>
            <a:ext cx="24384000" cy="13716000"/>
          </a:xfrm>
          <a:prstGeom prst="rect">
            <a:avLst/>
          </a:prstGeom>
          <a:noFill/>
        </p:spPr>
        <p:txBody>
          <a:bodyPr/>
          <a:lstStyle/>
          <a:p>
            <a:r>
              <a:rPr lang="en-US" dirty="0"/>
              <a:t> </a:t>
            </a:r>
          </a:p>
        </p:txBody>
      </p:sp>
      <p:sp>
        <p:nvSpPr>
          <p:cNvPr id="7" name="Text Placeholder 6"/>
          <p:cNvSpPr>
            <a:spLocks noGrp="1"/>
          </p:cNvSpPr>
          <p:nvPr>
            <p:ph type="body" sz="quarter" idx="11" hasCustomPrompt="1"/>
          </p:nvPr>
        </p:nvSpPr>
        <p:spPr>
          <a:xfrm>
            <a:off x="-12700" y="9639300"/>
            <a:ext cx="24396700" cy="3606800"/>
          </a:xfrm>
          <a:prstGeom prst="rect">
            <a:avLst/>
          </a:prstGeom>
          <a:solidFill>
            <a:srgbClr val="FFFFFF">
              <a:alpha val="89999"/>
            </a:srgbClr>
          </a:solidFill>
          <a:ln w="12700" cap="flat" cmpd="sng">
            <a:solidFill>
              <a:srgbClr val="FFFFFF"/>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a:defRPr lang="en-US" sz="4000" dirty="0">
                <a:solidFill>
                  <a:srgbClr val="FFFFFF"/>
                </a:solidFill>
                <a:effectLst>
                  <a:outerShdw blurRad="38100" dist="38100" dir="2700000" algn="tl">
                    <a:srgbClr val="C0C0C0"/>
                  </a:outerShdw>
                </a:effectLst>
                <a:latin typeface="Lato" panose="020F0502020204030203" pitchFamily="34" charset="0"/>
                <a:ea typeface="Lato" panose="020F0502020204030203" pitchFamily="34" charset="0"/>
                <a:cs typeface="Arial" panose="020B0604020202020204" pitchFamily="34" charset="0"/>
                <a:sym typeface="Gill Sans" charset="0"/>
              </a:defRPr>
            </a:lvl1pPr>
          </a:lstStyle>
          <a:p>
            <a:pPr lvl="0" algn="ctr" defTabSz="584200"/>
            <a:r>
              <a:rPr lang="en-US" dirty="0"/>
              <a:t> </a:t>
            </a:r>
          </a:p>
        </p:txBody>
      </p:sp>
      <p:sp>
        <p:nvSpPr>
          <p:cNvPr id="11" name="Text Placeholder 10"/>
          <p:cNvSpPr>
            <a:spLocks noGrp="1"/>
          </p:cNvSpPr>
          <p:nvPr>
            <p:ph type="body" sz="quarter" idx="12" hasCustomPrompt="1"/>
          </p:nvPr>
        </p:nvSpPr>
        <p:spPr>
          <a:xfrm>
            <a:off x="3397250" y="10377954"/>
            <a:ext cx="17576800" cy="1938992"/>
          </a:xfrm>
          <a:prstGeom prst="rect">
            <a:avLst/>
          </a:prstGeom>
        </p:spPr>
        <p:txBody>
          <a:bodyPr wrap="square" anchor="ctr">
            <a:spAutoFit/>
          </a:bodyPr>
          <a:lstStyle>
            <a:lvl1pPr algn="ctr">
              <a:defRPr sz="4000" baseline="0"/>
            </a:lvl1pPr>
          </a:lstStyle>
          <a:p>
            <a:pPr lvl="0"/>
            <a:r>
              <a:rPr lang="en-US" dirty="0"/>
              <a:t> Describe your thoughts with Lorem ipsum dolor sit </a:t>
            </a:r>
            <a:r>
              <a:rPr lang="en-US" dirty="0" err="1"/>
              <a:t>amet</a:t>
            </a:r>
            <a:r>
              <a:rPr lang="en-US" dirty="0"/>
              <a:t>, as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lor </a:t>
            </a:r>
            <a:r>
              <a:rPr lang="en-US" dirty="0" err="1"/>
              <a:t>odio</a:t>
            </a:r>
            <a:r>
              <a:rPr lang="en-US" dirty="0"/>
              <a:t>, </a:t>
            </a:r>
            <a:r>
              <a:rPr lang="en-US" dirty="0" err="1"/>
              <a:t>aliquet</a:t>
            </a:r>
            <a:r>
              <a:rPr lang="en-US" dirty="0"/>
              <a:t> </a:t>
            </a:r>
            <a:r>
              <a:rPr lang="en-US" dirty="0" err="1"/>
              <a:t>vel</a:t>
            </a:r>
            <a:r>
              <a:rPr lang="en-US" dirty="0"/>
              <a:t> </a:t>
            </a:r>
            <a:r>
              <a:rPr lang="en-US" dirty="0" err="1"/>
              <a:t>tincidunt</a:t>
            </a:r>
            <a:r>
              <a:rPr lang="en-US" dirty="0"/>
              <a:t> </a:t>
            </a:r>
            <a:r>
              <a:rPr lang="en-US" dirty="0" err="1"/>
              <a:t>eu</a:t>
            </a:r>
            <a:r>
              <a:rPr lang="en-US" dirty="0"/>
              <a:t>, </a:t>
            </a:r>
            <a:r>
              <a:rPr lang="en-US" dirty="0" err="1"/>
              <a:t>lobortis</a:t>
            </a:r>
            <a:r>
              <a:rPr lang="en-US" dirty="0"/>
              <a:t> at </a:t>
            </a:r>
            <a:r>
              <a:rPr lang="en-US" dirty="0" err="1"/>
              <a:t>justo</a:t>
            </a:r>
            <a:r>
              <a:rPr lang="en-US" dirty="0"/>
              <a:t>. </a:t>
            </a:r>
            <a:r>
              <a:rPr lang="en-US" dirty="0" err="1"/>
              <a:t>Sed</a:t>
            </a:r>
            <a:r>
              <a:rPr lang="en-US" dirty="0"/>
              <a:t> </a:t>
            </a:r>
            <a:r>
              <a:rPr lang="en-US" dirty="0" err="1"/>
              <a:t>tristique</a:t>
            </a:r>
            <a:r>
              <a:rPr lang="en-US" dirty="0"/>
              <a:t> dui </a:t>
            </a:r>
            <a:r>
              <a:rPr lang="en-US" dirty="0" err="1"/>
              <a:t>adipiscing</a:t>
            </a:r>
            <a:r>
              <a:rPr lang="en-US" dirty="0"/>
              <a:t> magna </a:t>
            </a:r>
            <a:r>
              <a:rPr lang="en-US" dirty="0" err="1"/>
              <a:t>interdum</a:t>
            </a:r>
            <a:r>
              <a:rPr lang="en-US" dirty="0"/>
              <a:t>, </a:t>
            </a:r>
            <a:r>
              <a:rPr lang="en-US" dirty="0" err="1"/>
              <a:t>sed</a:t>
            </a:r>
            <a:r>
              <a:rPr lang="en-US" dirty="0"/>
              <a:t> </a:t>
            </a:r>
            <a:r>
              <a:rPr lang="en-US" dirty="0" err="1"/>
              <a:t>molestie</a:t>
            </a:r>
            <a:r>
              <a:rPr lang="en-US" dirty="0"/>
              <a:t> </a:t>
            </a:r>
            <a:r>
              <a:rPr lang="en-US" dirty="0" err="1"/>
              <a:t>nunc</a:t>
            </a:r>
            <a:r>
              <a:rPr lang="en-US" dirty="0"/>
              <a:t> </a:t>
            </a:r>
            <a:r>
              <a:rPr lang="en-US" dirty="0" err="1"/>
              <a:t>vulputate</a:t>
            </a:r>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rgbClr val="FFFFFF"/>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30233535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ustom placeholder 4">
    <p:spTree>
      <p:nvGrpSpPr>
        <p:cNvPr id="1" name=""/>
        <p:cNvGrpSpPr/>
        <p:nvPr/>
      </p:nvGrpSpPr>
      <p:grpSpPr>
        <a:xfrm>
          <a:off x="0" y="0"/>
          <a:ext cx="0" cy="0"/>
          <a:chOff x="0" y="0"/>
          <a:chExt cx="0" cy="0"/>
        </a:xfrm>
      </p:grpSpPr>
      <p:sp>
        <p:nvSpPr>
          <p:cNvPr id="6" name="Rectangle 5"/>
          <p:cNvSpPr/>
          <p:nvPr userDrawn="1"/>
        </p:nvSpPr>
        <p:spPr bwMode="auto">
          <a:xfrm>
            <a:off x="12973050" y="0"/>
            <a:ext cx="11410950"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12195048" y="0"/>
            <a:ext cx="12188952" cy="13716000"/>
          </a:xfrm>
          <a:prstGeom prst="rect">
            <a:avLst/>
          </a:prstGeom>
          <a:noFill/>
        </p:spPr>
        <p:txBody>
          <a:bodyPr/>
          <a:lstStyle/>
          <a:p>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chemeClr val="tx1"/>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29800231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ustom placeholder 5">
    <p:spTree>
      <p:nvGrpSpPr>
        <p:cNvPr id="1" name=""/>
        <p:cNvGrpSpPr/>
        <p:nvPr/>
      </p:nvGrpSpPr>
      <p:grpSpPr>
        <a:xfrm>
          <a:off x="0" y="0"/>
          <a:ext cx="0" cy="0"/>
          <a:chOff x="0" y="0"/>
          <a:chExt cx="0" cy="0"/>
        </a:xfrm>
      </p:grpSpPr>
      <p:sp>
        <p:nvSpPr>
          <p:cNvPr id="4" name="Rectangle 3"/>
          <p:cNvSpPr/>
          <p:nvPr userDrawn="1"/>
        </p:nvSpPr>
        <p:spPr bwMode="auto">
          <a:xfrm>
            <a:off x="0" y="0"/>
            <a:ext cx="12188952"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0" y="0"/>
            <a:ext cx="12188952" cy="13716000"/>
          </a:xfrm>
          <a:prstGeom prst="rect">
            <a:avLst/>
          </a:prstGeom>
          <a:noFill/>
        </p:spPr>
        <p:txBody>
          <a:bodyPr/>
          <a:lstStyle/>
          <a:p>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rgbClr val="FFFFFF"/>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21700712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ustom placeholder 1">
    <p:spTree>
      <p:nvGrpSpPr>
        <p:cNvPr id="1" name=""/>
        <p:cNvGrpSpPr/>
        <p:nvPr/>
      </p:nvGrpSpPr>
      <p:grpSpPr>
        <a:xfrm>
          <a:off x="0" y="0"/>
          <a:ext cx="0" cy="0"/>
          <a:chOff x="0" y="0"/>
          <a:chExt cx="0" cy="0"/>
        </a:xfrm>
      </p:grpSpPr>
      <p:sp>
        <p:nvSpPr>
          <p:cNvPr id="4" name="AutoShape 1"/>
          <p:cNvSpPr>
            <a:spLocks/>
          </p:cNvSpPr>
          <p:nvPr/>
        </p:nvSpPr>
        <p:spPr bwMode="auto">
          <a:xfrm>
            <a:off x="8724900" y="-14288"/>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24" name="Picture Placeholder 23"/>
          <p:cNvSpPr>
            <a:spLocks noGrp="1"/>
          </p:cNvSpPr>
          <p:nvPr>
            <p:ph type="pic" sz="quarter" idx="10" hasCustomPrompt="1"/>
          </p:nvPr>
        </p:nvSpPr>
        <p:spPr>
          <a:xfrm>
            <a:off x="1855997" y="4891328"/>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
        <p:nvSpPr>
          <p:cNvPr id="25" name="Picture Placeholder 24"/>
          <p:cNvSpPr>
            <a:spLocks noGrp="1"/>
          </p:cNvSpPr>
          <p:nvPr>
            <p:ph type="pic" sz="quarter" idx="11" hasCustomPrompt="1"/>
          </p:nvPr>
        </p:nvSpPr>
        <p:spPr>
          <a:xfrm>
            <a:off x="6837383" y="4889500"/>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
        <p:nvSpPr>
          <p:cNvPr id="28" name="Picture Placeholder 27"/>
          <p:cNvSpPr>
            <a:spLocks noGrp="1"/>
          </p:cNvSpPr>
          <p:nvPr>
            <p:ph type="pic" sz="quarter" idx="12" hasCustomPrompt="1"/>
          </p:nvPr>
        </p:nvSpPr>
        <p:spPr>
          <a:xfrm>
            <a:off x="11811073" y="4889500"/>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
        <p:nvSpPr>
          <p:cNvPr id="29" name="Picture Placeholder 28"/>
          <p:cNvSpPr>
            <a:spLocks noGrp="1"/>
          </p:cNvSpPr>
          <p:nvPr>
            <p:ph type="pic" sz="quarter" idx="13" hasCustomPrompt="1"/>
          </p:nvPr>
        </p:nvSpPr>
        <p:spPr>
          <a:xfrm>
            <a:off x="16801738" y="4889500"/>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Tree>
    <p:extLst>
      <p:ext uri="{BB962C8B-B14F-4D97-AF65-F5344CB8AC3E}">
        <p14:creationId xmlns:p14="http://schemas.microsoft.com/office/powerpoint/2010/main" xmlns="" val="6740839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ite placeholder 1">
    <p:spTree>
      <p:nvGrpSpPr>
        <p:cNvPr id="1" name=""/>
        <p:cNvGrpSpPr/>
        <p:nvPr/>
      </p:nvGrpSpPr>
      <p:grpSpPr>
        <a:xfrm>
          <a:off x="0" y="0"/>
          <a:ext cx="0" cy="0"/>
          <a:chOff x="0" y="0"/>
          <a:chExt cx="0" cy="0"/>
        </a:xfrm>
      </p:grpSpPr>
      <p:sp>
        <p:nvSpPr>
          <p:cNvPr id="29" name="Picture Placeholder 28"/>
          <p:cNvSpPr>
            <a:spLocks noGrp="1"/>
          </p:cNvSpPr>
          <p:nvPr>
            <p:ph type="pic" sz="quarter" idx="14" hasCustomPrompt="1"/>
          </p:nvPr>
        </p:nvSpPr>
        <p:spPr>
          <a:xfrm>
            <a:off x="6311376" y="5170471"/>
            <a:ext cx="11334224" cy="5748306"/>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txBody>
          <a:bodyPr wrap="square">
            <a:noAutofit/>
          </a:bodyPr>
          <a:lstStyle/>
          <a:p>
            <a:r>
              <a:rPr lang="en-US" dirty="0"/>
              <a:t> </a:t>
            </a:r>
          </a:p>
        </p:txBody>
      </p:sp>
      <p:sp>
        <p:nvSpPr>
          <p:cNvPr id="15" name="Text Placeholder 14"/>
          <p:cNvSpPr>
            <a:spLocks noGrp="1"/>
          </p:cNvSpPr>
          <p:nvPr>
            <p:ph type="body" sz="quarter" idx="10" hasCustomPrompt="1"/>
          </p:nvPr>
        </p:nvSpPr>
        <p:spPr>
          <a:xfrm>
            <a:off x="6311902" y="3873500"/>
            <a:ext cx="11334223" cy="1343025"/>
          </a:xfrm>
          <a:custGeom>
            <a:avLst/>
            <a:gdLst>
              <a:gd name="connsiteX0" fmla="*/ 197308 w 11334223"/>
              <a:gd name="connsiteY0" fmla="*/ 0 h 1343025"/>
              <a:gd name="connsiteX1" fmla="*/ 11136915 w 11334223"/>
              <a:gd name="connsiteY1" fmla="*/ 0 h 1343025"/>
              <a:gd name="connsiteX2" fmla="*/ 11334223 w 11334223"/>
              <a:gd name="connsiteY2" fmla="*/ 197186 h 1343025"/>
              <a:gd name="connsiteX3" fmla="*/ 11334223 w 11334223"/>
              <a:gd name="connsiteY3" fmla="*/ 202011 h 1343025"/>
              <a:gd name="connsiteX4" fmla="*/ 11334223 w 11334223"/>
              <a:gd name="connsiteY4" fmla="*/ 216283 h 1343025"/>
              <a:gd name="connsiteX5" fmla="*/ 11334223 w 11334223"/>
              <a:gd name="connsiteY5" fmla="*/ 239696 h 1343025"/>
              <a:gd name="connsiteX6" fmla="*/ 11334223 w 11334223"/>
              <a:gd name="connsiteY6" fmla="*/ 271947 h 1343025"/>
              <a:gd name="connsiteX7" fmla="*/ 11334223 w 11334223"/>
              <a:gd name="connsiteY7" fmla="*/ 312730 h 1343025"/>
              <a:gd name="connsiteX8" fmla="*/ 11334223 w 11334223"/>
              <a:gd name="connsiteY8" fmla="*/ 361742 h 1343025"/>
              <a:gd name="connsiteX9" fmla="*/ 11334223 w 11334223"/>
              <a:gd name="connsiteY9" fmla="*/ 418676 h 1343025"/>
              <a:gd name="connsiteX10" fmla="*/ 11334223 w 11334223"/>
              <a:gd name="connsiteY10" fmla="*/ 483228 h 1343025"/>
              <a:gd name="connsiteX11" fmla="*/ 11334223 w 11334223"/>
              <a:gd name="connsiteY11" fmla="*/ 633969 h 1343025"/>
              <a:gd name="connsiteX12" fmla="*/ 11334223 w 11334223"/>
              <a:gd name="connsiteY12" fmla="*/ 811527 h 1343025"/>
              <a:gd name="connsiteX13" fmla="*/ 11334223 w 11334223"/>
              <a:gd name="connsiteY13" fmla="*/ 1013463 h 1343025"/>
              <a:gd name="connsiteX14" fmla="*/ 11334223 w 11334223"/>
              <a:gd name="connsiteY14" fmla="*/ 1237339 h 1343025"/>
              <a:gd name="connsiteX15" fmla="*/ 11334223 w 11334223"/>
              <a:gd name="connsiteY15" fmla="*/ 1343025 h 1343025"/>
              <a:gd name="connsiteX16" fmla="*/ 0 w 11334223"/>
              <a:gd name="connsiteY16" fmla="*/ 1343025 h 1343025"/>
              <a:gd name="connsiteX17" fmla="*/ 0 w 11334223"/>
              <a:gd name="connsiteY17" fmla="*/ 197186 h 1343025"/>
              <a:gd name="connsiteX18" fmla="*/ 197308 w 11334223"/>
              <a:gd name="connsiteY18"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34223" h="1343025">
                <a:moveTo>
                  <a:pt x="197308" y="0"/>
                </a:moveTo>
                <a:lnTo>
                  <a:pt x="11136915" y="0"/>
                </a:lnTo>
                <a:cubicBezTo>
                  <a:pt x="11246065" y="0"/>
                  <a:pt x="11334223" y="88146"/>
                  <a:pt x="11334223" y="197186"/>
                </a:cubicBezTo>
                <a:lnTo>
                  <a:pt x="11334223" y="202011"/>
                </a:lnTo>
                <a:lnTo>
                  <a:pt x="11334223" y="216283"/>
                </a:lnTo>
                <a:lnTo>
                  <a:pt x="11334223" y="239696"/>
                </a:lnTo>
                <a:lnTo>
                  <a:pt x="11334223" y="271947"/>
                </a:lnTo>
                <a:lnTo>
                  <a:pt x="11334223" y="312730"/>
                </a:lnTo>
                <a:lnTo>
                  <a:pt x="11334223" y="361742"/>
                </a:lnTo>
                <a:lnTo>
                  <a:pt x="11334223" y="418676"/>
                </a:lnTo>
                <a:lnTo>
                  <a:pt x="11334223" y="483228"/>
                </a:lnTo>
                <a:lnTo>
                  <a:pt x="11334223" y="633969"/>
                </a:lnTo>
                <a:lnTo>
                  <a:pt x="11334223" y="811527"/>
                </a:lnTo>
                <a:lnTo>
                  <a:pt x="11334223" y="1013463"/>
                </a:lnTo>
                <a:lnTo>
                  <a:pt x="11334223" y="1237339"/>
                </a:lnTo>
                <a:lnTo>
                  <a:pt x="11334223" y="1343025"/>
                </a:lnTo>
                <a:lnTo>
                  <a:pt x="0" y="1343025"/>
                </a:lnTo>
                <a:lnTo>
                  <a:pt x="0" y="197186"/>
                </a:lnTo>
                <a:cubicBezTo>
                  <a:pt x="0" y="88146"/>
                  <a:pt x="88158" y="0"/>
                  <a:pt x="197308" y="0"/>
                </a:cubicBezTo>
                <a:close/>
              </a:path>
            </a:pathLst>
          </a:custGeom>
          <a:solidFill>
            <a:srgbClr val="CFCFCF"/>
          </a:solidFill>
          <a:ln w="3175">
            <a:solidFill>
              <a:srgbClr val="CFCFCF"/>
            </a:solidFill>
          </a:ln>
        </p:spPr>
        <p:txBody>
          <a:bodyPr wrap="square">
            <a:noAutofit/>
          </a:bodyPr>
          <a:lstStyle>
            <a:lvl1pPr>
              <a:defRPr baseline="0"/>
            </a:lvl1pPr>
          </a:lstStyle>
          <a:p>
            <a:pPr lvl="0"/>
            <a:r>
              <a:rPr lang="en-US" dirty="0"/>
              <a:t> </a:t>
            </a:r>
          </a:p>
        </p:txBody>
      </p:sp>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19" name="Text Placeholder 18"/>
          <p:cNvSpPr>
            <a:spLocks noGrp="1"/>
          </p:cNvSpPr>
          <p:nvPr>
            <p:ph type="body" sz="quarter" idx="11" hasCustomPrompt="1"/>
          </p:nvPr>
        </p:nvSpPr>
        <p:spPr>
          <a:xfrm>
            <a:off x="6311900" y="4203700"/>
            <a:ext cx="11333700" cy="1012778"/>
          </a:xfrm>
          <a:custGeom>
            <a:avLst/>
            <a:gdLst>
              <a:gd name="connsiteX0" fmla="*/ 501668 w 11333700"/>
              <a:gd name="connsiteY0" fmla="*/ 0 h 1012778"/>
              <a:gd name="connsiteX1" fmla="*/ 1587390 w 11333700"/>
              <a:gd name="connsiteY1" fmla="*/ 0 h 1012778"/>
              <a:gd name="connsiteX2" fmla="*/ 1834550 w 11333700"/>
              <a:gd name="connsiteY2" fmla="*/ 45437 h 1012778"/>
              <a:gd name="connsiteX3" fmla="*/ 1947373 w 11333700"/>
              <a:gd name="connsiteY3" fmla="*/ 310928 h 1012778"/>
              <a:gd name="connsiteX4" fmla="*/ 11228806 w 11333700"/>
              <a:gd name="connsiteY4" fmla="*/ 310928 h 1012778"/>
              <a:gd name="connsiteX5" fmla="*/ 11333700 w 11333700"/>
              <a:gd name="connsiteY5" fmla="*/ 310928 h 1012778"/>
              <a:gd name="connsiteX6" fmla="*/ 11333700 w 11333700"/>
              <a:gd name="connsiteY6" fmla="*/ 481327 h 1012778"/>
              <a:gd name="connsiteX7" fmla="*/ 11333700 w 11333700"/>
              <a:gd name="connsiteY7" fmla="*/ 683263 h 1012778"/>
              <a:gd name="connsiteX8" fmla="*/ 11333700 w 11333700"/>
              <a:gd name="connsiteY8" fmla="*/ 907139 h 1012778"/>
              <a:gd name="connsiteX9" fmla="*/ 11333700 w 11333700"/>
              <a:gd name="connsiteY9" fmla="*/ 1012778 h 1012778"/>
              <a:gd name="connsiteX10" fmla="*/ 0 w 11333700"/>
              <a:gd name="connsiteY10" fmla="*/ 1012778 h 1012778"/>
              <a:gd name="connsiteX11" fmla="*/ 0 w 11333700"/>
              <a:gd name="connsiteY11" fmla="*/ 310928 h 1012778"/>
              <a:gd name="connsiteX12" fmla="*/ 110724 w 11333700"/>
              <a:gd name="connsiteY12" fmla="*/ 310928 h 1012778"/>
              <a:gd name="connsiteX13" fmla="*/ 254507 w 11333700"/>
              <a:gd name="connsiteY13" fmla="*/ 45437 h 1012778"/>
              <a:gd name="connsiteX14" fmla="*/ 501668 w 11333700"/>
              <a:gd name="connsiteY14" fmla="*/ 0 h 101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33700" h="1012778">
                <a:moveTo>
                  <a:pt x="501668" y="0"/>
                </a:moveTo>
                <a:lnTo>
                  <a:pt x="1587390" y="0"/>
                </a:lnTo>
                <a:cubicBezTo>
                  <a:pt x="1780500" y="0"/>
                  <a:pt x="1818808" y="0"/>
                  <a:pt x="1834550" y="45437"/>
                </a:cubicBezTo>
                <a:lnTo>
                  <a:pt x="1947373" y="310928"/>
                </a:lnTo>
                <a:cubicBezTo>
                  <a:pt x="1947373" y="310928"/>
                  <a:pt x="10197535" y="310928"/>
                  <a:pt x="11228806" y="310928"/>
                </a:cubicBezTo>
                <a:lnTo>
                  <a:pt x="11333700" y="310928"/>
                </a:lnTo>
                <a:lnTo>
                  <a:pt x="11333700" y="481327"/>
                </a:lnTo>
                <a:lnTo>
                  <a:pt x="11333700" y="683263"/>
                </a:lnTo>
                <a:lnTo>
                  <a:pt x="11333700" y="907139"/>
                </a:lnTo>
                <a:lnTo>
                  <a:pt x="11333700" y="1012778"/>
                </a:lnTo>
                <a:lnTo>
                  <a:pt x="0" y="1012778"/>
                </a:lnTo>
                <a:lnTo>
                  <a:pt x="0" y="310928"/>
                </a:lnTo>
                <a:lnTo>
                  <a:pt x="110724" y="310928"/>
                </a:lnTo>
                <a:lnTo>
                  <a:pt x="254507" y="45437"/>
                </a:lnTo>
                <a:cubicBezTo>
                  <a:pt x="273399" y="0"/>
                  <a:pt x="270250" y="0"/>
                  <a:pt x="501668" y="0"/>
                </a:cubicBezTo>
                <a:close/>
              </a:path>
            </a:pathLst>
          </a:custGeom>
          <a:solidFill>
            <a:srgbClr val="E4E4E4"/>
          </a:solidFill>
          <a:ln w="3175">
            <a:solidFill>
              <a:srgbClr val="E4E4E4"/>
            </a:solidFill>
          </a:ln>
        </p:spPr>
        <p:txBody>
          <a:bodyPr wrap="square">
            <a:noAutofit/>
          </a:bodyPr>
          <a:lstStyle>
            <a:lvl1pPr>
              <a:defRPr baseline="0"/>
            </a:lvl1pPr>
          </a:lstStyle>
          <a:p>
            <a:pPr lvl="0"/>
            <a:r>
              <a:rPr lang="en-US" dirty="0"/>
              <a:t> </a:t>
            </a:r>
          </a:p>
        </p:txBody>
      </p:sp>
      <p:sp>
        <p:nvSpPr>
          <p:cNvPr id="22" name="Text Placeholder 21"/>
          <p:cNvSpPr>
            <a:spLocks noGrp="1"/>
          </p:cNvSpPr>
          <p:nvPr>
            <p:ph type="body" sz="quarter" idx="12" hasCustomPrompt="1"/>
          </p:nvPr>
        </p:nvSpPr>
        <p:spPr>
          <a:xfrm>
            <a:off x="7289799" y="4114800"/>
            <a:ext cx="10086965" cy="966772"/>
          </a:xfrm>
          <a:custGeom>
            <a:avLst/>
            <a:gdLst>
              <a:gd name="connsiteX0" fmla="*/ 140494 w 10086965"/>
              <a:gd name="connsiteY0" fmla="*/ 647700 h 966772"/>
              <a:gd name="connsiteX1" fmla="*/ 280988 w 10086965"/>
              <a:gd name="connsiteY1" fmla="*/ 788194 h 966772"/>
              <a:gd name="connsiteX2" fmla="*/ 272181 w 10086965"/>
              <a:gd name="connsiteY2" fmla="*/ 836691 h 966772"/>
              <a:gd name="connsiteX3" fmla="*/ 233610 w 10086965"/>
              <a:gd name="connsiteY3" fmla="*/ 798029 h 966772"/>
              <a:gd name="connsiteX4" fmla="*/ 234156 w 10086965"/>
              <a:gd name="connsiteY4" fmla="*/ 788194 h 966772"/>
              <a:gd name="connsiteX5" fmla="*/ 140494 w 10086965"/>
              <a:gd name="connsiteY5" fmla="*/ 694545 h 966772"/>
              <a:gd name="connsiteX6" fmla="*/ 46818 w 10086965"/>
              <a:gd name="connsiteY6" fmla="*/ 788194 h 966772"/>
              <a:gd name="connsiteX7" fmla="*/ 140494 w 10086965"/>
              <a:gd name="connsiteY7" fmla="*/ 881870 h 966772"/>
              <a:gd name="connsiteX8" fmla="*/ 198799 w 10086965"/>
              <a:gd name="connsiteY8" fmla="*/ 861420 h 966772"/>
              <a:gd name="connsiteX9" fmla="*/ 198786 w 10086965"/>
              <a:gd name="connsiteY9" fmla="*/ 861550 h 966772"/>
              <a:gd name="connsiteX10" fmla="*/ 231958 w 10086965"/>
              <a:gd name="connsiteY10" fmla="*/ 894723 h 966772"/>
              <a:gd name="connsiteX11" fmla="*/ 140494 w 10086965"/>
              <a:gd name="connsiteY11" fmla="*/ 928688 h 966772"/>
              <a:gd name="connsiteX12" fmla="*/ 0 w 10086965"/>
              <a:gd name="connsiteY12" fmla="*/ 788194 h 966772"/>
              <a:gd name="connsiteX13" fmla="*/ 140494 w 10086965"/>
              <a:gd name="connsiteY13" fmla="*/ 647700 h 966772"/>
              <a:gd name="connsiteX14" fmla="*/ 590292 w 10086965"/>
              <a:gd name="connsiteY14" fmla="*/ 609600 h 966772"/>
              <a:gd name="connsiteX15" fmla="*/ 9859789 w 10086965"/>
              <a:gd name="connsiteY15" fmla="*/ 609600 h 966772"/>
              <a:gd name="connsiteX16" fmla="*/ 9903981 w 10086965"/>
              <a:gd name="connsiteY16" fmla="*/ 662534 h 966772"/>
              <a:gd name="connsiteX17" fmla="*/ 9903981 w 10086965"/>
              <a:gd name="connsiteY17" fmla="*/ 913805 h 966772"/>
              <a:gd name="connsiteX18" fmla="*/ 9859789 w 10086965"/>
              <a:gd name="connsiteY18" fmla="*/ 966772 h 966772"/>
              <a:gd name="connsiteX19" fmla="*/ 590292 w 10086965"/>
              <a:gd name="connsiteY19" fmla="*/ 966772 h 966772"/>
              <a:gd name="connsiteX20" fmla="*/ 546100 w 10086965"/>
              <a:gd name="connsiteY20" fmla="*/ 913805 h 966772"/>
              <a:gd name="connsiteX21" fmla="*/ 546100 w 10086965"/>
              <a:gd name="connsiteY21" fmla="*/ 662534 h 966772"/>
              <a:gd name="connsiteX22" fmla="*/ 590292 w 10086965"/>
              <a:gd name="connsiteY22" fmla="*/ 609600 h 966772"/>
              <a:gd name="connsiteX23" fmla="*/ 9996489 w 10086965"/>
              <a:gd name="connsiteY23" fmla="*/ 0 h 966772"/>
              <a:gd name="connsiteX24" fmla="*/ 10086965 w 10086965"/>
              <a:gd name="connsiteY24" fmla="*/ 90496 h 966772"/>
              <a:gd name="connsiteX25" fmla="*/ 9996489 w 10086965"/>
              <a:gd name="connsiteY25" fmla="*/ 180966 h 966772"/>
              <a:gd name="connsiteX26" fmla="*/ 9906001 w 10086965"/>
              <a:gd name="connsiteY26" fmla="*/ 90496 h 966772"/>
              <a:gd name="connsiteX27" fmla="*/ 9996489 w 10086965"/>
              <a:gd name="connsiteY27" fmla="*/ 0 h 966772"/>
              <a:gd name="connsiteX28" fmla="*/ 9704381 w 10086965"/>
              <a:gd name="connsiteY28" fmla="*/ 0 h 966772"/>
              <a:gd name="connsiteX29" fmla="*/ 9794865 w 10086965"/>
              <a:gd name="connsiteY29" fmla="*/ 90496 h 966772"/>
              <a:gd name="connsiteX30" fmla="*/ 9704381 w 10086965"/>
              <a:gd name="connsiteY30" fmla="*/ 180966 h 966772"/>
              <a:gd name="connsiteX31" fmla="*/ 9613901 w 10086965"/>
              <a:gd name="connsiteY31" fmla="*/ 90496 h 966772"/>
              <a:gd name="connsiteX32" fmla="*/ 9704381 w 10086965"/>
              <a:gd name="connsiteY32" fmla="*/ 0 h 966772"/>
              <a:gd name="connsiteX33" fmla="*/ 9425004 w 10086965"/>
              <a:gd name="connsiteY33" fmla="*/ 0 h 966772"/>
              <a:gd name="connsiteX34" fmla="*/ 9515477 w 10086965"/>
              <a:gd name="connsiteY34" fmla="*/ 90496 h 966772"/>
              <a:gd name="connsiteX35" fmla="*/ 9425004 w 10086965"/>
              <a:gd name="connsiteY35" fmla="*/ 180966 h 966772"/>
              <a:gd name="connsiteX36" fmla="*/ 9334500 w 10086965"/>
              <a:gd name="connsiteY36" fmla="*/ 90496 h 966772"/>
              <a:gd name="connsiteX37" fmla="*/ 9425004 w 10086965"/>
              <a:gd name="connsiteY37" fmla="*/ 0 h 96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086965" h="966772">
                <a:moveTo>
                  <a:pt x="140494" y="647700"/>
                </a:moveTo>
                <a:cubicBezTo>
                  <a:pt x="218091" y="647700"/>
                  <a:pt x="280988" y="710597"/>
                  <a:pt x="280988" y="788194"/>
                </a:cubicBezTo>
                <a:cubicBezTo>
                  <a:pt x="280988" y="805275"/>
                  <a:pt x="277762" y="821523"/>
                  <a:pt x="272181" y="836691"/>
                </a:cubicBezTo>
                <a:lnTo>
                  <a:pt x="233610" y="798029"/>
                </a:lnTo>
                <a:cubicBezTo>
                  <a:pt x="233948" y="794803"/>
                  <a:pt x="234156" y="791537"/>
                  <a:pt x="234156" y="788194"/>
                </a:cubicBezTo>
                <a:cubicBezTo>
                  <a:pt x="234156" y="736498"/>
                  <a:pt x="192164" y="694545"/>
                  <a:pt x="140494" y="694545"/>
                </a:cubicBezTo>
                <a:cubicBezTo>
                  <a:pt x="88784" y="694545"/>
                  <a:pt x="46818" y="736498"/>
                  <a:pt x="46818" y="788194"/>
                </a:cubicBezTo>
                <a:cubicBezTo>
                  <a:pt x="46818" y="839995"/>
                  <a:pt x="88784" y="881870"/>
                  <a:pt x="140494" y="881870"/>
                </a:cubicBezTo>
                <a:cubicBezTo>
                  <a:pt x="162517" y="881870"/>
                  <a:pt x="182785" y="874182"/>
                  <a:pt x="198799" y="861420"/>
                </a:cubicBezTo>
                <a:cubicBezTo>
                  <a:pt x="198799" y="861420"/>
                  <a:pt x="198786" y="861550"/>
                  <a:pt x="198786" y="861550"/>
                </a:cubicBezTo>
                <a:lnTo>
                  <a:pt x="231958" y="894723"/>
                </a:lnTo>
                <a:cubicBezTo>
                  <a:pt x="207332" y="915797"/>
                  <a:pt x="175474" y="928688"/>
                  <a:pt x="140494" y="928688"/>
                </a:cubicBezTo>
                <a:cubicBezTo>
                  <a:pt x="62871" y="928688"/>
                  <a:pt x="0" y="865804"/>
                  <a:pt x="0" y="788194"/>
                </a:cubicBezTo>
                <a:cubicBezTo>
                  <a:pt x="0" y="710597"/>
                  <a:pt x="62871" y="647700"/>
                  <a:pt x="140494" y="647700"/>
                </a:cubicBezTo>
                <a:close/>
                <a:moveTo>
                  <a:pt x="590292" y="609600"/>
                </a:moveTo>
                <a:lnTo>
                  <a:pt x="9859789" y="609600"/>
                </a:lnTo>
                <a:cubicBezTo>
                  <a:pt x="9884485" y="609600"/>
                  <a:pt x="9903981" y="633314"/>
                  <a:pt x="9903981" y="662534"/>
                </a:cubicBezTo>
                <a:cubicBezTo>
                  <a:pt x="9903981" y="662534"/>
                  <a:pt x="9903981" y="913805"/>
                  <a:pt x="9903981" y="913805"/>
                </a:cubicBezTo>
                <a:cubicBezTo>
                  <a:pt x="9903981" y="943042"/>
                  <a:pt x="9884485" y="966772"/>
                  <a:pt x="9859789" y="966772"/>
                </a:cubicBezTo>
                <a:lnTo>
                  <a:pt x="590292" y="966772"/>
                </a:lnTo>
                <a:cubicBezTo>
                  <a:pt x="566030" y="966772"/>
                  <a:pt x="546100" y="943042"/>
                  <a:pt x="546100" y="913805"/>
                </a:cubicBezTo>
                <a:lnTo>
                  <a:pt x="546100" y="662534"/>
                </a:lnTo>
                <a:cubicBezTo>
                  <a:pt x="546100" y="633314"/>
                  <a:pt x="566030" y="609600"/>
                  <a:pt x="590292" y="609600"/>
                </a:cubicBezTo>
                <a:close/>
                <a:moveTo>
                  <a:pt x="9996489" y="0"/>
                </a:moveTo>
                <a:cubicBezTo>
                  <a:pt x="10046505" y="0"/>
                  <a:pt x="10086965" y="40535"/>
                  <a:pt x="10086965" y="90496"/>
                </a:cubicBezTo>
                <a:cubicBezTo>
                  <a:pt x="10086965" y="140456"/>
                  <a:pt x="10046505" y="180966"/>
                  <a:pt x="9996489" y="180966"/>
                </a:cubicBezTo>
                <a:cubicBezTo>
                  <a:pt x="9946525" y="180966"/>
                  <a:pt x="9906001" y="140456"/>
                  <a:pt x="9906001" y="90496"/>
                </a:cubicBezTo>
                <a:cubicBezTo>
                  <a:pt x="9906001" y="40535"/>
                  <a:pt x="9946525" y="0"/>
                  <a:pt x="9996489" y="0"/>
                </a:cubicBezTo>
                <a:close/>
                <a:moveTo>
                  <a:pt x="9704381" y="0"/>
                </a:moveTo>
                <a:cubicBezTo>
                  <a:pt x="9754357" y="0"/>
                  <a:pt x="9794865" y="40535"/>
                  <a:pt x="9794865" y="90496"/>
                </a:cubicBezTo>
                <a:cubicBezTo>
                  <a:pt x="9794865" y="140456"/>
                  <a:pt x="9754357" y="180966"/>
                  <a:pt x="9704381" y="180966"/>
                </a:cubicBezTo>
                <a:cubicBezTo>
                  <a:pt x="9654401" y="180966"/>
                  <a:pt x="9613901" y="140456"/>
                  <a:pt x="9613901" y="90496"/>
                </a:cubicBezTo>
                <a:cubicBezTo>
                  <a:pt x="9613901" y="40535"/>
                  <a:pt x="9654401" y="0"/>
                  <a:pt x="9704381" y="0"/>
                </a:cubicBezTo>
                <a:close/>
                <a:moveTo>
                  <a:pt x="9425004" y="0"/>
                </a:moveTo>
                <a:cubicBezTo>
                  <a:pt x="9474940" y="0"/>
                  <a:pt x="9515477" y="40535"/>
                  <a:pt x="9515477" y="90496"/>
                </a:cubicBezTo>
                <a:cubicBezTo>
                  <a:pt x="9515477" y="140456"/>
                  <a:pt x="9474940" y="180966"/>
                  <a:pt x="9425004" y="180966"/>
                </a:cubicBezTo>
                <a:cubicBezTo>
                  <a:pt x="9375060" y="180966"/>
                  <a:pt x="9334500" y="140456"/>
                  <a:pt x="9334500" y="90496"/>
                </a:cubicBezTo>
                <a:cubicBezTo>
                  <a:pt x="9334500" y="40535"/>
                  <a:pt x="9375060" y="0"/>
                  <a:pt x="9425004" y="0"/>
                </a:cubicBezTo>
                <a:close/>
              </a:path>
            </a:pathLst>
          </a:custGeom>
          <a:solidFill>
            <a:srgbClr val="EEEEEE"/>
          </a:solidFill>
          <a:ln w="3175">
            <a:solidFill>
              <a:srgbClr val="EEEEEE"/>
            </a:solidFill>
          </a:ln>
        </p:spPr>
        <p:txBody>
          <a:bodyPr wrap="square">
            <a:noAutofit/>
          </a:bodyPr>
          <a:lstStyle>
            <a:lvl1pPr>
              <a:defRPr baseline="0"/>
            </a:lvl1pPr>
          </a:lstStyle>
          <a:p>
            <a:pPr lvl="0"/>
            <a:r>
              <a:rPr lang="en-US" dirty="0"/>
              <a:t> </a:t>
            </a:r>
          </a:p>
        </p:txBody>
      </p:sp>
      <p:sp>
        <p:nvSpPr>
          <p:cNvPr id="9" name="AutoShape 7"/>
          <p:cNvSpPr>
            <a:spLocks/>
          </p:cNvSpPr>
          <p:nvPr/>
        </p:nvSpPr>
        <p:spPr bwMode="auto">
          <a:xfrm>
            <a:off x="7480300" y="4902200"/>
            <a:ext cx="120650"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15066" y="18404"/>
                </a:lnTo>
                <a:cubicBezTo>
                  <a:pt x="15066" y="18404"/>
                  <a:pt x="14154" y="21599"/>
                  <a:pt x="11451" y="21599"/>
                </a:cubicBezTo>
                <a:cubicBezTo>
                  <a:pt x="8897" y="21599"/>
                  <a:pt x="7509" y="18366"/>
                  <a:pt x="7509" y="18366"/>
                </a:cubicBezTo>
                <a:cubicBezTo>
                  <a:pt x="7509" y="18366"/>
                  <a:pt x="0" y="0"/>
                  <a:pt x="0" y="0"/>
                </a:cubicBezTo>
                <a:close/>
              </a:path>
            </a:pathLst>
          </a:custGeom>
          <a:solidFill>
            <a:srgbClr val="EEEEEE"/>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Tree>
    <p:extLst>
      <p:ext uri="{BB962C8B-B14F-4D97-AF65-F5344CB8AC3E}">
        <p14:creationId xmlns:p14="http://schemas.microsoft.com/office/powerpoint/2010/main" xmlns="" val="20715288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ite placeholder 2">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5" name="Picture Placeholder 4"/>
          <p:cNvSpPr>
            <a:spLocks noGrp="1"/>
          </p:cNvSpPr>
          <p:nvPr>
            <p:ph type="pic" sz="quarter" idx="14" hasCustomPrompt="1"/>
          </p:nvPr>
        </p:nvSpPr>
        <p:spPr>
          <a:xfrm>
            <a:off x="1676400" y="5170471"/>
            <a:ext cx="10230466" cy="5188520"/>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txBody>
          <a:bodyPr wrap="square">
            <a:noAutofit/>
          </a:bodyPr>
          <a:lstStyle/>
          <a:p>
            <a:r>
              <a:rPr lang="en-US" dirty="0"/>
              <a:t> </a:t>
            </a:r>
          </a:p>
        </p:txBody>
      </p:sp>
      <p:sp>
        <p:nvSpPr>
          <p:cNvPr id="6" name="Picture Placeholder 5"/>
          <p:cNvSpPr>
            <a:spLocks noGrp="1"/>
          </p:cNvSpPr>
          <p:nvPr>
            <p:ph type="pic" sz="quarter" idx="15" hasCustomPrompt="1"/>
          </p:nvPr>
        </p:nvSpPr>
        <p:spPr>
          <a:xfrm>
            <a:off x="12477134" y="5170471"/>
            <a:ext cx="10230465" cy="5188520"/>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txBody>
          <a:bodyPr wrap="square">
            <a:noAutofit/>
          </a:bodyPr>
          <a:lstStyle/>
          <a:p>
            <a:r>
              <a:rPr lang="en-US" dirty="0"/>
              <a:t> </a:t>
            </a:r>
          </a:p>
        </p:txBody>
      </p:sp>
    </p:spTree>
    <p:extLst>
      <p:ext uri="{BB962C8B-B14F-4D97-AF65-F5344CB8AC3E}">
        <p14:creationId xmlns:p14="http://schemas.microsoft.com/office/powerpoint/2010/main" xmlns="" val="26857322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ite placeholder 3">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8" name="Picture Placeholder 5"/>
          <p:cNvSpPr>
            <a:spLocks noGrp="1"/>
          </p:cNvSpPr>
          <p:nvPr>
            <p:ph type="pic" sz="quarter" idx="14"/>
          </p:nvPr>
        </p:nvSpPr>
        <p:spPr>
          <a:xfrm>
            <a:off x="2743199" y="4354869"/>
            <a:ext cx="12673013" cy="6427291"/>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sp>
      <p:sp>
        <p:nvSpPr>
          <p:cNvPr id="9" name="Picture Placeholder 6"/>
          <p:cNvSpPr>
            <a:spLocks noGrp="1"/>
          </p:cNvSpPr>
          <p:nvPr>
            <p:ph type="pic" sz="quarter" idx="15"/>
          </p:nvPr>
        </p:nvSpPr>
        <p:spPr>
          <a:xfrm>
            <a:off x="15875001" y="3571740"/>
            <a:ext cx="5918199" cy="3013561"/>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sp>
      <p:sp>
        <p:nvSpPr>
          <p:cNvPr id="10" name="Picture Placeholder 7"/>
          <p:cNvSpPr>
            <a:spLocks noGrp="1"/>
          </p:cNvSpPr>
          <p:nvPr>
            <p:ph type="pic" sz="quarter" idx="16"/>
          </p:nvPr>
        </p:nvSpPr>
        <p:spPr>
          <a:xfrm>
            <a:off x="15901988" y="7804617"/>
            <a:ext cx="5918200" cy="3001496"/>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sp>
    </p:spTree>
    <p:extLst>
      <p:ext uri="{BB962C8B-B14F-4D97-AF65-F5344CB8AC3E}">
        <p14:creationId xmlns:p14="http://schemas.microsoft.com/office/powerpoint/2010/main" xmlns="" val="1780729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ite placeholder 4">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Picture Placeholder 3"/>
          <p:cNvSpPr>
            <a:spLocks noGrp="1"/>
          </p:cNvSpPr>
          <p:nvPr>
            <p:ph type="pic" sz="quarter" idx="10" hasCustomPrompt="1"/>
          </p:nvPr>
        </p:nvSpPr>
        <p:spPr>
          <a:xfrm>
            <a:off x="10464800" y="4648200"/>
            <a:ext cx="3514725" cy="6242050"/>
          </a:xfrm>
          <a:prstGeom prst="rect">
            <a:avLst/>
          </a:prstGeom>
        </p:spPr>
        <p:txBody>
          <a:bodyPr/>
          <a:lstStyle/>
          <a:p>
            <a:r>
              <a:rPr lang="en-US" dirty="0"/>
              <a:t> </a:t>
            </a:r>
          </a:p>
        </p:txBody>
      </p:sp>
    </p:spTree>
    <p:extLst>
      <p:ext uri="{BB962C8B-B14F-4D97-AF65-F5344CB8AC3E}">
        <p14:creationId xmlns:p14="http://schemas.microsoft.com/office/powerpoint/2010/main" xmlns="" val="40657627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ite placeholder 5">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Picture Placeholder 3"/>
          <p:cNvSpPr>
            <a:spLocks noGrp="1"/>
          </p:cNvSpPr>
          <p:nvPr>
            <p:ph type="pic" sz="quarter" idx="10" hasCustomPrompt="1"/>
          </p:nvPr>
        </p:nvSpPr>
        <p:spPr>
          <a:xfrm>
            <a:off x="12585906" y="4648200"/>
            <a:ext cx="3514725" cy="6242050"/>
          </a:xfrm>
          <a:prstGeom prst="rect">
            <a:avLst/>
          </a:prstGeom>
        </p:spPr>
        <p:txBody>
          <a:bodyPr/>
          <a:lstStyle/>
          <a:p>
            <a:r>
              <a:rPr lang="en-US" dirty="0"/>
              <a:t> </a:t>
            </a:r>
          </a:p>
        </p:txBody>
      </p:sp>
      <p:sp>
        <p:nvSpPr>
          <p:cNvPr id="5" name="Picture Placeholder 3"/>
          <p:cNvSpPr>
            <a:spLocks noGrp="1"/>
          </p:cNvSpPr>
          <p:nvPr>
            <p:ph type="pic" sz="quarter" idx="11" hasCustomPrompt="1"/>
          </p:nvPr>
        </p:nvSpPr>
        <p:spPr>
          <a:xfrm>
            <a:off x="8212026" y="4648200"/>
            <a:ext cx="3514725" cy="6242050"/>
          </a:xfrm>
          <a:prstGeom prst="rect">
            <a:avLst/>
          </a:prstGeom>
        </p:spPr>
        <p:txBody>
          <a:bodyPr/>
          <a:lstStyle/>
          <a:p>
            <a:r>
              <a:rPr lang="en-US" dirty="0"/>
              <a:t> </a:t>
            </a:r>
          </a:p>
        </p:txBody>
      </p:sp>
    </p:spTree>
    <p:extLst>
      <p:ext uri="{BB962C8B-B14F-4D97-AF65-F5344CB8AC3E}">
        <p14:creationId xmlns:p14="http://schemas.microsoft.com/office/powerpoint/2010/main" xmlns="" val="22881595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ite placeholder 7">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Picture Placeholder 3"/>
          <p:cNvSpPr>
            <a:spLocks noGrp="1"/>
          </p:cNvSpPr>
          <p:nvPr>
            <p:ph type="pic" sz="quarter" idx="10" hasCustomPrompt="1"/>
          </p:nvPr>
        </p:nvSpPr>
        <p:spPr>
          <a:xfrm>
            <a:off x="14488160" y="4648200"/>
            <a:ext cx="3514725" cy="6242050"/>
          </a:xfrm>
          <a:prstGeom prst="rect">
            <a:avLst/>
          </a:prstGeom>
        </p:spPr>
        <p:txBody>
          <a:bodyPr/>
          <a:lstStyle/>
          <a:p>
            <a:r>
              <a:rPr lang="en-US" dirty="0"/>
              <a:t> </a:t>
            </a:r>
          </a:p>
        </p:txBody>
      </p:sp>
      <p:sp>
        <p:nvSpPr>
          <p:cNvPr id="5" name="Picture Placeholder 3"/>
          <p:cNvSpPr>
            <a:spLocks noGrp="1"/>
          </p:cNvSpPr>
          <p:nvPr>
            <p:ph type="pic" sz="quarter" idx="11" hasCustomPrompt="1"/>
          </p:nvPr>
        </p:nvSpPr>
        <p:spPr>
          <a:xfrm>
            <a:off x="10114280" y="4648200"/>
            <a:ext cx="3514725" cy="6242050"/>
          </a:xfrm>
          <a:prstGeom prst="rect">
            <a:avLst/>
          </a:prstGeom>
        </p:spPr>
        <p:txBody>
          <a:bodyPr/>
          <a:lstStyle/>
          <a:p>
            <a:r>
              <a:rPr lang="en-US" dirty="0"/>
              <a:t> </a:t>
            </a:r>
          </a:p>
        </p:txBody>
      </p:sp>
      <p:sp>
        <p:nvSpPr>
          <p:cNvPr id="6" name="Picture Placeholder 3"/>
          <p:cNvSpPr>
            <a:spLocks noGrp="1"/>
          </p:cNvSpPr>
          <p:nvPr>
            <p:ph type="pic" sz="quarter" idx="12" hasCustomPrompt="1"/>
          </p:nvPr>
        </p:nvSpPr>
        <p:spPr>
          <a:xfrm>
            <a:off x="5740400" y="4648200"/>
            <a:ext cx="3514725" cy="6242050"/>
          </a:xfrm>
          <a:prstGeom prst="rect">
            <a:avLst/>
          </a:prstGeom>
        </p:spPr>
        <p:txBody>
          <a:bodyPr/>
          <a:lstStyle/>
          <a:p>
            <a:r>
              <a:rPr lang="en-US" dirty="0"/>
              <a:t> </a:t>
            </a:r>
          </a:p>
        </p:txBody>
      </p:sp>
    </p:spTree>
    <p:extLst>
      <p:ext uri="{BB962C8B-B14F-4D97-AF65-F5344CB8AC3E}">
        <p14:creationId xmlns:p14="http://schemas.microsoft.com/office/powerpoint/2010/main" xmlns="" val="8854597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4881120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6" name="Freeform 5"/>
          <p:cNvSpPr>
            <a:spLocks/>
          </p:cNvSpPr>
          <p:nvPr userDrawn="1"/>
        </p:nvSpPr>
        <p:spPr bwMode="auto">
          <a:xfrm>
            <a:off x="8742516" y="-14264"/>
            <a:ext cx="15641484" cy="13730264"/>
          </a:xfrm>
          <a:custGeom>
            <a:avLst/>
            <a:gdLst>
              <a:gd name="connsiteX0" fmla="*/ 15641484 w 15641484"/>
              <a:gd name="connsiteY0" fmla="*/ 0 h 13730264"/>
              <a:gd name="connsiteX1" fmla="*/ 15641484 w 15641484"/>
              <a:gd name="connsiteY1" fmla="*/ 13730264 h 13730264"/>
              <a:gd name="connsiteX2" fmla="*/ 0 w 15641484"/>
              <a:gd name="connsiteY2" fmla="*/ 13730264 h 13730264"/>
              <a:gd name="connsiteX3" fmla="*/ 6713211 w 15641484"/>
              <a:gd name="connsiteY3" fmla="*/ 14671 h 13730264"/>
            </a:gdLst>
            <a:ahLst/>
            <a:cxnLst>
              <a:cxn ang="0">
                <a:pos x="connsiteX0" y="connsiteY0"/>
              </a:cxn>
              <a:cxn ang="0">
                <a:pos x="connsiteX1" y="connsiteY1"/>
              </a:cxn>
              <a:cxn ang="0">
                <a:pos x="connsiteX2" y="connsiteY2"/>
              </a:cxn>
              <a:cxn ang="0">
                <a:pos x="connsiteX3" y="connsiteY3"/>
              </a:cxn>
            </a:cxnLst>
            <a:rect l="l" t="t" r="r" b="b"/>
            <a:pathLst>
              <a:path w="15641484" h="13730264">
                <a:moveTo>
                  <a:pt x="15641484" y="0"/>
                </a:moveTo>
                <a:lnTo>
                  <a:pt x="15641484" y="13730264"/>
                </a:lnTo>
                <a:lnTo>
                  <a:pt x="0" y="13730264"/>
                </a:lnTo>
                <a:lnTo>
                  <a:pt x="6713211" y="14671"/>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28592913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middle">
    <p:spTree>
      <p:nvGrpSpPr>
        <p:cNvPr id="1" name=""/>
        <p:cNvGrpSpPr/>
        <p:nvPr/>
      </p:nvGrpSpPr>
      <p:grpSpPr>
        <a:xfrm>
          <a:off x="0" y="0"/>
          <a:ext cx="0" cy="0"/>
          <a:chOff x="0" y="0"/>
          <a:chExt cx="0" cy="0"/>
        </a:xfrm>
      </p:grpSpPr>
      <p:sp>
        <p:nvSpPr>
          <p:cNvPr id="5" name="Freeform 4"/>
          <p:cNvSpPr>
            <a:spLocks/>
          </p:cNvSpPr>
          <p:nvPr userDrawn="1"/>
        </p:nvSpPr>
        <p:spPr bwMode="auto">
          <a:xfrm>
            <a:off x="8742516" y="-14264"/>
            <a:ext cx="15641484" cy="13730264"/>
          </a:xfrm>
          <a:custGeom>
            <a:avLst/>
            <a:gdLst>
              <a:gd name="connsiteX0" fmla="*/ 15641484 w 15641484"/>
              <a:gd name="connsiteY0" fmla="*/ 0 h 13730264"/>
              <a:gd name="connsiteX1" fmla="*/ 15641484 w 15641484"/>
              <a:gd name="connsiteY1" fmla="*/ 13730264 h 13730264"/>
              <a:gd name="connsiteX2" fmla="*/ 0 w 15641484"/>
              <a:gd name="connsiteY2" fmla="*/ 13730264 h 13730264"/>
              <a:gd name="connsiteX3" fmla="*/ 6713211 w 15641484"/>
              <a:gd name="connsiteY3" fmla="*/ 14671 h 13730264"/>
            </a:gdLst>
            <a:ahLst/>
            <a:cxnLst>
              <a:cxn ang="0">
                <a:pos x="connsiteX0" y="connsiteY0"/>
              </a:cxn>
              <a:cxn ang="0">
                <a:pos x="connsiteX1" y="connsiteY1"/>
              </a:cxn>
              <a:cxn ang="0">
                <a:pos x="connsiteX2" y="connsiteY2"/>
              </a:cxn>
              <a:cxn ang="0">
                <a:pos x="connsiteX3" y="connsiteY3"/>
              </a:cxn>
            </a:cxnLst>
            <a:rect l="l" t="t" r="r" b="b"/>
            <a:pathLst>
              <a:path w="15641484" h="13730264">
                <a:moveTo>
                  <a:pt x="15641484" y="0"/>
                </a:moveTo>
                <a:lnTo>
                  <a:pt x="15641484" y="13730264"/>
                </a:lnTo>
                <a:lnTo>
                  <a:pt x="0" y="13730264"/>
                </a:lnTo>
                <a:lnTo>
                  <a:pt x="6713211" y="14671"/>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8" name="Tytuł 7"/>
          <p:cNvSpPr>
            <a:spLocks noGrp="1"/>
          </p:cNvSpPr>
          <p:nvPr>
            <p:ph type="title" hasCustomPrompt="1"/>
          </p:nvPr>
        </p:nvSpPr>
        <p:spPr>
          <a:xfrm>
            <a:off x="6144582" y="7799555"/>
            <a:ext cx="12092408" cy="1508105"/>
          </a:xfrm>
          <a:prstGeom prst="rect">
            <a:avLst/>
          </a:prstGeom>
        </p:spPr>
        <p:txBody>
          <a:bodyPr wrap="square">
            <a:spAutoFit/>
          </a:bodyPr>
          <a:lstStyle>
            <a:lvl1pPr algn="ctr">
              <a:defRPr baseline="0">
                <a:solidFill>
                  <a:schemeClr val="tx1"/>
                </a:solidFill>
              </a:defRPr>
            </a:lvl1pPr>
          </a:lstStyle>
          <a:p>
            <a:r>
              <a:rPr lang="pl-PL" dirty="0"/>
              <a:t>Timelines &amp; Planning</a:t>
            </a:r>
            <a:endParaRPr lang="en-US" dirty="0"/>
          </a:p>
        </p:txBody>
      </p:sp>
      <p:sp>
        <p:nvSpPr>
          <p:cNvPr id="12" name="Text Placeholder 11"/>
          <p:cNvSpPr>
            <a:spLocks noGrp="1"/>
          </p:cNvSpPr>
          <p:nvPr>
            <p:ph type="body" sz="quarter" idx="10" hasCustomPrompt="1"/>
          </p:nvPr>
        </p:nvSpPr>
        <p:spPr>
          <a:xfrm>
            <a:off x="9465006" y="9321948"/>
            <a:ext cx="4838700" cy="876300"/>
          </a:xfrm>
          <a:prstGeom prst="rect">
            <a:avLst/>
          </a:prstGeom>
        </p:spPr>
        <p:txBody>
          <a:bodyPr/>
          <a:lstStyle>
            <a:lvl1pPr marL="0" marR="0" indent="0" algn="ctr" defTabSz="457200" rtl="0" eaLnBrk="1" fontAlgn="base" latinLnBrk="0" hangingPunct="0">
              <a:lnSpc>
                <a:spcPct val="100000"/>
              </a:lnSpc>
              <a:spcBef>
                <a:spcPct val="0"/>
              </a:spcBef>
              <a:spcAft>
                <a:spcPct val="0"/>
              </a:spcAft>
              <a:buClrTx/>
              <a:buSzTx/>
              <a:buFontTx/>
              <a:buNone/>
              <a:tabLst/>
              <a:defRPr sz="4400">
                <a:solidFill>
                  <a:schemeClr val="tx1"/>
                </a:solidFill>
                <a:latin typeface="Lato Regular" panose="020F0502020204030203" pitchFamily="34" charset="0"/>
              </a:defRPr>
            </a:lvl1pPr>
          </a:lstStyle>
          <a:p>
            <a:pPr marL="0" marR="0" lvl="0" indent="0" algn="l" defTabSz="457200" rtl="0" eaLnBrk="1" fontAlgn="base" latinLnBrk="0" hangingPunct="0">
              <a:lnSpc>
                <a:spcPct val="100000"/>
              </a:lnSpc>
              <a:spcBef>
                <a:spcPct val="0"/>
              </a:spcBef>
              <a:spcAft>
                <a:spcPct val="0"/>
              </a:spcAft>
              <a:buClrTx/>
              <a:buSzTx/>
              <a:buFontTx/>
              <a:buNone/>
              <a:tabLst/>
              <a:defRPr/>
            </a:pPr>
            <a:r>
              <a:rPr lang="pl-PL" sz="4400" b="0" dirty="0">
                <a:latin typeface="Lato Regular" panose="020F0502020204030203" pitchFamily="34" charset="0"/>
              </a:rPr>
              <a:t>Pitch Deck Edition</a:t>
            </a:r>
            <a:endParaRPr lang="en-US" sz="4400" b="0" dirty="0">
              <a:latin typeface="Lato Regular" panose="020F0502020204030203" pitchFamily="34" charset="0"/>
            </a:endParaRPr>
          </a:p>
        </p:txBody>
      </p:sp>
    </p:spTree>
    <p:extLst>
      <p:ext uri="{BB962C8B-B14F-4D97-AF65-F5344CB8AC3E}">
        <p14:creationId xmlns:p14="http://schemas.microsoft.com/office/powerpoint/2010/main" xmlns="" val="25638320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icon-pack-bg">
    <p:bg>
      <p:bgPr>
        <a:solidFill>
          <a:srgbClr val="7D3C65"/>
        </a:solidFill>
        <a:effectLst/>
      </p:bgPr>
    </p:bg>
    <p:spTree>
      <p:nvGrpSpPr>
        <p:cNvPr id="1" name=""/>
        <p:cNvGrpSpPr/>
        <p:nvPr/>
      </p:nvGrpSpPr>
      <p:grpSpPr>
        <a:xfrm>
          <a:off x="0" y="0"/>
          <a:ext cx="0" cy="0"/>
          <a:chOff x="0" y="0"/>
          <a:chExt cx="0" cy="0"/>
        </a:xfrm>
      </p:grpSpPr>
      <p:sp>
        <p:nvSpPr>
          <p:cNvPr id="2" name="Shape 2"/>
          <p:cNvSpPr/>
          <p:nvPr userDrawn="1"/>
        </p:nvSpPr>
        <p:spPr>
          <a:xfrm>
            <a:off x="8659680" y="-1"/>
            <a:ext cx="15724320" cy="13716001"/>
          </a:xfrm>
          <a:custGeom>
            <a:avLst/>
            <a:gdLst/>
            <a:ahLst/>
            <a:cxnLst>
              <a:cxn ang="0">
                <a:pos x="wd2" y="hd2"/>
              </a:cxn>
              <a:cxn ang="5400000">
                <a:pos x="wd2" y="hd2"/>
              </a:cxn>
              <a:cxn ang="10800000">
                <a:pos x="wd2" y="hd2"/>
              </a:cxn>
              <a:cxn ang="16200000">
                <a:pos x="wd2" y="hd2"/>
              </a:cxn>
            </a:cxnLst>
            <a:rect l="0" t="0" r="r" b="b"/>
            <a:pathLst>
              <a:path w="21600" h="21600" extrusionOk="0">
                <a:moveTo>
                  <a:pt x="9247" y="23"/>
                </a:moveTo>
                <a:lnTo>
                  <a:pt x="21530" y="0"/>
                </a:lnTo>
                <a:lnTo>
                  <a:pt x="21600" y="21600"/>
                </a:lnTo>
                <a:lnTo>
                  <a:pt x="0" y="21548"/>
                </a:lnTo>
                <a:lnTo>
                  <a:pt x="9247" y="23"/>
                </a:lnTo>
                <a:close/>
              </a:path>
            </a:pathLst>
          </a:custGeom>
          <a:solidFill>
            <a:schemeClr val="tx1">
              <a:lumMod val="75000"/>
              <a:alpha val="7000"/>
            </a:schemeClr>
          </a:solidFill>
          <a:ln w="25400" cap="flat" cmpd="sng" algn="ctr">
            <a:noFill/>
            <a:prstDash val="solid"/>
            <a:miter lim="0"/>
            <a:headEnd type="none" w="med" len="med"/>
            <a:tailEnd type="none" w="med" len="med"/>
          </a:ln>
          <a:effec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15872668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_slide">
    <p:spTree>
      <p:nvGrpSpPr>
        <p:cNvPr id="1" name=""/>
        <p:cNvGrpSpPr/>
        <p:nvPr/>
      </p:nvGrpSpPr>
      <p:grpSpPr>
        <a:xfrm>
          <a:off x="0" y="0"/>
          <a:ext cx="0" cy="0"/>
          <a:chOff x="0" y="0"/>
          <a:chExt cx="0" cy="0"/>
        </a:xfrm>
      </p:grpSpPr>
      <p:sp>
        <p:nvSpPr>
          <p:cNvPr id="6" name="Symbol zastępczy tekstu 3"/>
          <p:cNvSpPr>
            <a:spLocks noGrp="1"/>
          </p:cNvSpPr>
          <p:nvPr>
            <p:ph type="body" sz="quarter" idx="10" hasCustomPrompt="1"/>
          </p:nvPr>
        </p:nvSpPr>
        <p:spPr>
          <a:xfrm>
            <a:off x="1629045" y="7146800"/>
            <a:ext cx="7896785" cy="1080368"/>
          </a:xfrm>
          <a:prstGeom prst="rect">
            <a:avLst/>
          </a:prstGeom>
        </p:spPr>
        <p:txBody>
          <a:bodyPr>
            <a:noAutofit/>
          </a:bodyPr>
          <a:lstStyle>
            <a:lvl1pPr algn="l">
              <a:defRPr sz="4400" b="0" baseline="0">
                <a:solidFill>
                  <a:schemeClr val="tx1">
                    <a:alpha val="95000"/>
                  </a:schemeClr>
                </a:solidFill>
                <a:latin typeface="+mn-lt"/>
              </a:defRPr>
            </a:lvl1pPr>
            <a:lvl2pPr algn="ctr">
              <a:defRPr/>
            </a:lvl2pPr>
            <a:lvl3pPr algn="ctr">
              <a:defRPr/>
            </a:lvl3pPr>
            <a:lvl4pPr algn="ctr">
              <a:defRPr/>
            </a:lvl4pPr>
            <a:lvl5pPr algn="ctr">
              <a:defRPr/>
            </a:lvl5pPr>
          </a:lstStyle>
          <a:p>
            <a:pPr lvl="0"/>
            <a:r>
              <a:rPr lang="pl-PL" dirty="0"/>
              <a:t>Sample Subtitle</a:t>
            </a:r>
          </a:p>
        </p:txBody>
      </p:sp>
      <p:sp>
        <p:nvSpPr>
          <p:cNvPr id="9" name="Tytuł 8"/>
          <p:cNvSpPr>
            <a:spLocks noGrp="1"/>
          </p:cNvSpPr>
          <p:nvPr>
            <p:ph type="title" hasCustomPrompt="1"/>
          </p:nvPr>
        </p:nvSpPr>
        <p:spPr>
          <a:xfrm>
            <a:off x="1629045" y="5638695"/>
            <a:ext cx="6893234" cy="1508105"/>
          </a:xfrm>
          <a:prstGeom prst="rect">
            <a:avLst/>
          </a:prstGeom>
        </p:spPr>
        <p:txBody>
          <a:bodyPr wrap="none">
            <a:spAutoFit/>
          </a:bodyPr>
          <a:lstStyle>
            <a:lvl1pPr algn="ctr">
              <a:defRPr b="0" baseline="0">
                <a:solidFill>
                  <a:schemeClr val="tx1">
                    <a:alpha val="95000"/>
                  </a:schemeClr>
                </a:solidFill>
                <a:latin typeface="Aleo bold" panose="020F0802020204030203" pitchFamily="34" charset="0"/>
              </a:defRPr>
            </a:lvl1pPr>
          </a:lstStyle>
          <a:p>
            <a:r>
              <a:rPr lang="pl-PL" dirty="0"/>
              <a:t>Sample Title</a:t>
            </a:r>
            <a:endParaRPr lang="en-US" dirty="0"/>
          </a:p>
        </p:txBody>
      </p:sp>
      <p:sp>
        <p:nvSpPr>
          <p:cNvPr id="8" name="AutoShape 1"/>
          <p:cNvSpPr>
            <a:spLocks/>
          </p:cNvSpPr>
          <p:nvPr userDrawn="1"/>
        </p:nvSpPr>
        <p:spPr bwMode="auto">
          <a:xfrm>
            <a:off x="8659812" y="0"/>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36042966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ustom bg 6">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7047122" cy="1508105"/>
          </a:xfrm>
          <a:prstGeom prst="rect">
            <a:avLst/>
          </a:prstGeom>
        </p:spPr>
        <p:txBody>
          <a:bodyPr wrap="none">
            <a:spAutoFit/>
          </a:bodyPr>
          <a:lstStyle>
            <a:lvl1pPr>
              <a:defRPr b="0" spc="100" baseline="0">
                <a:solidFill>
                  <a:schemeClr val="tx1"/>
                </a:solidFill>
                <a:latin typeface="Aleo bold" panose="020F0802020204030203" pitchFamily="34" charset="0"/>
              </a:defRPr>
            </a:lvl1pPr>
          </a:lstStyle>
          <a:p>
            <a:r>
              <a:rPr lang="en-US" dirty="0"/>
              <a:t>Sample Title</a:t>
            </a:r>
          </a:p>
        </p:txBody>
      </p:sp>
      <p:sp>
        <p:nvSpPr>
          <p:cNvPr id="2" name="Rectangle 1"/>
          <p:cNvSpPr/>
          <p:nvPr userDrawn="1"/>
        </p:nvSpPr>
        <p:spPr bwMode="auto">
          <a:xfrm>
            <a:off x="0" y="5029200"/>
            <a:ext cx="24384000" cy="4523874"/>
          </a:xfrm>
          <a:prstGeom prst="rect">
            <a:avLst/>
          </a:prstGeom>
          <a:solidFill>
            <a:schemeClr val="tx1">
              <a:lumMod val="75000"/>
              <a:alpha val="7000"/>
            </a:schemeClr>
          </a:solidFill>
          <a:ln w="25400" cap="flat" cmpd="sng" algn="ctr">
            <a:noFill/>
            <a:prstDash val="solid"/>
            <a:miter lim="0"/>
            <a:headEnd type="none" w="med" len="med"/>
            <a:tailEnd type="none" w="med" len="med"/>
          </a:ln>
          <a:effec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indent="0" algn="ctr" defTabSz="825500" rtl="0" eaLnBrk="1" fontAlgn="base" latinLnBrk="0" hangingPunct="0">
              <a:lnSpc>
                <a:spcPct val="100000"/>
              </a:lnSpc>
              <a:spcBef>
                <a:spcPct val="0"/>
              </a:spcBef>
              <a:spcAft>
                <a:spcPct val="0"/>
              </a:spcAft>
              <a:buClrTx/>
              <a:buSzTx/>
              <a:buFontTx/>
              <a:buNone/>
              <a:tabLst/>
            </a:pPr>
            <a:endParaRPr kumimoji="0" lang="pl-PL" sz="5600" b="0" i="0" u="none" strike="noStrike" cap="none" normalizeH="0" baseline="0" dirty="0">
              <a:ln>
                <a:noFill/>
              </a:ln>
              <a:solidFill>
                <a:srgbClr val="000000"/>
              </a:solidFill>
              <a:effectLst/>
              <a:latin typeface="+mj-lt"/>
              <a:ea typeface="Gill Sans" charset="0"/>
              <a:cs typeface="Arial" panose="020B0604020202020204" pitchFamily="34" charset="0"/>
              <a:sym typeface="Gill Sans" charset="0"/>
            </a:endParaRPr>
          </a:p>
        </p:txBody>
      </p:sp>
    </p:spTree>
    <p:extLst>
      <p:ext uri="{BB962C8B-B14F-4D97-AF65-F5344CB8AC3E}">
        <p14:creationId xmlns:p14="http://schemas.microsoft.com/office/powerpoint/2010/main" xmlns="" val="21610568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6_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10583828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7_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6339320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Slide 1">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676400" y="1732762"/>
            <a:ext cx="21043392" cy="369332"/>
          </a:xfrm>
          <a:prstGeom prst="rect">
            <a:avLst/>
          </a:prstGeom>
        </p:spPr>
        <p:txBody>
          <a:bodyPr>
            <a:spAutoFit/>
          </a:bodyPr>
          <a:lstStyle>
            <a:lvl1pPr marL="0" indent="0" algn="ctr">
              <a:buNone/>
              <a:defRPr sz="1800">
                <a:latin typeface="+mj-lt"/>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dirty="0"/>
              <a:t>Click to edit Master subtitle style</a:t>
            </a:r>
          </a:p>
        </p:txBody>
      </p:sp>
      <p:sp>
        <p:nvSpPr>
          <p:cNvPr id="11" name="Title 10"/>
          <p:cNvSpPr>
            <a:spLocks noGrp="1"/>
          </p:cNvSpPr>
          <p:nvPr>
            <p:ph type="title"/>
          </p:nvPr>
        </p:nvSpPr>
        <p:spPr>
          <a:xfrm>
            <a:off x="1676400" y="947934"/>
            <a:ext cx="21031200" cy="646331"/>
          </a:xfrm>
          <a:prstGeom prst="rect">
            <a:avLst/>
          </a:prstGeom>
        </p:spPr>
        <p:txBody>
          <a:bodyPr anchor="ctr">
            <a:spAutoFit/>
          </a:bodyPr>
          <a:lstStyle>
            <a:lvl1pPr algn="ctr">
              <a:lnSpc>
                <a:spcPct val="100000"/>
              </a:lnSpc>
              <a:defRPr sz="3600" cap="all" baseline="0"/>
            </a:lvl1pPr>
          </a:lstStyle>
          <a:p>
            <a:r>
              <a:rPr lang="en-US"/>
              <a:t>Click to edit Master title style</a:t>
            </a:r>
            <a:endParaRPr lang="en-US" dirty="0"/>
          </a:p>
        </p:txBody>
      </p:sp>
      <p:sp>
        <p:nvSpPr>
          <p:cNvPr id="5" name="Date Placeholder 3"/>
          <p:cNvSpPr>
            <a:spLocks noGrp="1"/>
          </p:cNvSpPr>
          <p:nvPr>
            <p:ph type="dt" sz="half" idx="10"/>
          </p:nvPr>
        </p:nvSpPr>
        <p:spPr>
          <a:xfrm>
            <a:off x="15642858" y="12477632"/>
            <a:ext cx="5507492" cy="647936"/>
          </a:xfrm>
          <a:prstGeom prst="rect">
            <a:avLst/>
          </a:prstGeom>
        </p:spPr>
        <p:txBody>
          <a:bodyPr/>
          <a:lstStyle>
            <a:lvl1pPr>
              <a:defRPr dirty="0">
                <a:solidFill>
                  <a:schemeClr val="tx1"/>
                </a:solidFill>
                <a:latin typeface="+mn-lt"/>
              </a:defRPr>
            </a:lvl1pPr>
          </a:lstStyle>
          <a:p>
            <a:pPr>
              <a:defRPr/>
            </a:pPr>
            <a:r>
              <a:rPr lang="en-US">
                <a:solidFill>
                  <a:prstClr val="black"/>
                </a:solidFill>
              </a:rPr>
              <a:t>PRESENTER NAME</a:t>
            </a:r>
          </a:p>
        </p:txBody>
      </p:sp>
      <p:sp>
        <p:nvSpPr>
          <p:cNvPr id="6" name="Footer Placeholder 4"/>
          <p:cNvSpPr>
            <a:spLocks noGrp="1"/>
          </p:cNvSpPr>
          <p:nvPr>
            <p:ph type="ftr" sz="quarter" idx="11"/>
          </p:nvPr>
        </p:nvSpPr>
        <p:spPr>
          <a:xfrm>
            <a:off x="3200401" y="12472416"/>
            <a:ext cx="11802378" cy="640080"/>
          </a:xfrm>
          <a:prstGeom prst="rect">
            <a:avLst/>
          </a:prstGeom>
        </p:spPr>
        <p:txBody>
          <a:bodyPr/>
          <a:lstStyle>
            <a:lvl1pPr>
              <a:defRPr dirty="0">
                <a:solidFill>
                  <a:schemeClr val="tx1"/>
                </a:solidFill>
                <a:latin typeface="+mn-lt"/>
              </a:defRPr>
            </a:lvl1pPr>
          </a:lstStyle>
          <a:p>
            <a:pPr>
              <a:defRPr/>
            </a:pPr>
            <a:r>
              <a:rPr lang="en-US">
                <a:solidFill>
                  <a:prstClr val="black"/>
                </a:solidFill>
              </a:rPr>
              <a:t>COMPANY NAME</a:t>
            </a:r>
          </a:p>
        </p:txBody>
      </p:sp>
      <p:sp>
        <p:nvSpPr>
          <p:cNvPr id="7" name="Slide Number Placeholder 5"/>
          <p:cNvSpPr>
            <a:spLocks noGrp="1"/>
          </p:cNvSpPr>
          <p:nvPr>
            <p:ph type="sldNum" sz="quarter" idx="12"/>
          </p:nvPr>
        </p:nvSpPr>
        <p:spPr>
          <a:xfrm>
            <a:off x="21517844" y="12435840"/>
            <a:ext cx="731520" cy="731520"/>
          </a:xfrm>
          <a:prstGeom prst="ellipse">
            <a:avLst/>
          </a:prstGeom>
        </p:spPr>
        <p:txBody>
          <a:bodyPr/>
          <a:lstStyle>
            <a:lvl1pPr>
              <a:defRPr>
                <a:solidFill>
                  <a:schemeClr val="tx1"/>
                </a:solidFill>
                <a:latin typeface="+mn-lt"/>
              </a:defRPr>
            </a:lvl1pPr>
          </a:lstStyle>
          <a:p>
            <a:fld id="{1855AA73-D913-4E8C-95D0-AE01A1CEE061}" type="slidenum">
              <a:rPr lang="en-US" altLang="en-US" smtClean="0">
                <a:solidFill>
                  <a:prstClr val="black"/>
                </a:solidFill>
              </a:rPr>
              <a:pPr/>
              <a:t>‹N°›</a:t>
            </a:fld>
            <a:r>
              <a:rPr lang="en-US" altLang="en-US">
                <a:solidFill>
                  <a:prstClr val="black"/>
                </a:solidFill>
              </a:rPr>
              <a:t>|</a:t>
            </a:r>
          </a:p>
        </p:txBody>
      </p:sp>
    </p:spTree>
    <p:extLst>
      <p:ext uri="{BB962C8B-B14F-4D97-AF65-F5344CB8AC3E}">
        <p14:creationId xmlns:p14="http://schemas.microsoft.com/office/powerpoint/2010/main" xmlns="" val="5245648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462272" y="1929384"/>
            <a:ext cx="15459456" cy="237744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3163825" y="5276088"/>
            <a:ext cx="8543542" cy="620396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676631" y="5276088"/>
            <a:ext cx="8540494" cy="620396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a:xfrm>
            <a:off x="15642858" y="12477632"/>
            <a:ext cx="5507492" cy="647936"/>
          </a:xfrm>
          <a:prstGeom prst="rect">
            <a:avLst/>
          </a:prstGeom>
        </p:spPr>
        <p:txBody>
          <a:bodyPr/>
          <a:lstStyle/>
          <a:p>
            <a:fld id="{15C269AD-5DFE-4FED-8201-DCF4E8EAA0D4}" type="datetimeFigureOut">
              <a:rPr lang="en-US" smtClean="0">
                <a:solidFill>
                  <a:prstClr val="black">
                    <a:tint val="75000"/>
                  </a:prstClr>
                </a:solidFill>
              </a:rPr>
              <a:pPr/>
              <a:t>11/13/2016</a:t>
            </a:fld>
            <a:endParaRPr lang="en-US">
              <a:solidFill>
                <a:prstClr val="black">
                  <a:tint val="75000"/>
                </a:prstClr>
              </a:solidFill>
            </a:endParaRPr>
          </a:p>
        </p:txBody>
      </p:sp>
      <p:sp>
        <p:nvSpPr>
          <p:cNvPr id="9" name="Footer Placeholder 8"/>
          <p:cNvSpPr>
            <a:spLocks noGrp="1"/>
          </p:cNvSpPr>
          <p:nvPr>
            <p:ph type="ftr" sz="quarter" idx="11"/>
          </p:nvPr>
        </p:nvSpPr>
        <p:spPr>
          <a:xfrm>
            <a:off x="3200401" y="12472416"/>
            <a:ext cx="11802378" cy="640080"/>
          </a:xfrm>
          <a:prstGeom prst="rect">
            <a:avLst/>
          </a:prstGeom>
        </p:spPr>
        <p:txBody>
          <a:bodyPr/>
          <a:lstStyle/>
          <a:p>
            <a:endParaRPr lang="en-US">
              <a:solidFill>
                <a:prstClr val="black">
                  <a:tint val="75000"/>
                </a:prstClr>
              </a:solidFill>
            </a:endParaRPr>
          </a:p>
        </p:txBody>
      </p:sp>
      <p:sp>
        <p:nvSpPr>
          <p:cNvPr id="10" name="Slide Number Placeholder 9"/>
          <p:cNvSpPr>
            <a:spLocks noGrp="1"/>
          </p:cNvSpPr>
          <p:nvPr>
            <p:ph type="sldNum" sz="quarter" idx="12"/>
          </p:nvPr>
        </p:nvSpPr>
        <p:spPr>
          <a:xfrm>
            <a:off x="21517844" y="12435840"/>
            <a:ext cx="731520" cy="731520"/>
          </a:xfrm>
          <a:prstGeom prst="ellipse">
            <a:avLst/>
          </a:prstGeom>
        </p:spPr>
        <p:txBody>
          <a:bodyPr/>
          <a:lstStyle/>
          <a:p>
            <a:fld id="{A34F093C-B60F-4A07-8612-58CC04E2845D}"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xmlns="" val="9408109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ntent Slide 1">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831088" y="1524000"/>
            <a:ext cx="11379200" cy="609600"/>
          </a:xfrm>
          <a:prstGeom prst="rect">
            <a:avLst/>
          </a:prstGeom>
        </p:spPr>
        <p:txBody>
          <a:bodyPr anchor="ctr"/>
          <a:lstStyle>
            <a:lvl1pPr marL="0" indent="0" algn="l">
              <a:buNone/>
              <a:defRPr sz="3200" cap="all" baseline="0">
                <a:solidFill>
                  <a:schemeClr val="tx1">
                    <a:lumMod val="75000"/>
                    <a:lumOff val="25000"/>
                  </a:schemeClr>
                </a:solidFill>
                <a:latin typeface="+mj-lt"/>
              </a:defRPr>
            </a:lvl1pPr>
          </a:lstStyle>
          <a:p>
            <a:pPr lvl="0"/>
            <a:r>
              <a:rPr lang="en-US" dirty="0"/>
              <a:t>THIS IS EXAMPLE TEXT</a:t>
            </a:r>
          </a:p>
        </p:txBody>
      </p:sp>
      <p:sp>
        <p:nvSpPr>
          <p:cNvPr id="13" name="Text Placeholder 12"/>
          <p:cNvSpPr>
            <a:spLocks noGrp="1"/>
          </p:cNvSpPr>
          <p:nvPr>
            <p:ph type="body" sz="quarter" idx="14" hasCustomPrompt="1"/>
          </p:nvPr>
        </p:nvSpPr>
        <p:spPr>
          <a:xfrm>
            <a:off x="831088" y="549276"/>
            <a:ext cx="17456912" cy="974724"/>
          </a:xfrm>
          <a:prstGeom prst="rect">
            <a:avLst/>
          </a:prstGeom>
        </p:spPr>
        <p:txBody>
          <a:bodyPr anchor="ctr"/>
          <a:lstStyle>
            <a:lvl1pPr marL="0" indent="0" algn="l">
              <a:buNone/>
              <a:defRPr sz="6400" cap="all" baseline="0">
                <a:solidFill>
                  <a:schemeClr val="tx1">
                    <a:lumMod val="75000"/>
                    <a:lumOff val="25000"/>
                  </a:schemeClr>
                </a:solidFill>
                <a:latin typeface="+mj-lt"/>
              </a:defRPr>
            </a:lvl1pPr>
          </a:lstStyle>
          <a:p>
            <a:pPr lvl="0"/>
            <a:r>
              <a:rPr lang="en-US" dirty="0"/>
              <a:t>CLICK TO EDIT MASTER TITLE STYLE</a:t>
            </a:r>
          </a:p>
        </p:txBody>
      </p:sp>
      <p:sp>
        <p:nvSpPr>
          <p:cNvPr id="3" name="Date Placeholder 2"/>
          <p:cNvSpPr>
            <a:spLocks noGrp="1"/>
          </p:cNvSpPr>
          <p:nvPr>
            <p:ph type="dt" sz="half" idx="15"/>
          </p:nvPr>
        </p:nvSpPr>
        <p:spPr>
          <a:xfrm>
            <a:off x="15642858" y="12477632"/>
            <a:ext cx="5507492" cy="647936"/>
          </a:xfrm>
          <a:prstGeom prst="rect">
            <a:avLst/>
          </a:prstGeom>
        </p:spPr>
        <p:txBody>
          <a:bodyPr/>
          <a:lstStyle>
            <a:lvl1pPr>
              <a:defRPr>
                <a:solidFill>
                  <a:schemeClr val="tx1">
                    <a:lumMod val="75000"/>
                    <a:lumOff val="25000"/>
                  </a:schemeClr>
                </a:solidFill>
              </a:defRPr>
            </a:lvl1pPr>
          </a:lstStyle>
          <a:p>
            <a:r>
              <a:rPr lang="en-US" dirty="0">
                <a:solidFill>
                  <a:prstClr val="black">
                    <a:lumMod val="75000"/>
                    <a:lumOff val="25000"/>
                  </a:prstClr>
                </a:solidFill>
              </a:rPr>
              <a:t>www.domainname.com</a:t>
            </a:r>
          </a:p>
        </p:txBody>
      </p:sp>
      <p:sp>
        <p:nvSpPr>
          <p:cNvPr id="4" name="Footer Placeholder 3"/>
          <p:cNvSpPr>
            <a:spLocks noGrp="1"/>
          </p:cNvSpPr>
          <p:nvPr>
            <p:ph type="ftr" sz="quarter" idx="16"/>
          </p:nvPr>
        </p:nvSpPr>
        <p:spPr>
          <a:xfrm>
            <a:off x="3200401" y="12472416"/>
            <a:ext cx="11802378" cy="640080"/>
          </a:xfrm>
          <a:prstGeom prst="rect">
            <a:avLst/>
          </a:prstGeom>
        </p:spPr>
        <p:txBody>
          <a:bodyPr/>
          <a:lstStyle>
            <a:lvl1pPr>
              <a:defRPr>
                <a:solidFill>
                  <a:schemeClr val="tx1">
                    <a:lumMod val="75000"/>
                    <a:lumOff val="25000"/>
                  </a:schemeClr>
                </a:solidFill>
              </a:defRPr>
            </a:lvl1pPr>
          </a:lstStyle>
          <a:p>
            <a:r>
              <a:rPr lang="en-US" dirty="0">
                <a:solidFill>
                  <a:prstClr val="black">
                    <a:lumMod val="75000"/>
                    <a:lumOff val="25000"/>
                  </a:prstClr>
                </a:solidFill>
              </a:rPr>
              <a:t>Logo Company</a:t>
            </a:r>
          </a:p>
        </p:txBody>
      </p:sp>
      <p:sp>
        <p:nvSpPr>
          <p:cNvPr id="7" name="Slide Number Placeholder 6"/>
          <p:cNvSpPr>
            <a:spLocks noGrp="1"/>
          </p:cNvSpPr>
          <p:nvPr>
            <p:ph type="sldNum" sz="quarter" idx="17"/>
          </p:nvPr>
        </p:nvSpPr>
        <p:spPr>
          <a:xfrm>
            <a:off x="21517844" y="12435840"/>
            <a:ext cx="731520" cy="731520"/>
          </a:xfrm>
          <a:prstGeom prst="ellipse">
            <a:avLst/>
          </a:prstGeom>
        </p:spPr>
        <p:txBody>
          <a:bodyPr/>
          <a:lstStyle>
            <a:lvl1pPr>
              <a:defRPr>
                <a:solidFill>
                  <a:schemeClr val="tx1">
                    <a:lumMod val="75000"/>
                    <a:lumOff val="25000"/>
                  </a:schemeClr>
                </a:solidFill>
              </a:defRPr>
            </a:lvl1pPr>
          </a:lstStyle>
          <a:p>
            <a:fld id="{3101D46F-57A9-43DB-8B55-C38BE2226748}" type="slidenum">
              <a:rPr lang="en-US" smtClean="0">
                <a:solidFill>
                  <a:prstClr val="black">
                    <a:lumMod val="75000"/>
                    <a:lumOff val="25000"/>
                  </a:prstClr>
                </a:solidFill>
              </a:rPr>
              <a:pPr/>
              <a:t>‹N°›</a:t>
            </a:fld>
            <a:endParaRPr lang="en-US" dirty="0">
              <a:solidFill>
                <a:prstClr val="black">
                  <a:lumMod val="75000"/>
                  <a:lumOff val="25000"/>
                </a:prstClr>
              </a:solidFill>
            </a:endParaRPr>
          </a:p>
        </p:txBody>
      </p:sp>
    </p:spTree>
    <p:extLst>
      <p:ext uri="{BB962C8B-B14F-4D97-AF65-F5344CB8AC3E}">
        <p14:creationId xmlns:p14="http://schemas.microsoft.com/office/powerpoint/2010/main" xmlns="" val="2868715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37728556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9_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7348479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14_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10954855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26_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7191459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Content Slide 1">
    <p:spTree>
      <p:nvGrpSpPr>
        <p:cNvPr id="1" name=""/>
        <p:cNvGrpSpPr/>
        <p:nvPr/>
      </p:nvGrpSpPr>
      <p:grpSpPr>
        <a:xfrm>
          <a:off x="0" y="0"/>
          <a:ext cx="0" cy="0"/>
          <a:chOff x="0" y="0"/>
          <a:chExt cx="0" cy="0"/>
        </a:xfrm>
      </p:grpSpPr>
      <p:cxnSp>
        <p:nvCxnSpPr>
          <p:cNvPr id="4" name="Straight Connector 3"/>
          <p:cNvCxnSpPr/>
          <p:nvPr userDrawn="1">
            <p:custDataLst>
              <p:tags r:id="rId1"/>
            </p:custDataLst>
          </p:nvPr>
        </p:nvCxnSpPr>
        <p:spPr>
          <a:xfrm>
            <a:off x="8928101" y="2273300"/>
            <a:ext cx="621029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Subtitle 2"/>
          <p:cNvSpPr>
            <a:spLocks noGrp="1"/>
          </p:cNvSpPr>
          <p:nvPr>
            <p:ph type="subTitle" idx="1"/>
          </p:nvPr>
        </p:nvSpPr>
        <p:spPr>
          <a:xfrm>
            <a:off x="1676400" y="1732762"/>
            <a:ext cx="21043392" cy="424732"/>
          </a:xfrm>
          <a:prstGeom prst="rect">
            <a:avLst/>
          </a:prstGeom>
        </p:spPr>
        <p:txBody>
          <a:bodyPr>
            <a:spAutoFit/>
          </a:bodyPr>
          <a:lstStyle>
            <a:lvl1pPr marL="0" indent="0" algn="ctr">
              <a:buNone/>
              <a:defRPr sz="2400">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sp>
        <p:nvSpPr>
          <p:cNvPr id="11" name="Title 10"/>
          <p:cNvSpPr>
            <a:spLocks noGrp="1"/>
          </p:cNvSpPr>
          <p:nvPr>
            <p:ph type="title"/>
          </p:nvPr>
        </p:nvSpPr>
        <p:spPr>
          <a:xfrm>
            <a:off x="1676400" y="855599"/>
            <a:ext cx="21031200" cy="830997"/>
          </a:xfrm>
          <a:prstGeom prst="rect">
            <a:avLst/>
          </a:prstGeom>
        </p:spPr>
        <p:txBody>
          <a:bodyPr anchor="ctr">
            <a:spAutoFit/>
          </a:bodyPr>
          <a:lstStyle>
            <a:lvl1pPr algn="ctr">
              <a:lnSpc>
                <a:spcPct val="100000"/>
              </a:lnSpc>
              <a:defRPr sz="4800" cap="all" baseline="0"/>
            </a:lvl1pPr>
          </a:lstStyle>
          <a:p>
            <a:r>
              <a:rPr lang="en-US"/>
              <a:t>Click to edit Master title style</a:t>
            </a:r>
            <a:endParaRPr lang="en-US" dirty="0"/>
          </a:p>
        </p:txBody>
      </p:sp>
      <p:sp>
        <p:nvSpPr>
          <p:cNvPr id="5" name="Date Placeholder 3"/>
          <p:cNvSpPr>
            <a:spLocks noGrp="1"/>
          </p:cNvSpPr>
          <p:nvPr>
            <p:ph type="dt" sz="half" idx="10"/>
          </p:nvPr>
        </p:nvSpPr>
        <p:spPr>
          <a:xfrm>
            <a:off x="15642858" y="12477632"/>
            <a:ext cx="5507492" cy="647936"/>
          </a:xfrm>
          <a:prstGeom prst="rect">
            <a:avLst/>
          </a:prstGeom>
        </p:spPr>
        <p:txBody>
          <a:bodyPr/>
          <a:lstStyle>
            <a:lvl1pPr>
              <a:defRPr dirty="0">
                <a:solidFill>
                  <a:schemeClr val="tx1"/>
                </a:solidFill>
                <a:latin typeface="+mn-lt"/>
              </a:defRPr>
            </a:lvl1pPr>
          </a:lstStyle>
          <a:p>
            <a:pPr>
              <a:defRPr/>
            </a:pPr>
            <a:r>
              <a:rPr lang="en-US">
                <a:solidFill>
                  <a:prstClr val="black"/>
                </a:solidFill>
              </a:rPr>
              <a:t>PRESENTER NAME</a:t>
            </a:r>
          </a:p>
        </p:txBody>
      </p:sp>
      <p:sp>
        <p:nvSpPr>
          <p:cNvPr id="6" name="Footer Placeholder 4"/>
          <p:cNvSpPr>
            <a:spLocks noGrp="1"/>
          </p:cNvSpPr>
          <p:nvPr>
            <p:ph type="ftr" sz="quarter" idx="11"/>
          </p:nvPr>
        </p:nvSpPr>
        <p:spPr>
          <a:xfrm>
            <a:off x="3200401" y="12472416"/>
            <a:ext cx="11802378" cy="640080"/>
          </a:xfrm>
          <a:prstGeom prst="rect">
            <a:avLst/>
          </a:prstGeom>
        </p:spPr>
        <p:txBody>
          <a:bodyPr/>
          <a:lstStyle>
            <a:lvl1pPr>
              <a:defRPr dirty="0">
                <a:solidFill>
                  <a:schemeClr val="tx1"/>
                </a:solidFill>
                <a:latin typeface="+mn-lt"/>
              </a:defRPr>
            </a:lvl1pPr>
          </a:lstStyle>
          <a:p>
            <a:pPr>
              <a:defRPr/>
            </a:pPr>
            <a:r>
              <a:rPr lang="en-US">
                <a:solidFill>
                  <a:prstClr val="black"/>
                </a:solidFill>
              </a:rPr>
              <a:t>COMPANY NAME</a:t>
            </a:r>
          </a:p>
        </p:txBody>
      </p:sp>
      <p:sp>
        <p:nvSpPr>
          <p:cNvPr id="7" name="Slide Number Placeholder 5"/>
          <p:cNvSpPr>
            <a:spLocks noGrp="1"/>
          </p:cNvSpPr>
          <p:nvPr>
            <p:ph type="sldNum" sz="quarter" idx="12"/>
          </p:nvPr>
        </p:nvSpPr>
        <p:spPr>
          <a:xfrm>
            <a:off x="21517844" y="12435840"/>
            <a:ext cx="731520" cy="731520"/>
          </a:xfrm>
          <a:prstGeom prst="ellipse">
            <a:avLst/>
          </a:prstGeom>
        </p:spPr>
        <p:txBody>
          <a:bodyPr/>
          <a:lstStyle>
            <a:lvl1pPr>
              <a:defRPr>
                <a:solidFill>
                  <a:schemeClr val="tx1"/>
                </a:solidFill>
                <a:latin typeface="+mn-lt"/>
              </a:defRPr>
            </a:lvl1pPr>
          </a:lstStyle>
          <a:p>
            <a:fld id="{1855AA73-D913-4E8C-95D0-AE01A1CEE061}" type="slidenum">
              <a:rPr lang="en-US" altLang="en-US" smtClean="0">
                <a:solidFill>
                  <a:prstClr val="black"/>
                </a:solidFill>
              </a:rPr>
              <a:pPr/>
              <a:t>‹N°›</a:t>
            </a:fld>
            <a:r>
              <a:rPr lang="en-US" altLang="en-US">
                <a:solidFill>
                  <a:prstClr val="black"/>
                </a:solidFill>
              </a:rPr>
              <a:t>|</a:t>
            </a:r>
          </a:p>
        </p:txBody>
      </p:sp>
    </p:spTree>
    <p:extLst>
      <p:ext uri="{BB962C8B-B14F-4D97-AF65-F5344CB8AC3E}">
        <p14:creationId xmlns:p14="http://schemas.microsoft.com/office/powerpoint/2010/main" xmlns="" val="5741065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Rectangle 1"/>
          <p:cNvSpPr/>
          <p:nvPr userDrawn="1"/>
        </p:nvSpPr>
        <p:spPr>
          <a:xfrm>
            <a:off x="0" y="0"/>
            <a:ext cx="24384000" cy="13716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defTabSz="914400" hangingPunct="1"/>
            <a:endParaRPr lang="en-US" sz="3600">
              <a:solidFill>
                <a:prstClr val="white"/>
              </a:solidFill>
            </a:endParaRPr>
          </a:p>
        </p:txBody>
      </p:sp>
      <p:sp>
        <p:nvSpPr>
          <p:cNvPr id="3" name="Slide Number Placeholder 2"/>
          <p:cNvSpPr>
            <a:spLocks noGrp="1"/>
          </p:cNvSpPr>
          <p:nvPr>
            <p:ph type="sldNum" sz="quarter" idx="10"/>
          </p:nvPr>
        </p:nvSpPr>
        <p:spPr>
          <a:xfrm>
            <a:off x="880533" y="12712701"/>
            <a:ext cx="5689600" cy="730250"/>
          </a:xfrm>
          <a:prstGeom prst="rect">
            <a:avLst/>
          </a:prstGeom>
        </p:spPr>
        <p:txBody>
          <a:bodyPr/>
          <a:lstStyle>
            <a:lvl1pPr>
              <a:defRPr>
                <a:solidFill>
                  <a:schemeClr val="bg1"/>
                </a:solidFill>
              </a:defRPr>
            </a:lvl1pPr>
          </a:lstStyle>
          <a:p>
            <a:fld id="{125C11E9-EA40-D54F-953A-82A4C72DAAAD}" type="slidenum">
              <a:rPr lang="en-US" smtClean="0">
                <a:solidFill>
                  <a:prstClr val="white"/>
                </a:solidFill>
              </a:rPr>
              <a:pPr/>
              <a:t>‹N°›</a:t>
            </a:fld>
            <a:r>
              <a:rPr lang="en-US">
                <a:solidFill>
                  <a:prstClr val="white"/>
                </a:solidFill>
              </a:rPr>
              <a:t> I</a:t>
            </a:r>
            <a:endParaRPr lang="en-US" dirty="0">
              <a:solidFill>
                <a:prstClr val="white"/>
              </a:solidFill>
            </a:endParaRPr>
          </a:p>
        </p:txBody>
      </p:sp>
      <p:sp>
        <p:nvSpPr>
          <p:cNvPr id="4" name="Slide Number Placeholder 3"/>
          <p:cNvSpPr txBox="1">
            <a:spLocks/>
          </p:cNvSpPr>
          <p:nvPr userDrawn="1"/>
        </p:nvSpPr>
        <p:spPr>
          <a:xfrm>
            <a:off x="9331576" y="12719389"/>
            <a:ext cx="5689600" cy="730250"/>
          </a:xfrm>
          <a:prstGeom prst="rect">
            <a:avLst/>
          </a:prstGeom>
        </p:spPr>
        <p:txBody>
          <a:bodyPr vert="horz" lIns="182880" tIns="91440" rIns="182880" bIns="9144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2400" dirty="0">
                <a:solidFill>
                  <a:prstClr val="white"/>
                </a:solidFill>
              </a:rPr>
              <a:t>COMPANY NAME</a:t>
            </a:r>
          </a:p>
        </p:txBody>
      </p:sp>
      <p:sp>
        <p:nvSpPr>
          <p:cNvPr id="5" name="Slide Number Placeholder 3"/>
          <p:cNvSpPr txBox="1">
            <a:spLocks/>
          </p:cNvSpPr>
          <p:nvPr userDrawn="1"/>
        </p:nvSpPr>
        <p:spPr>
          <a:xfrm>
            <a:off x="18038840" y="12689769"/>
            <a:ext cx="5689600" cy="730250"/>
          </a:xfrm>
          <a:prstGeom prst="rect">
            <a:avLst/>
          </a:prstGeom>
        </p:spPr>
        <p:txBody>
          <a:bodyPr vert="horz" lIns="182880" tIns="91440" rIns="182880" bIns="9144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2400" dirty="0">
                <a:solidFill>
                  <a:prstClr val="white"/>
                </a:solidFill>
              </a:rPr>
              <a:t>NAME OF PRESENTER</a:t>
            </a:r>
          </a:p>
        </p:txBody>
      </p:sp>
    </p:spTree>
    <p:extLst>
      <p:ext uri="{BB962C8B-B14F-4D97-AF65-F5344CB8AC3E}">
        <p14:creationId xmlns:p14="http://schemas.microsoft.com/office/powerpoint/2010/main" xmlns="" val="11483256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676400" y="1732762"/>
            <a:ext cx="21043392" cy="424732"/>
          </a:xfrm>
          <a:prstGeom prst="rect">
            <a:avLst/>
          </a:prstGeom>
        </p:spPr>
        <p:txBody>
          <a:bodyPr>
            <a:spAutoFit/>
          </a:bodyPr>
          <a:lstStyle>
            <a:lvl1pPr marL="0" indent="0" algn="ctr">
              <a:buNone/>
              <a:defRPr sz="2400">
                <a:latin typeface="Calibri" panose="020F0502020204030204" pitchFamily="34" charset="0"/>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sp>
        <p:nvSpPr>
          <p:cNvPr id="4" name="Date Placeholder 3"/>
          <p:cNvSpPr>
            <a:spLocks noGrp="1"/>
          </p:cNvSpPr>
          <p:nvPr>
            <p:ph type="dt" sz="half" idx="10"/>
          </p:nvPr>
        </p:nvSpPr>
        <p:spPr>
          <a:xfrm>
            <a:off x="15642858" y="12477632"/>
            <a:ext cx="5507492" cy="647936"/>
          </a:xfrm>
          <a:prstGeom prst="rect">
            <a:avLst/>
          </a:prstGeom>
        </p:spPr>
        <p:txBody>
          <a:bodyPr/>
          <a:lstStyle/>
          <a:p>
            <a:r>
              <a:rPr lang="en-US">
                <a:solidFill>
                  <a:prstClr val="black">
                    <a:tint val="75000"/>
                  </a:prstClr>
                </a:solidFill>
              </a:rPr>
              <a:t>PRESENTER NAME</a:t>
            </a:r>
          </a:p>
        </p:txBody>
      </p:sp>
      <p:sp>
        <p:nvSpPr>
          <p:cNvPr id="5" name="Footer Placeholder 4"/>
          <p:cNvSpPr>
            <a:spLocks noGrp="1"/>
          </p:cNvSpPr>
          <p:nvPr>
            <p:ph type="ftr" sz="quarter" idx="11"/>
          </p:nvPr>
        </p:nvSpPr>
        <p:spPr>
          <a:xfrm>
            <a:off x="3200401" y="12472416"/>
            <a:ext cx="11802378" cy="640080"/>
          </a:xfrm>
          <a:prstGeom prst="rect">
            <a:avLst/>
          </a:prstGeom>
        </p:spPr>
        <p:txBody>
          <a:bodyPr/>
          <a:lstStyle/>
          <a:p>
            <a:r>
              <a:rPr lang="en-US">
                <a:solidFill>
                  <a:prstClr val="black">
                    <a:tint val="75000"/>
                  </a:prstClr>
                </a:solidFill>
              </a:rPr>
              <a:t>COMPANY NAME</a:t>
            </a:r>
          </a:p>
        </p:txBody>
      </p:sp>
      <p:sp>
        <p:nvSpPr>
          <p:cNvPr id="6" name="Slide Number Placeholder 5"/>
          <p:cNvSpPr>
            <a:spLocks noGrp="1"/>
          </p:cNvSpPr>
          <p:nvPr>
            <p:ph type="sldNum" sz="quarter" idx="12"/>
          </p:nvPr>
        </p:nvSpPr>
        <p:spPr>
          <a:xfrm>
            <a:off x="21517844" y="12435840"/>
            <a:ext cx="731520" cy="731520"/>
          </a:xfrm>
          <a:prstGeom prst="ellipse">
            <a:avLst/>
          </a:prstGeom>
        </p:spPr>
        <p:txBody>
          <a:bodyPr/>
          <a:lstStyle/>
          <a:p>
            <a:fld id="{AACE8A1A-EF06-42BD-8183-7D22FECA910D}" type="slidenum">
              <a:rPr lang="en-US" smtClean="0">
                <a:solidFill>
                  <a:prstClr val="black">
                    <a:tint val="75000"/>
                  </a:prstClr>
                </a:solidFill>
              </a:rPr>
              <a:pPr/>
              <a:t>‹N°›</a:t>
            </a:fld>
            <a:r>
              <a:rPr lang="en-US" dirty="0">
                <a:solidFill>
                  <a:prstClr val="black">
                    <a:tint val="75000"/>
                  </a:prstClr>
                </a:solidFill>
              </a:rPr>
              <a:t>|</a:t>
            </a:r>
          </a:p>
        </p:txBody>
      </p:sp>
      <p:cxnSp>
        <p:nvCxnSpPr>
          <p:cNvPr id="10" name="Straight Connector 9"/>
          <p:cNvCxnSpPr/>
          <p:nvPr userDrawn="1">
            <p:custDataLst>
              <p:tags r:id="rId1"/>
            </p:custDataLst>
          </p:nvPr>
        </p:nvCxnSpPr>
        <p:spPr>
          <a:xfrm>
            <a:off x="8929513" y="2273658"/>
            <a:ext cx="620888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1676400" y="855599"/>
            <a:ext cx="21031200" cy="830997"/>
          </a:xfrm>
          <a:prstGeom prst="rect">
            <a:avLst/>
          </a:prstGeom>
        </p:spPr>
        <p:txBody>
          <a:bodyPr anchor="ctr">
            <a:spAutoFit/>
          </a:bodyPr>
          <a:lstStyle>
            <a:lvl1pPr algn="ctr">
              <a:lnSpc>
                <a:spcPct val="100000"/>
              </a:lnSpc>
              <a:defRPr sz="480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xmlns="" val="15208142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Content Slide 2">
    <p:bg>
      <p:bgPr>
        <a:solidFill>
          <a:schemeClr val="tx1"/>
        </a:solidFill>
        <a:effectLst/>
      </p:bgPr>
    </p:bg>
    <p:spTree>
      <p:nvGrpSpPr>
        <p:cNvPr id="1" name=""/>
        <p:cNvGrpSpPr/>
        <p:nvPr/>
      </p:nvGrpSpPr>
      <p:grpSpPr>
        <a:xfrm>
          <a:off x="0" y="0"/>
          <a:ext cx="0" cy="0"/>
          <a:chOff x="0" y="0"/>
          <a:chExt cx="0" cy="0"/>
        </a:xfrm>
      </p:grpSpPr>
      <p:cxnSp>
        <p:nvCxnSpPr>
          <p:cNvPr id="5" name="Straight Connector 4"/>
          <p:cNvCxnSpPr/>
          <p:nvPr userDrawn="1">
            <p:custDataLst>
              <p:tags r:id="rId1"/>
            </p:custDataLst>
          </p:nvPr>
        </p:nvCxnSpPr>
        <p:spPr>
          <a:xfrm>
            <a:off x="8928104" y="2273300"/>
            <a:ext cx="621029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 name="Subtitle 2"/>
          <p:cNvSpPr>
            <a:spLocks noGrp="1"/>
          </p:cNvSpPr>
          <p:nvPr>
            <p:ph type="subTitle" idx="1"/>
          </p:nvPr>
        </p:nvSpPr>
        <p:spPr>
          <a:xfrm>
            <a:off x="1676400" y="1732762"/>
            <a:ext cx="21043392" cy="341632"/>
          </a:xfrm>
          <a:prstGeom prst="rect">
            <a:avLst/>
          </a:prstGeom>
        </p:spPr>
        <p:txBody>
          <a:bodyPr>
            <a:spAutoFit/>
          </a:bodyPr>
          <a:lstStyle>
            <a:lvl1pPr marL="0" indent="0" algn="ctr">
              <a:buNone/>
              <a:defRPr sz="1800">
                <a:solidFill>
                  <a:schemeClr val="bg1"/>
                </a:solidFill>
                <a:latin typeface="+mj-lt"/>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dirty="0"/>
              <a:t>Click to edit Master subtitle style</a:t>
            </a:r>
          </a:p>
        </p:txBody>
      </p:sp>
      <p:sp>
        <p:nvSpPr>
          <p:cNvPr id="11" name="Title 10"/>
          <p:cNvSpPr>
            <a:spLocks noGrp="1"/>
          </p:cNvSpPr>
          <p:nvPr>
            <p:ph type="title"/>
          </p:nvPr>
        </p:nvSpPr>
        <p:spPr>
          <a:xfrm>
            <a:off x="1676400" y="947934"/>
            <a:ext cx="21031200" cy="646331"/>
          </a:xfrm>
          <a:prstGeom prst="rect">
            <a:avLst/>
          </a:prstGeom>
        </p:spPr>
        <p:txBody>
          <a:bodyPr anchor="ctr">
            <a:spAutoFit/>
          </a:bodyPr>
          <a:lstStyle>
            <a:lvl1pPr algn="ctr">
              <a:lnSpc>
                <a:spcPct val="100000"/>
              </a:lnSpc>
              <a:defRPr sz="3600" cap="all" baseline="0">
                <a:solidFill>
                  <a:schemeClr val="bg1"/>
                </a:solidFill>
              </a:defRPr>
            </a:lvl1pPr>
          </a:lstStyle>
          <a:p>
            <a:r>
              <a:rPr lang="en-US" dirty="0"/>
              <a:t>Click to edit Master title style</a:t>
            </a:r>
          </a:p>
        </p:txBody>
      </p:sp>
      <p:sp>
        <p:nvSpPr>
          <p:cNvPr id="6" name="Date Placeholder 3"/>
          <p:cNvSpPr>
            <a:spLocks noGrp="1"/>
          </p:cNvSpPr>
          <p:nvPr>
            <p:ph type="dt" sz="half" idx="10"/>
          </p:nvPr>
        </p:nvSpPr>
        <p:spPr>
          <a:xfrm>
            <a:off x="15642858" y="12477632"/>
            <a:ext cx="5507492" cy="647936"/>
          </a:xfrm>
          <a:prstGeom prst="rect">
            <a:avLst/>
          </a:prstGeom>
        </p:spPr>
        <p:txBody>
          <a:bodyPr/>
          <a:lstStyle>
            <a:lvl1pPr>
              <a:defRPr dirty="0">
                <a:solidFill>
                  <a:schemeClr val="bg1"/>
                </a:solidFill>
                <a:latin typeface="+mn-lt"/>
              </a:defRPr>
            </a:lvl1pPr>
          </a:lstStyle>
          <a:p>
            <a:pPr>
              <a:defRPr/>
            </a:pPr>
            <a:r>
              <a:rPr lang="en-US">
                <a:solidFill>
                  <a:prstClr val="white"/>
                </a:solidFill>
              </a:rPr>
              <a:t>PRESENTER NAME</a:t>
            </a:r>
          </a:p>
        </p:txBody>
      </p:sp>
      <p:sp>
        <p:nvSpPr>
          <p:cNvPr id="7" name="Footer Placeholder 4"/>
          <p:cNvSpPr>
            <a:spLocks noGrp="1"/>
          </p:cNvSpPr>
          <p:nvPr>
            <p:ph type="ftr" sz="quarter" idx="11"/>
          </p:nvPr>
        </p:nvSpPr>
        <p:spPr>
          <a:xfrm>
            <a:off x="3200401" y="12472416"/>
            <a:ext cx="11802378" cy="640080"/>
          </a:xfrm>
          <a:prstGeom prst="rect">
            <a:avLst/>
          </a:prstGeom>
        </p:spPr>
        <p:txBody>
          <a:bodyPr/>
          <a:lstStyle>
            <a:lvl1pPr>
              <a:defRPr dirty="0">
                <a:solidFill>
                  <a:schemeClr val="bg1"/>
                </a:solidFill>
                <a:latin typeface="+mn-lt"/>
              </a:defRPr>
            </a:lvl1pPr>
          </a:lstStyle>
          <a:p>
            <a:pPr>
              <a:defRPr/>
            </a:pPr>
            <a:r>
              <a:rPr lang="en-US">
                <a:solidFill>
                  <a:prstClr val="white"/>
                </a:solidFill>
              </a:rPr>
              <a:t>COMPANY NAME</a:t>
            </a:r>
          </a:p>
        </p:txBody>
      </p:sp>
      <p:sp>
        <p:nvSpPr>
          <p:cNvPr id="8" name="Slide Number Placeholder 5"/>
          <p:cNvSpPr>
            <a:spLocks noGrp="1"/>
          </p:cNvSpPr>
          <p:nvPr>
            <p:ph type="sldNum" sz="quarter" idx="12"/>
          </p:nvPr>
        </p:nvSpPr>
        <p:spPr>
          <a:xfrm>
            <a:off x="21517844" y="12435840"/>
            <a:ext cx="731520" cy="731520"/>
          </a:xfrm>
          <a:prstGeom prst="ellipse">
            <a:avLst/>
          </a:prstGeom>
        </p:spPr>
        <p:txBody>
          <a:bodyPr/>
          <a:lstStyle>
            <a:lvl1pPr>
              <a:defRPr>
                <a:solidFill>
                  <a:schemeClr val="bg1"/>
                </a:solidFill>
                <a:latin typeface="+mn-lt"/>
              </a:defRPr>
            </a:lvl1pPr>
          </a:lstStyle>
          <a:p>
            <a:fld id="{F0E8A31D-5678-4648-B6D3-6BBF27847C48}" type="slidenum">
              <a:rPr lang="en-US" altLang="en-US" smtClean="0">
                <a:solidFill>
                  <a:prstClr val="white"/>
                </a:solidFill>
              </a:rPr>
              <a:pPr/>
              <a:t>‹N°›</a:t>
            </a:fld>
            <a:r>
              <a:rPr lang="en-US" altLang="en-US">
                <a:solidFill>
                  <a:prstClr val="white"/>
                </a:solidFill>
              </a:rPr>
              <a:t>|</a:t>
            </a:r>
          </a:p>
        </p:txBody>
      </p:sp>
    </p:spTree>
    <p:extLst>
      <p:ext uri="{BB962C8B-B14F-4D97-AF65-F5344CB8AC3E}">
        <p14:creationId xmlns:p14="http://schemas.microsoft.com/office/powerpoint/2010/main" xmlns="" val="3717907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676400" y="1732762"/>
            <a:ext cx="21043392" cy="424732"/>
          </a:xfrm>
          <a:prstGeom prst="rect">
            <a:avLst/>
          </a:prstGeom>
        </p:spPr>
        <p:txBody>
          <a:bodyPr>
            <a:spAutoFit/>
          </a:bodyPr>
          <a:lstStyle>
            <a:lvl1pPr marL="0" indent="0" algn="ctr">
              <a:buNone/>
              <a:defRPr sz="24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sp>
        <p:nvSpPr>
          <p:cNvPr id="4" name="Date Placeholder 3"/>
          <p:cNvSpPr>
            <a:spLocks noGrp="1"/>
          </p:cNvSpPr>
          <p:nvPr>
            <p:ph type="dt" sz="half" idx="10"/>
          </p:nvPr>
        </p:nvSpPr>
        <p:spPr>
          <a:xfrm>
            <a:off x="15642858" y="12477632"/>
            <a:ext cx="5507492" cy="647936"/>
          </a:xfrm>
          <a:prstGeom prst="rect">
            <a:avLst/>
          </a:prstGeom>
        </p:spPr>
        <p:txBody>
          <a:bodyPr/>
          <a:lstStyle/>
          <a:p>
            <a:r>
              <a:rPr lang="en-US">
                <a:solidFill>
                  <a:prstClr val="black">
                    <a:tint val="75000"/>
                  </a:prstClr>
                </a:solidFill>
              </a:rPr>
              <a:t>PRESENTER NAME</a:t>
            </a:r>
          </a:p>
        </p:txBody>
      </p:sp>
      <p:sp>
        <p:nvSpPr>
          <p:cNvPr id="5" name="Footer Placeholder 4"/>
          <p:cNvSpPr>
            <a:spLocks noGrp="1"/>
          </p:cNvSpPr>
          <p:nvPr>
            <p:ph type="ftr" sz="quarter" idx="11"/>
          </p:nvPr>
        </p:nvSpPr>
        <p:spPr>
          <a:xfrm>
            <a:off x="3200401" y="12472416"/>
            <a:ext cx="11802378" cy="640080"/>
          </a:xfrm>
          <a:prstGeom prst="rect">
            <a:avLst/>
          </a:prstGeom>
        </p:spPr>
        <p:txBody>
          <a:bodyPr/>
          <a:lstStyle/>
          <a:p>
            <a:r>
              <a:rPr lang="en-US">
                <a:solidFill>
                  <a:prstClr val="black">
                    <a:tint val="75000"/>
                  </a:prstClr>
                </a:solidFill>
              </a:rPr>
              <a:t>COMPANY NAME</a:t>
            </a:r>
          </a:p>
        </p:txBody>
      </p:sp>
      <p:sp>
        <p:nvSpPr>
          <p:cNvPr id="6" name="Slide Number Placeholder 5"/>
          <p:cNvSpPr>
            <a:spLocks noGrp="1"/>
          </p:cNvSpPr>
          <p:nvPr>
            <p:ph type="sldNum" sz="quarter" idx="12"/>
          </p:nvPr>
        </p:nvSpPr>
        <p:spPr>
          <a:xfrm>
            <a:off x="21517844" y="12435840"/>
            <a:ext cx="731520" cy="731520"/>
          </a:xfrm>
          <a:prstGeom prst="ellipse">
            <a:avLst/>
          </a:prstGeom>
        </p:spPr>
        <p:txBody>
          <a:bodyPr/>
          <a:lstStyle/>
          <a:p>
            <a:fld id="{AACE8A1A-EF06-42BD-8183-7D22FECA910D}" type="slidenum">
              <a:rPr lang="en-US" smtClean="0">
                <a:solidFill>
                  <a:prstClr val="black">
                    <a:tint val="75000"/>
                  </a:prstClr>
                </a:solidFill>
              </a:rPr>
              <a:pPr/>
              <a:t>‹N°›</a:t>
            </a:fld>
            <a:r>
              <a:rPr lang="en-US" dirty="0">
                <a:solidFill>
                  <a:prstClr val="black">
                    <a:tint val="75000"/>
                  </a:prstClr>
                </a:solidFill>
              </a:rPr>
              <a:t>|</a:t>
            </a:r>
          </a:p>
        </p:txBody>
      </p:sp>
      <p:cxnSp>
        <p:nvCxnSpPr>
          <p:cNvPr id="10" name="Straight Connector 9"/>
          <p:cNvCxnSpPr/>
          <p:nvPr userDrawn="1">
            <p:custDataLst>
              <p:tags r:id="rId2"/>
            </p:custDataLst>
          </p:nvPr>
        </p:nvCxnSpPr>
        <p:spPr>
          <a:xfrm>
            <a:off x="9087559" y="2273658"/>
            <a:ext cx="620888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1676400" y="855599"/>
            <a:ext cx="21031200" cy="830997"/>
          </a:xfrm>
          <a:prstGeom prst="rect">
            <a:avLst/>
          </a:prstGeom>
        </p:spPr>
        <p:txBody>
          <a:bodyPr anchor="ctr">
            <a:spAutoFit/>
          </a:bodyPr>
          <a:lstStyle>
            <a:lvl1pPr algn="ctr">
              <a:lnSpc>
                <a:spcPct val="100000"/>
              </a:lnSpc>
              <a:defRPr sz="4800">
                <a:latin typeface="+mn-lt"/>
              </a:defRPr>
            </a:lvl1pPr>
          </a:lstStyle>
          <a:p>
            <a:r>
              <a:rPr lang="en-US" dirty="0"/>
              <a:t>CLICK TO EDIT MASTER TITLE STYLE</a:t>
            </a:r>
          </a:p>
        </p:txBody>
      </p:sp>
    </p:spTree>
    <p:custDataLst>
      <p:tags r:id="rId1"/>
    </p:custDataLst>
    <p:extLst>
      <p:ext uri="{BB962C8B-B14F-4D97-AF65-F5344CB8AC3E}">
        <p14:creationId xmlns:p14="http://schemas.microsoft.com/office/powerpoint/2010/main" xmlns="" val="513405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2" name="Rectangle 1"/>
          <p:cNvSpPr/>
          <p:nvPr userDrawn="1"/>
        </p:nvSpPr>
        <p:spPr>
          <a:xfrm>
            <a:off x="0" y="0"/>
            <a:ext cx="24384000"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hangingPunct="1"/>
            <a:endParaRPr lang="en-US" sz="3600">
              <a:solidFill>
                <a:prstClr val="white"/>
              </a:solidFill>
            </a:endParaRPr>
          </a:p>
        </p:txBody>
      </p:sp>
      <p:sp>
        <p:nvSpPr>
          <p:cNvPr id="3" name="Subtitle 2"/>
          <p:cNvSpPr>
            <a:spLocks noGrp="1"/>
          </p:cNvSpPr>
          <p:nvPr>
            <p:ph type="subTitle" idx="1"/>
          </p:nvPr>
        </p:nvSpPr>
        <p:spPr>
          <a:xfrm>
            <a:off x="1676400" y="1732762"/>
            <a:ext cx="21043392" cy="424732"/>
          </a:xfrm>
          <a:prstGeom prst="rect">
            <a:avLst/>
          </a:prstGeom>
        </p:spPr>
        <p:txBody>
          <a:bodyPr>
            <a:spAutoFit/>
          </a:bodyPr>
          <a:lstStyle>
            <a:lvl1pPr marL="0" indent="0" algn="ctr">
              <a:buNone/>
              <a:defRPr sz="2400">
                <a:solidFill>
                  <a:schemeClr val="bg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sp>
        <p:nvSpPr>
          <p:cNvPr id="4" name="Date Placeholder 3"/>
          <p:cNvSpPr>
            <a:spLocks noGrp="1"/>
          </p:cNvSpPr>
          <p:nvPr>
            <p:ph type="dt" sz="half" idx="10"/>
          </p:nvPr>
        </p:nvSpPr>
        <p:spPr>
          <a:xfrm>
            <a:off x="15642858" y="12477632"/>
            <a:ext cx="5507492" cy="647936"/>
          </a:xfrm>
          <a:prstGeom prst="rect">
            <a:avLst/>
          </a:prstGeom>
        </p:spPr>
        <p:txBody>
          <a:bodyPr/>
          <a:lstStyle/>
          <a:p>
            <a:r>
              <a:rPr lang="en-US">
                <a:solidFill>
                  <a:prstClr val="black">
                    <a:tint val="75000"/>
                  </a:prstClr>
                </a:solidFill>
              </a:rPr>
              <a:t>PRESENTER NAME</a:t>
            </a:r>
          </a:p>
        </p:txBody>
      </p:sp>
      <p:sp>
        <p:nvSpPr>
          <p:cNvPr id="5" name="Footer Placeholder 4"/>
          <p:cNvSpPr>
            <a:spLocks noGrp="1"/>
          </p:cNvSpPr>
          <p:nvPr>
            <p:ph type="ftr" sz="quarter" idx="11"/>
          </p:nvPr>
        </p:nvSpPr>
        <p:spPr>
          <a:xfrm>
            <a:off x="3200401" y="12472416"/>
            <a:ext cx="11802378" cy="640080"/>
          </a:xfrm>
          <a:prstGeom prst="rect">
            <a:avLst/>
          </a:prstGeom>
        </p:spPr>
        <p:txBody>
          <a:bodyPr/>
          <a:lstStyle/>
          <a:p>
            <a:r>
              <a:rPr lang="en-US">
                <a:solidFill>
                  <a:prstClr val="black">
                    <a:tint val="75000"/>
                  </a:prstClr>
                </a:solidFill>
              </a:rPr>
              <a:t>COMPANY NAME</a:t>
            </a:r>
          </a:p>
        </p:txBody>
      </p:sp>
      <p:sp>
        <p:nvSpPr>
          <p:cNvPr id="6" name="Slide Number Placeholder 5"/>
          <p:cNvSpPr>
            <a:spLocks noGrp="1"/>
          </p:cNvSpPr>
          <p:nvPr>
            <p:ph type="sldNum" sz="quarter" idx="12"/>
          </p:nvPr>
        </p:nvSpPr>
        <p:spPr>
          <a:xfrm>
            <a:off x="21517844" y="12435840"/>
            <a:ext cx="731520" cy="731520"/>
          </a:xfrm>
          <a:prstGeom prst="ellipse">
            <a:avLst/>
          </a:prstGeom>
        </p:spPr>
        <p:txBody>
          <a:bodyPr/>
          <a:lstStyle/>
          <a:p>
            <a:fld id="{AACE8A1A-EF06-42BD-8183-7D22FECA910D}" type="slidenum">
              <a:rPr lang="en-US" smtClean="0">
                <a:solidFill>
                  <a:prstClr val="black">
                    <a:tint val="75000"/>
                  </a:prstClr>
                </a:solidFill>
              </a:rPr>
              <a:pPr/>
              <a:t>‹N°›</a:t>
            </a:fld>
            <a:r>
              <a:rPr lang="en-US" dirty="0">
                <a:solidFill>
                  <a:prstClr val="black">
                    <a:tint val="75000"/>
                  </a:prstClr>
                </a:solidFill>
              </a:rPr>
              <a:t>|</a:t>
            </a:r>
          </a:p>
        </p:txBody>
      </p:sp>
      <p:cxnSp>
        <p:nvCxnSpPr>
          <p:cNvPr id="10" name="Straight Connector 9"/>
          <p:cNvCxnSpPr/>
          <p:nvPr userDrawn="1">
            <p:custDataLst>
              <p:tags r:id="rId2"/>
            </p:custDataLst>
          </p:nvPr>
        </p:nvCxnSpPr>
        <p:spPr>
          <a:xfrm>
            <a:off x="9087559" y="2273658"/>
            <a:ext cx="6208888"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1676400" y="855599"/>
            <a:ext cx="21031200" cy="830997"/>
          </a:xfrm>
          <a:prstGeom prst="rect">
            <a:avLst/>
          </a:prstGeom>
        </p:spPr>
        <p:txBody>
          <a:bodyPr anchor="ctr">
            <a:spAutoFit/>
          </a:bodyPr>
          <a:lstStyle>
            <a:lvl1pPr algn="ctr">
              <a:lnSpc>
                <a:spcPct val="100000"/>
              </a:lnSpc>
              <a:defRPr sz="4800">
                <a:solidFill>
                  <a:schemeClr val="bg1"/>
                </a:solidFill>
                <a:latin typeface="+mn-lt"/>
              </a:defRPr>
            </a:lvl1pPr>
          </a:lstStyle>
          <a:p>
            <a:r>
              <a:rPr lang="en-US" dirty="0"/>
              <a:t>CLICK TO EDIT MASTER TITLE STYLE</a:t>
            </a:r>
          </a:p>
        </p:txBody>
      </p:sp>
    </p:spTree>
    <p:custDataLst>
      <p:tags r:id="rId1"/>
    </p:custDataLst>
    <p:extLst>
      <p:ext uri="{BB962C8B-B14F-4D97-AF65-F5344CB8AC3E}">
        <p14:creationId xmlns:p14="http://schemas.microsoft.com/office/powerpoint/2010/main" xmlns="" val="18578374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80533" y="12712701"/>
            <a:ext cx="5689600" cy="730250"/>
          </a:xfrm>
          <a:prstGeom prst="rect">
            <a:avLst/>
          </a:prstGeom>
        </p:spPr>
        <p:txBody>
          <a:bodyPr/>
          <a:lstStyle/>
          <a:p>
            <a:fld id="{125C11E9-EA40-D54F-953A-82A4C72DAAAD}" type="slidenum">
              <a:rPr lang="en-US" smtClean="0">
                <a:solidFill>
                  <a:prstClr val="black">
                    <a:tint val="75000"/>
                  </a:prstClr>
                </a:solidFill>
              </a:rPr>
              <a:pPr/>
              <a:t>‹N°›</a:t>
            </a:fld>
            <a:r>
              <a:rPr lang="en-US">
                <a:solidFill>
                  <a:prstClr val="black">
                    <a:tint val="75000"/>
                  </a:prstClr>
                </a:solidFill>
              </a:rPr>
              <a:t> I</a:t>
            </a:r>
            <a:endParaRPr lang="en-US" dirty="0">
              <a:solidFill>
                <a:prstClr val="black">
                  <a:tint val="75000"/>
                </a:prstClr>
              </a:solidFill>
            </a:endParaRPr>
          </a:p>
        </p:txBody>
      </p:sp>
    </p:spTree>
    <p:extLst>
      <p:ext uri="{BB962C8B-B14F-4D97-AF65-F5344CB8AC3E}">
        <p14:creationId xmlns:p14="http://schemas.microsoft.com/office/powerpoint/2010/main" xmlns="" val="19960288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ustom bg 1">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AutoShape 5"/>
          <p:cNvSpPr>
            <a:spLocks/>
          </p:cNvSpPr>
          <p:nvPr/>
        </p:nvSpPr>
        <p:spPr bwMode="auto">
          <a:xfrm>
            <a:off x="0" y="10083800"/>
            <a:ext cx="24384000" cy="3632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9630481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Slide 2">
    <p:bg>
      <p:bgPr>
        <a:solidFill>
          <a:schemeClr val="tx1"/>
        </a:solidFill>
        <a:effectLst/>
      </p:bgPr>
    </p:bg>
    <p:spTree>
      <p:nvGrpSpPr>
        <p:cNvPr id="1" name=""/>
        <p:cNvGrpSpPr/>
        <p:nvPr/>
      </p:nvGrpSpPr>
      <p:grpSpPr>
        <a:xfrm>
          <a:off x="0" y="0"/>
          <a:ext cx="0" cy="0"/>
          <a:chOff x="0" y="0"/>
          <a:chExt cx="0" cy="0"/>
        </a:xfrm>
      </p:grpSpPr>
      <p:cxnSp>
        <p:nvCxnSpPr>
          <p:cNvPr id="5" name="Straight Connector 4"/>
          <p:cNvCxnSpPr/>
          <p:nvPr userDrawn="1">
            <p:custDataLst>
              <p:tags r:id="rId1"/>
            </p:custDataLst>
          </p:nvPr>
        </p:nvCxnSpPr>
        <p:spPr>
          <a:xfrm>
            <a:off x="8928101" y="2273300"/>
            <a:ext cx="621029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 name="Subtitle 2"/>
          <p:cNvSpPr>
            <a:spLocks noGrp="1"/>
          </p:cNvSpPr>
          <p:nvPr>
            <p:ph type="subTitle" idx="1"/>
          </p:nvPr>
        </p:nvSpPr>
        <p:spPr>
          <a:xfrm>
            <a:off x="1676400" y="1732762"/>
            <a:ext cx="21043392" cy="424732"/>
          </a:xfrm>
          <a:prstGeom prst="rect">
            <a:avLst/>
          </a:prstGeom>
        </p:spPr>
        <p:txBody>
          <a:bodyPr>
            <a:spAutoFit/>
          </a:bodyPr>
          <a:lstStyle>
            <a:lvl1pPr marL="0" indent="0" algn="ctr">
              <a:buNone/>
              <a:defRPr sz="2400">
                <a:solidFill>
                  <a:schemeClr val="bg1"/>
                </a:solidFill>
                <a:latin typeface="+mj-lt"/>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sp>
        <p:nvSpPr>
          <p:cNvPr id="11" name="Title 10"/>
          <p:cNvSpPr>
            <a:spLocks noGrp="1"/>
          </p:cNvSpPr>
          <p:nvPr>
            <p:ph type="title"/>
          </p:nvPr>
        </p:nvSpPr>
        <p:spPr>
          <a:xfrm>
            <a:off x="1676400" y="855599"/>
            <a:ext cx="21031200" cy="830997"/>
          </a:xfrm>
          <a:prstGeom prst="rect">
            <a:avLst/>
          </a:prstGeom>
        </p:spPr>
        <p:txBody>
          <a:bodyPr anchor="ctr">
            <a:spAutoFit/>
          </a:bodyPr>
          <a:lstStyle>
            <a:lvl1pPr algn="ctr">
              <a:lnSpc>
                <a:spcPct val="100000"/>
              </a:lnSpc>
              <a:defRPr sz="4800" cap="all" baseline="0">
                <a:solidFill>
                  <a:schemeClr val="bg1"/>
                </a:solidFill>
              </a:defRPr>
            </a:lvl1pPr>
          </a:lstStyle>
          <a:p>
            <a:r>
              <a:rPr lang="en-US" dirty="0"/>
              <a:t>Click to edit Master title style</a:t>
            </a:r>
          </a:p>
        </p:txBody>
      </p:sp>
      <p:sp>
        <p:nvSpPr>
          <p:cNvPr id="6" name="Date Placeholder 3"/>
          <p:cNvSpPr>
            <a:spLocks noGrp="1"/>
          </p:cNvSpPr>
          <p:nvPr>
            <p:ph type="dt" sz="half" idx="10"/>
          </p:nvPr>
        </p:nvSpPr>
        <p:spPr>
          <a:xfrm>
            <a:off x="15642858" y="12477632"/>
            <a:ext cx="5507492" cy="647936"/>
          </a:xfrm>
          <a:prstGeom prst="rect">
            <a:avLst/>
          </a:prstGeom>
        </p:spPr>
        <p:txBody>
          <a:bodyPr/>
          <a:lstStyle>
            <a:lvl1pPr>
              <a:defRPr dirty="0">
                <a:solidFill>
                  <a:schemeClr val="bg1"/>
                </a:solidFill>
                <a:latin typeface="+mn-lt"/>
              </a:defRPr>
            </a:lvl1pPr>
          </a:lstStyle>
          <a:p>
            <a:pPr>
              <a:defRPr/>
            </a:pPr>
            <a:r>
              <a:rPr lang="en-US">
                <a:solidFill>
                  <a:prstClr val="white"/>
                </a:solidFill>
              </a:rPr>
              <a:t>PRESENTER NAME</a:t>
            </a:r>
          </a:p>
        </p:txBody>
      </p:sp>
      <p:sp>
        <p:nvSpPr>
          <p:cNvPr id="7" name="Footer Placeholder 4"/>
          <p:cNvSpPr>
            <a:spLocks noGrp="1"/>
          </p:cNvSpPr>
          <p:nvPr>
            <p:ph type="ftr" sz="quarter" idx="11"/>
          </p:nvPr>
        </p:nvSpPr>
        <p:spPr>
          <a:xfrm>
            <a:off x="3200401" y="12472416"/>
            <a:ext cx="11802378" cy="640080"/>
          </a:xfrm>
          <a:prstGeom prst="rect">
            <a:avLst/>
          </a:prstGeom>
        </p:spPr>
        <p:txBody>
          <a:bodyPr/>
          <a:lstStyle>
            <a:lvl1pPr>
              <a:defRPr dirty="0">
                <a:solidFill>
                  <a:schemeClr val="bg1"/>
                </a:solidFill>
                <a:latin typeface="+mn-lt"/>
              </a:defRPr>
            </a:lvl1pPr>
          </a:lstStyle>
          <a:p>
            <a:pPr>
              <a:defRPr/>
            </a:pPr>
            <a:r>
              <a:rPr lang="en-US">
                <a:solidFill>
                  <a:prstClr val="white"/>
                </a:solidFill>
              </a:rPr>
              <a:t>COMPANY NAME</a:t>
            </a:r>
          </a:p>
        </p:txBody>
      </p:sp>
      <p:sp>
        <p:nvSpPr>
          <p:cNvPr id="8" name="Slide Number Placeholder 5"/>
          <p:cNvSpPr>
            <a:spLocks noGrp="1"/>
          </p:cNvSpPr>
          <p:nvPr>
            <p:ph type="sldNum" sz="quarter" idx="12"/>
          </p:nvPr>
        </p:nvSpPr>
        <p:spPr>
          <a:xfrm>
            <a:off x="21517844" y="12435840"/>
            <a:ext cx="731520" cy="731520"/>
          </a:xfrm>
          <a:prstGeom prst="ellipse">
            <a:avLst/>
          </a:prstGeom>
        </p:spPr>
        <p:txBody>
          <a:bodyPr/>
          <a:lstStyle>
            <a:lvl1pPr>
              <a:defRPr>
                <a:solidFill>
                  <a:schemeClr val="bg1"/>
                </a:solidFill>
                <a:latin typeface="+mn-lt"/>
              </a:defRPr>
            </a:lvl1pPr>
          </a:lstStyle>
          <a:p>
            <a:fld id="{F0E8A31D-5678-4648-B6D3-6BBF27847C48}" type="slidenum">
              <a:rPr lang="en-US" altLang="en-US" smtClean="0">
                <a:solidFill>
                  <a:prstClr val="white"/>
                </a:solidFill>
              </a:rPr>
              <a:pPr/>
              <a:t>‹N°›</a:t>
            </a:fld>
            <a:r>
              <a:rPr lang="en-US" altLang="en-US">
                <a:solidFill>
                  <a:prstClr val="white"/>
                </a:solidFill>
              </a:rPr>
              <a:t>|</a:t>
            </a:r>
          </a:p>
        </p:txBody>
      </p:sp>
    </p:spTree>
    <p:extLst>
      <p:ext uri="{BB962C8B-B14F-4D97-AF65-F5344CB8AC3E}">
        <p14:creationId xmlns:p14="http://schemas.microsoft.com/office/powerpoint/2010/main" xmlns="" val="6413221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831088" y="1524000"/>
            <a:ext cx="11379200" cy="609600"/>
          </a:xfrm>
          <a:prstGeom prst="rect">
            <a:avLst/>
          </a:prstGeom>
        </p:spPr>
        <p:txBody>
          <a:bodyPr anchor="ctr"/>
          <a:lstStyle>
            <a:lvl1pPr marL="0" indent="0" algn="l">
              <a:buNone/>
              <a:defRPr sz="3200" baseline="0">
                <a:solidFill>
                  <a:srgbClr val="595959"/>
                </a:solidFill>
                <a:latin typeface="Calibri Light" panose="020F0302020204030204" pitchFamily="34" charset="0"/>
              </a:defRPr>
            </a:lvl1pPr>
          </a:lstStyle>
          <a:p>
            <a:pPr lvl="0"/>
            <a:r>
              <a:rPr lang="en-US" dirty="0"/>
              <a:t>THIS IS EXAMPLE TEXT</a:t>
            </a:r>
          </a:p>
        </p:txBody>
      </p:sp>
      <p:sp>
        <p:nvSpPr>
          <p:cNvPr id="13" name="Text Placeholder 12"/>
          <p:cNvSpPr>
            <a:spLocks noGrp="1"/>
          </p:cNvSpPr>
          <p:nvPr>
            <p:ph type="body" sz="quarter" idx="14" hasCustomPrompt="1"/>
          </p:nvPr>
        </p:nvSpPr>
        <p:spPr>
          <a:xfrm>
            <a:off x="831088" y="549276"/>
            <a:ext cx="17456912" cy="974724"/>
          </a:xfrm>
          <a:prstGeom prst="rect">
            <a:avLst/>
          </a:prstGeom>
        </p:spPr>
        <p:txBody>
          <a:bodyPr anchor="ctr"/>
          <a:lstStyle>
            <a:lvl1pPr marL="0" indent="0" algn="l">
              <a:buNone/>
              <a:defRPr sz="6400">
                <a:solidFill>
                  <a:srgbClr val="595959"/>
                </a:solidFill>
                <a:latin typeface="Calibri Light" panose="020F0302020204030204" pitchFamily="34" charset="0"/>
              </a:defRPr>
            </a:lvl1pPr>
          </a:lstStyle>
          <a:p>
            <a:pPr lvl="0"/>
            <a:r>
              <a:rPr lang="en-US" dirty="0"/>
              <a:t>CLICK TO EDIT MASTER TITLE STYLE</a:t>
            </a:r>
          </a:p>
        </p:txBody>
      </p:sp>
      <p:sp>
        <p:nvSpPr>
          <p:cNvPr id="3" name="Date Placeholder 2"/>
          <p:cNvSpPr>
            <a:spLocks noGrp="1"/>
          </p:cNvSpPr>
          <p:nvPr>
            <p:ph type="dt" sz="half" idx="15"/>
          </p:nvPr>
        </p:nvSpPr>
        <p:spPr>
          <a:xfrm>
            <a:off x="15642858" y="12477632"/>
            <a:ext cx="5507492" cy="647936"/>
          </a:xfrm>
          <a:prstGeom prst="rect">
            <a:avLst/>
          </a:prstGeom>
        </p:spPr>
        <p:txBody>
          <a:bodyPr/>
          <a:lstStyle/>
          <a:p>
            <a:r>
              <a:rPr lang="en-US">
                <a:solidFill>
                  <a:srgbClr val="000000">
                    <a:tint val="75000"/>
                  </a:srgbClr>
                </a:solidFill>
              </a:rPr>
              <a:t>www.domainname.com</a:t>
            </a:r>
          </a:p>
        </p:txBody>
      </p:sp>
      <p:sp>
        <p:nvSpPr>
          <p:cNvPr id="4" name="Footer Placeholder 3"/>
          <p:cNvSpPr>
            <a:spLocks noGrp="1"/>
          </p:cNvSpPr>
          <p:nvPr>
            <p:ph type="ftr" sz="quarter" idx="16"/>
          </p:nvPr>
        </p:nvSpPr>
        <p:spPr>
          <a:xfrm>
            <a:off x="3200401" y="12472416"/>
            <a:ext cx="11802378" cy="640080"/>
          </a:xfrm>
          <a:prstGeom prst="rect">
            <a:avLst/>
          </a:prstGeom>
        </p:spPr>
        <p:txBody>
          <a:bodyPr/>
          <a:lstStyle/>
          <a:p>
            <a:r>
              <a:rPr lang="en-US">
                <a:solidFill>
                  <a:srgbClr val="000000">
                    <a:tint val="75000"/>
                  </a:srgbClr>
                </a:solidFill>
              </a:rPr>
              <a:t>Logo Company</a:t>
            </a:r>
            <a:endParaRPr lang="en-US" dirty="0">
              <a:solidFill>
                <a:srgbClr val="000000">
                  <a:tint val="75000"/>
                </a:srgbClr>
              </a:solidFill>
            </a:endParaRPr>
          </a:p>
        </p:txBody>
      </p:sp>
      <p:sp>
        <p:nvSpPr>
          <p:cNvPr id="7" name="Slide Number Placeholder 6"/>
          <p:cNvSpPr>
            <a:spLocks noGrp="1"/>
          </p:cNvSpPr>
          <p:nvPr>
            <p:ph type="sldNum" sz="quarter" idx="17"/>
          </p:nvPr>
        </p:nvSpPr>
        <p:spPr>
          <a:xfrm>
            <a:off x="21517844" y="12435840"/>
            <a:ext cx="731520" cy="731520"/>
          </a:xfrm>
          <a:prstGeom prst="ellipse">
            <a:avLst/>
          </a:prstGeom>
        </p:spPr>
        <p:txBody>
          <a:bodyPr/>
          <a:lstStyle/>
          <a:p>
            <a:fld id="{3101D46F-57A9-43DB-8B55-C38BE2226748}"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xmlns="" val="17083840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24384000" cy="137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fontAlgn="auto" hangingPunct="1">
              <a:spcBef>
                <a:spcPts val="0"/>
              </a:spcBef>
              <a:spcAft>
                <a:spcPts val="0"/>
              </a:spcAft>
            </a:pPr>
            <a:endParaRPr lang="en-US" sz="3600">
              <a:solidFill>
                <a:prstClr val="white"/>
              </a:solidFill>
            </a:endParaRPr>
          </a:p>
        </p:txBody>
      </p:sp>
      <p:sp>
        <p:nvSpPr>
          <p:cNvPr id="3" name="Subtitle 2"/>
          <p:cNvSpPr>
            <a:spLocks noGrp="1"/>
          </p:cNvSpPr>
          <p:nvPr>
            <p:ph type="subTitle" idx="1"/>
          </p:nvPr>
        </p:nvSpPr>
        <p:spPr>
          <a:xfrm>
            <a:off x="1676400" y="1732762"/>
            <a:ext cx="21043392" cy="424732"/>
          </a:xfrm>
          <a:prstGeom prst="rect">
            <a:avLst/>
          </a:prstGeom>
        </p:spPr>
        <p:txBody>
          <a:bodyPr>
            <a:spAutoFit/>
          </a:bodyPr>
          <a:lstStyle>
            <a:lvl1pPr marL="0" indent="0" algn="ctr">
              <a:buNone/>
              <a:defRPr sz="2400">
                <a:solidFill>
                  <a:schemeClr val="bg1"/>
                </a:solidFill>
                <a:latin typeface="Calibri" panose="020F0502020204030204" pitchFamily="34" charset="0"/>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edit Master subtitle style</a:t>
            </a:r>
          </a:p>
        </p:txBody>
      </p:sp>
      <p:sp>
        <p:nvSpPr>
          <p:cNvPr id="4" name="Date Placeholder 3"/>
          <p:cNvSpPr>
            <a:spLocks noGrp="1"/>
          </p:cNvSpPr>
          <p:nvPr>
            <p:ph type="dt" sz="half" idx="10"/>
          </p:nvPr>
        </p:nvSpPr>
        <p:spPr>
          <a:xfrm>
            <a:off x="15642858" y="12477632"/>
            <a:ext cx="5507492" cy="647936"/>
          </a:xfrm>
          <a:prstGeom prst="rect">
            <a:avLst/>
          </a:prstGeom>
        </p:spPr>
        <p:txBody>
          <a:bodyPr/>
          <a:lstStyle/>
          <a:p>
            <a:r>
              <a:rPr lang="en-US">
                <a:solidFill>
                  <a:prstClr val="black">
                    <a:tint val="75000"/>
                  </a:prstClr>
                </a:solidFill>
              </a:rPr>
              <a:t>PRESENTER NAME</a:t>
            </a:r>
          </a:p>
        </p:txBody>
      </p:sp>
      <p:sp>
        <p:nvSpPr>
          <p:cNvPr id="5" name="Footer Placeholder 4"/>
          <p:cNvSpPr>
            <a:spLocks noGrp="1"/>
          </p:cNvSpPr>
          <p:nvPr>
            <p:ph type="ftr" sz="quarter" idx="11"/>
          </p:nvPr>
        </p:nvSpPr>
        <p:spPr>
          <a:xfrm>
            <a:off x="3200401" y="12472416"/>
            <a:ext cx="11802378" cy="640080"/>
          </a:xfrm>
          <a:prstGeom prst="rect">
            <a:avLst/>
          </a:prstGeom>
        </p:spPr>
        <p:txBody>
          <a:bodyPr/>
          <a:lstStyle/>
          <a:p>
            <a:r>
              <a:rPr lang="en-US">
                <a:solidFill>
                  <a:prstClr val="black">
                    <a:tint val="75000"/>
                  </a:prstClr>
                </a:solidFill>
              </a:rPr>
              <a:t>COMPANY NAME</a:t>
            </a:r>
          </a:p>
        </p:txBody>
      </p:sp>
      <p:sp>
        <p:nvSpPr>
          <p:cNvPr id="6" name="Slide Number Placeholder 5"/>
          <p:cNvSpPr>
            <a:spLocks noGrp="1"/>
          </p:cNvSpPr>
          <p:nvPr>
            <p:ph type="sldNum" sz="quarter" idx="12"/>
          </p:nvPr>
        </p:nvSpPr>
        <p:spPr>
          <a:xfrm>
            <a:off x="21517844" y="12435840"/>
            <a:ext cx="731520" cy="731520"/>
          </a:xfrm>
          <a:prstGeom prst="ellipse">
            <a:avLst/>
          </a:prstGeom>
        </p:spPr>
        <p:txBody>
          <a:bodyPr/>
          <a:lstStyle/>
          <a:p>
            <a:fld id="{AACE8A1A-EF06-42BD-8183-7D22FECA910D}" type="slidenum">
              <a:rPr lang="en-US" smtClean="0">
                <a:solidFill>
                  <a:prstClr val="black">
                    <a:tint val="75000"/>
                  </a:prstClr>
                </a:solidFill>
              </a:rPr>
              <a:pPr/>
              <a:t>‹N°›</a:t>
            </a:fld>
            <a:r>
              <a:rPr lang="en-US" dirty="0">
                <a:solidFill>
                  <a:prstClr val="black">
                    <a:tint val="75000"/>
                  </a:prstClr>
                </a:solidFill>
              </a:rPr>
              <a:t>|</a:t>
            </a:r>
          </a:p>
        </p:txBody>
      </p:sp>
      <p:cxnSp>
        <p:nvCxnSpPr>
          <p:cNvPr id="10" name="Straight Connector 9"/>
          <p:cNvCxnSpPr/>
          <p:nvPr userDrawn="1">
            <p:custDataLst>
              <p:tags r:id="rId1"/>
            </p:custDataLst>
          </p:nvPr>
        </p:nvCxnSpPr>
        <p:spPr>
          <a:xfrm>
            <a:off x="8929513" y="2273658"/>
            <a:ext cx="6208888"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1676400" y="855599"/>
            <a:ext cx="21031200" cy="830997"/>
          </a:xfrm>
          <a:prstGeom prst="rect">
            <a:avLst/>
          </a:prstGeom>
        </p:spPr>
        <p:txBody>
          <a:bodyPr anchor="ctr">
            <a:spAutoFit/>
          </a:bodyPr>
          <a:lstStyle>
            <a:lvl1pPr algn="ctr">
              <a:lnSpc>
                <a:spcPct val="100000"/>
              </a:lnSpc>
              <a:defRPr sz="4800">
                <a:solidFill>
                  <a:schemeClr val="bg1"/>
                </a:solidFill>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xmlns="" val="3419259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cSld name="3_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17682726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4_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9102726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5_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7495888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Mac Preview">
    <p:spTree>
      <p:nvGrpSpPr>
        <p:cNvPr id="1" name=""/>
        <p:cNvGrpSpPr/>
        <p:nvPr/>
      </p:nvGrpSpPr>
      <p:grpSpPr>
        <a:xfrm>
          <a:off x="0" y="0"/>
          <a:ext cx="0" cy="0"/>
          <a:chOff x="0" y="0"/>
          <a:chExt cx="0" cy="0"/>
        </a:xfrm>
      </p:grpSpPr>
      <p:grpSp>
        <p:nvGrpSpPr>
          <p:cNvPr id="34" name="Group 33"/>
          <p:cNvGrpSpPr/>
          <p:nvPr userDrawn="1"/>
        </p:nvGrpSpPr>
        <p:grpSpPr>
          <a:xfrm>
            <a:off x="1442306" y="-3834"/>
            <a:ext cx="23221093" cy="13803971"/>
            <a:chOff x="4630060" y="-3834"/>
            <a:chExt cx="16424861" cy="13803971"/>
          </a:xfrm>
        </p:grpSpPr>
        <p:sp>
          <p:nvSpPr>
            <p:cNvPr id="6" name="AutoShape 1"/>
            <p:cNvSpPr>
              <a:spLocks/>
            </p:cNvSpPr>
            <p:nvPr userDrawn="1"/>
          </p:nvSpPr>
          <p:spPr bwMode="auto">
            <a:xfrm>
              <a:off x="8724900" y="-3834"/>
              <a:ext cx="12330021" cy="13803971"/>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 name="connsiteX0" fmla="*/ 11798 w 21600"/>
                <a:gd name="connsiteY0" fmla="*/ 0 h 21606"/>
                <a:gd name="connsiteX1" fmla="*/ 21530 w 21600"/>
                <a:gd name="connsiteY1" fmla="*/ 6 h 21606"/>
                <a:gd name="connsiteX2" fmla="*/ 21600 w 21600"/>
                <a:gd name="connsiteY2" fmla="*/ 21606 h 21606"/>
                <a:gd name="connsiteX3" fmla="*/ 0 w 21600"/>
                <a:gd name="connsiteY3" fmla="*/ 21553 h 21606"/>
                <a:gd name="connsiteX4" fmla="*/ 11798 w 21600"/>
                <a:gd name="connsiteY4" fmla="*/ 0 h 21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606">
                  <a:moveTo>
                    <a:pt x="11798" y="0"/>
                  </a:moveTo>
                  <a:lnTo>
                    <a:pt x="21530" y="6"/>
                  </a:lnTo>
                  <a:cubicBezTo>
                    <a:pt x="21553" y="7206"/>
                    <a:pt x="21577" y="14406"/>
                    <a:pt x="21600" y="21606"/>
                  </a:cubicBezTo>
                  <a:lnTo>
                    <a:pt x="0" y="21553"/>
                  </a:lnTo>
                  <a:lnTo>
                    <a:pt x="11798" y="0"/>
                  </a:lnTo>
                  <a:close/>
                </a:path>
              </a:pathLst>
            </a:custGeom>
            <a:solidFill>
              <a:schemeClr val="tx1">
                <a:lumMod val="75000"/>
                <a:alpha val="9000"/>
              </a:schemeClr>
            </a:solidFill>
            <a:ln>
              <a:noFill/>
            </a:ln>
            <a:effectLst/>
            <a:extLst/>
          </p:spPr>
          <p:txBody>
            <a:bodyPr wrap="square" lIns="38100" tIns="38100" rIns="38100" bIns="38100" anchor="ctr">
              <a:noAutofit/>
            </a:bodyPr>
            <a:lstStyle/>
            <a:p>
              <a:pPr lvl="0" defTabSz="457200"/>
              <a:endParaRPr lang="en-US" sz="3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pic>
          <p:nvPicPr>
            <p:cNvPr id="4" name="Picture 6" descr="droppedImage.pdf"/>
            <p:cNvPicPr>
              <a:picLocks noChangeAspect="1"/>
            </p:cNvPicPr>
            <p:nvPr userDrawn="1"/>
          </p:nvPicPr>
          <p:blipFill rotWithShape="1">
            <a:blip r:embed="rId2">
              <a:extLst>
                <a:ext uri="{28A0092B-C50C-407E-A947-70E740481C1C}">
                  <a14:useLocalDpi xmlns:a14="http://schemas.microsoft.com/office/drawing/2010/main" xmlns="" val="0"/>
                </a:ext>
              </a:extLst>
            </a:blip>
            <a:srcRect l="66906"/>
            <a:stretch/>
          </p:blipFill>
          <p:spPr bwMode="auto">
            <a:xfrm>
              <a:off x="16334550" y="902367"/>
              <a:ext cx="3399655" cy="339023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nvGrpSpPr>
            <p:cNvPr id="30" name="Group 29"/>
            <p:cNvGrpSpPr/>
            <p:nvPr userDrawn="1"/>
          </p:nvGrpSpPr>
          <p:grpSpPr>
            <a:xfrm>
              <a:off x="4630060" y="9755187"/>
              <a:ext cx="13092022" cy="2290529"/>
              <a:chOff x="1344613" y="4179316"/>
              <a:chExt cx="21704300" cy="3797300"/>
            </a:xfrm>
          </p:grpSpPr>
          <p:grpSp>
            <p:nvGrpSpPr>
              <p:cNvPr id="7" name="Group 6"/>
              <p:cNvGrpSpPr/>
              <p:nvPr userDrawn="1"/>
            </p:nvGrpSpPr>
            <p:grpSpPr>
              <a:xfrm>
                <a:off x="1344613" y="4179316"/>
                <a:ext cx="3797300" cy="3797300"/>
                <a:chOff x="1774599" y="9001126"/>
                <a:chExt cx="3797300" cy="3797300"/>
              </a:xfrm>
            </p:grpSpPr>
            <p:sp>
              <p:nvSpPr>
                <p:cNvPr id="8" name="AutoShape 11"/>
                <p:cNvSpPr>
                  <a:spLocks/>
                </p:cNvSpPr>
                <p:nvPr userDrawn="1"/>
              </p:nvSpPr>
              <p:spPr bwMode="auto">
                <a:xfrm>
                  <a:off x="1774599" y="9001126"/>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9" name="Freeform 8"/>
                <p:cNvSpPr>
                  <a:spLocks/>
                </p:cNvSpPr>
                <p:nvPr userDrawn="1"/>
              </p:nvSpPr>
              <p:spPr bwMode="auto">
                <a:xfrm>
                  <a:off x="3271612" y="10027801"/>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tx2">
                    <a:lumMod val="75000"/>
                    <a:alpha val="50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10" name="AutoShape 13"/>
                <p:cNvSpPr>
                  <a:spLocks/>
                </p:cNvSpPr>
                <p:nvPr userDrawn="1"/>
              </p:nvSpPr>
              <p:spPr bwMode="auto">
                <a:xfrm>
                  <a:off x="2350861" y="9558338"/>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nvGrpSpPr>
              <p:cNvPr id="11" name="Group 10"/>
              <p:cNvGrpSpPr/>
              <p:nvPr userDrawn="1"/>
            </p:nvGrpSpPr>
            <p:grpSpPr>
              <a:xfrm>
                <a:off x="7313613" y="4179316"/>
                <a:ext cx="3797300" cy="3797300"/>
                <a:chOff x="7448608" y="8868229"/>
                <a:chExt cx="3797300" cy="3797300"/>
              </a:xfrm>
            </p:grpSpPr>
            <p:sp>
              <p:nvSpPr>
                <p:cNvPr id="12" name="AutoShape 11"/>
                <p:cNvSpPr>
                  <a:spLocks/>
                </p:cNvSpPr>
                <p:nvPr userDrawn="1"/>
              </p:nvSpPr>
              <p:spPr bwMode="auto">
                <a:xfrm>
                  <a:off x="7448608" y="8868229"/>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13" name="Freeform 12"/>
                <p:cNvSpPr>
                  <a:spLocks/>
                </p:cNvSpPr>
                <p:nvPr userDrawn="1"/>
              </p:nvSpPr>
              <p:spPr bwMode="auto">
                <a:xfrm>
                  <a:off x="8945621" y="9894904"/>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6">
                    <a:lumMod val="75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14" name="AutoShape 13"/>
                <p:cNvSpPr>
                  <a:spLocks/>
                </p:cNvSpPr>
                <p:nvPr userDrawn="1"/>
              </p:nvSpPr>
              <p:spPr bwMode="auto">
                <a:xfrm>
                  <a:off x="8024870" y="9425441"/>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6"/>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nvGrpSpPr>
              <p:cNvPr id="15" name="Group 14"/>
              <p:cNvGrpSpPr/>
              <p:nvPr userDrawn="1"/>
            </p:nvGrpSpPr>
            <p:grpSpPr>
              <a:xfrm>
                <a:off x="13282613" y="4179316"/>
                <a:ext cx="3797300" cy="3797300"/>
                <a:chOff x="12986999" y="8868229"/>
                <a:chExt cx="3797300" cy="3797300"/>
              </a:xfrm>
            </p:grpSpPr>
            <p:sp>
              <p:nvSpPr>
                <p:cNvPr id="16" name="AutoShape 11"/>
                <p:cNvSpPr>
                  <a:spLocks/>
                </p:cNvSpPr>
                <p:nvPr userDrawn="1"/>
              </p:nvSpPr>
              <p:spPr bwMode="auto">
                <a:xfrm>
                  <a:off x="12986999" y="8868229"/>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17" name="Freeform 16"/>
                <p:cNvSpPr>
                  <a:spLocks/>
                </p:cNvSpPr>
                <p:nvPr userDrawn="1"/>
              </p:nvSpPr>
              <p:spPr bwMode="auto">
                <a:xfrm>
                  <a:off x="14484012" y="9894904"/>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3">
                    <a:lumMod val="75000"/>
                    <a:alpha val="50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18" name="AutoShape 13"/>
                <p:cNvSpPr>
                  <a:spLocks/>
                </p:cNvSpPr>
                <p:nvPr userDrawn="1"/>
              </p:nvSpPr>
              <p:spPr bwMode="auto">
                <a:xfrm>
                  <a:off x="13563261" y="9425441"/>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4"/>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nvGrpSpPr>
              <p:cNvPr id="19" name="Group 18"/>
              <p:cNvGrpSpPr/>
              <p:nvPr userDrawn="1"/>
            </p:nvGrpSpPr>
            <p:grpSpPr>
              <a:xfrm>
                <a:off x="19251613" y="4179316"/>
                <a:ext cx="3797300" cy="3797300"/>
                <a:chOff x="18828205" y="9201735"/>
                <a:chExt cx="3797300" cy="3797300"/>
              </a:xfrm>
            </p:grpSpPr>
            <p:sp>
              <p:nvSpPr>
                <p:cNvPr id="20" name="AutoShape 11"/>
                <p:cNvSpPr>
                  <a:spLocks/>
                </p:cNvSpPr>
                <p:nvPr userDrawn="1"/>
              </p:nvSpPr>
              <p:spPr bwMode="auto">
                <a:xfrm>
                  <a:off x="18828205" y="9201735"/>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21" name="Freeform 20"/>
                <p:cNvSpPr>
                  <a:spLocks/>
                </p:cNvSpPr>
                <p:nvPr userDrawn="1"/>
              </p:nvSpPr>
              <p:spPr bwMode="auto">
                <a:xfrm>
                  <a:off x="20325218" y="10228410"/>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2">
                    <a:lumMod val="75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22" name="AutoShape 13"/>
                <p:cNvSpPr>
                  <a:spLocks/>
                </p:cNvSpPr>
                <p:nvPr userDrawn="1"/>
              </p:nvSpPr>
              <p:spPr bwMode="auto">
                <a:xfrm>
                  <a:off x="19404467" y="9758947"/>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grpSp>
      <p:pic>
        <p:nvPicPr>
          <p:cNvPr id="23" name="Picture 22"/>
          <p:cNvPicPr>
            <a:picLocks noChangeAspect="1"/>
          </p:cNvPicPr>
          <p:nvPr userDrawn="1"/>
        </p:nvPicPr>
        <p:blipFill>
          <a:blip r:embed="rId3"/>
          <a:stretch>
            <a:fillRect/>
          </a:stretch>
        </p:blipFill>
        <p:spPr>
          <a:xfrm>
            <a:off x="1082291" y="2254039"/>
            <a:ext cx="10050505" cy="4279074"/>
          </a:xfrm>
          <a:prstGeom prst="rect">
            <a:avLst/>
          </a:prstGeom>
        </p:spPr>
      </p:pic>
    </p:spTree>
    <p:extLst>
      <p:ext uri="{BB962C8B-B14F-4D97-AF65-F5344CB8AC3E}">
        <p14:creationId xmlns:p14="http://schemas.microsoft.com/office/powerpoint/2010/main" xmlns="" val="24266435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650443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7134464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custom bg 1">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AutoShape 5"/>
          <p:cNvSpPr>
            <a:spLocks/>
          </p:cNvSpPr>
          <p:nvPr/>
        </p:nvSpPr>
        <p:spPr bwMode="auto">
          <a:xfrm>
            <a:off x="0" y="10083800"/>
            <a:ext cx="24384000" cy="3632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3722038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ustom bg 2">
    <p:spTree>
      <p:nvGrpSpPr>
        <p:cNvPr id="1" name=""/>
        <p:cNvGrpSpPr/>
        <p:nvPr/>
      </p:nvGrpSpPr>
      <p:grpSpPr>
        <a:xfrm>
          <a:off x="0" y="0"/>
          <a:ext cx="0" cy="0"/>
          <a:chOff x="0" y="0"/>
          <a:chExt cx="0" cy="0"/>
        </a:xfrm>
      </p:grpSpPr>
      <p:sp>
        <p:nvSpPr>
          <p:cNvPr id="5" name="AutoShape 5"/>
          <p:cNvSpPr>
            <a:spLocks/>
          </p:cNvSpPr>
          <p:nvPr/>
        </p:nvSpPr>
        <p:spPr bwMode="auto">
          <a:xfrm>
            <a:off x="-76200" y="10083800"/>
            <a:ext cx="24549100" cy="37846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6" name="Symbol zastępczy tekstu 3"/>
          <p:cNvSpPr>
            <a:spLocks noGrp="1"/>
          </p:cNvSpPr>
          <p:nvPr>
            <p:ph type="body" sz="quarter" idx="10" hasCustomPrompt="1"/>
          </p:nvPr>
        </p:nvSpPr>
        <p:spPr>
          <a:xfrm>
            <a:off x="6257951" y="12086077"/>
            <a:ext cx="11880798" cy="1080368"/>
          </a:xfrm>
          <a:prstGeom prst="rect">
            <a:avLst/>
          </a:prstGeom>
        </p:spPr>
        <p:txBody>
          <a:bodyPr>
            <a:noAutofit/>
          </a:bodyPr>
          <a:lstStyle>
            <a:lvl1pPr algn="ctr">
              <a:defRPr sz="4400" b="1" baseline="0">
                <a:solidFill>
                  <a:schemeClr val="tx1"/>
                </a:solidFill>
                <a:latin typeface="Aleo" panose="020F0502020204030203" pitchFamily="34" charset="0"/>
              </a:defRPr>
            </a:lvl1pPr>
            <a:lvl2pPr algn="ctr">
              <a:defRPr/>
            </a:lvl2pPr>
            <a:lvl3pPr algn="ctr">
              <a:defRPr/>
            </a:lvl3pPr>
            <a:lvl4pPr algn="ctr">
              <a:defRPr/>
            </a:lvl4pPr>
            <a:lvl5pPr algn="ctr">
              <a:defRPr/>
            </a:lvl5pPr>
          </a:lstStyle>
          <a:p>
            <a:pPr lvl="0"/>
            <a:r>
              <a:rPr lang="en-US" dirty="0"/>
              <a:t>Click here to add your own subtitle</a:t>
            </a:r>
            <a:endParaRPr lang="pl-PL" dirty="0"/>
          </a:p>
        </p:txBody>
      </p:sp>
      <p:sp>
        <p:nvSpPr>
          <p:cNvPr id="9" name="Tytuł 8"/>
          <p:cNvSpPr>
            <a:spLocks noGrp="1"/>
          </p:cNvSpPr>
          <p:nvPr>
            <p:ph type="title" hasCustomPrompt="1"/>
          </p:nvPr>
        </p:nvSpPr>
        <p:spPr>
          <a:xfrm>
            <a:off x="8751734" y="10475390"/>
            <a:ext cx="6893234" cy="1508105"/>
          </a:xfrm>
          <a:prstGeom prst="rect">
            <a:avLst/>
          </a:prstGeom>
        </p:spPr>
        <p:txBody>
          <a:bodyPr wrap="none">
            <a:spAutoFit/>
          </a:bodyPr>
          <a:lstStyle>
            <a:lvl1pPr algn="ctr">
              <a:defRPr baseline="0">
                <a:solidFill>
                  <a:schemeClr val="tx1"/>
                </a:solidFill>
              </a:defRPr>
            </a:lvl1pPr>
          </a:lstStyle>
          <a:p>
            <a:r>
              <a:rPr lang="en-US" dirty="0"/>
              <a:t>Sample Title</a:t>
            </a:r>
          </a:p>
        </p:txBody>
      </p:sp>
    </p:spTree>
    <p:extLst>
      <p:ext uri="{BB962C8B-B14F-4D97-AF65-F5344CB8AC3E}">
        <p14:creationId xmlns:p14="http://schemas.microsoft.com/office/powerpoint/2010/main" xmlns="" val="4024808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ustom bg 2">
    <p:spTree>
      <p:nvGrpSpPr>
        <p:cNvPr id="1" name=""/>
        <p:cNvGrpSpPr/>
        <p:nvPr/>
      </p:nvGrpSpPr>
      <p:grpSpPr>
        <a:xfrm>
          <a:off x="0" y="0"/>
          <a:ext cx="0" cy="0"/>
          <a:chOff x="0" y="0"/>
          <a:chExt cx="0" cy="0"/>
        </a:xfrm>
      </p:grpSpPr>
      <p:sp>
        <p:nvSpPr>
          <p:cNvPr id="5" name="AutoShape 5"/>
          <p:cNvSpPr>
            <a:spLocks/>
          </p:cNvSpPr>
          <p:nvPr/>
        </p:nvSpPr>
        <p:spPr bwMode="auto">
          <a:xfrm>
            <a:off x="-76200" y="10083800"/>
            <a:ext cx="24549100" cy="37846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6" name="Symbol zastępczy tekstu 3"/>
          <p:cNvSpPr>
            <a:spLocks noGrp="1"/>
          </p:cNvSpPr>
          <p:nvPr>
            <p:ph type="body" sz="quarter" idx="10" hasCustomPrompt="1"/>
          </p:nvPr>
        </p:nvSpPr>
        <p:spPr>
          <a:xfrm>
            <a:off x="6257951" y="12086077"/>
            <a:ext cx="11880798" cy="1080368"/>
          </a:xfrm>
          <a:prstGeom prst="rect">
            <a:avLst/>
          </a:prstGeom>
        </p:spPr>
        <p:txBody>
          <a:bodyPr>
            <a:noAutofit/>
          </a:bodyPr>
          <a:lstStyle>
            <a:lvl1pPr algn="ctr">
              <a:defRPr sz="4400" b="1" baseline="0">
                <a:solidFill>
                  <a:schemeClr val="tx1"/>
                </a:solidFill>
                <a:latin typeface="Aleo" panose="020F0502020204030203" pitchFamily="34" charset="0"/>
              </a:defRPr>
            </a:lvl1pPr>
            <a:lvl2pPr algn="ctr">
              <a:defRPr/>
            </a:lvl2pPr>
            <a:lvl3pPr algn="ctr">
              <a:defRPr/>
            </a:lvl3pPr>
            <a:lvl4pPr algn="ctr">
              <a:defRPr/>
            </a:lvl4pPr>
            <a:lvl5pPr algn="ctr">
              <a:defRPr/>
            </a:lvl5pPr>
          </a:lstStyle>
          <a:p>
            <a:pPr lvl="0"/>
            <a:r>
              <a:rPr lang="en-US" dirty="0"/>
              <a:t>Click here to add your own subtitle</a:t>
            </a:r>
            <a:endParaRPr lang="pl-PL" dirty="0"/>
          </a:p>
        </p:txBody>
      </p:sp>
      <p:sp>
        <p:nvSpPr>
          <p:cNvPr id="9" name="Tytuł 8"/>
          <p:cNvSpPr>
            <a:spLocks noGrp="1"/>
          </p:cNvSpPr>
          <p:nvPr>
            <p:ph type="title" hasCustomPrompt="1"/>
          </p:nvPr>
        </p:nvSpPr>
        <p:spPr>
          <a:xfrm>
            <a:off x="8751734" y="10475390"/>
            <a:ext cx="6893234" cy="1508105"/>
          </a:xfrm>
          <a:prstGeom prst="rect">
            <a:avLst/>
          </a:prstGeom>
        </p:spPr>
        <p:txBody>
          <a:bodyPr wrap="none">
            <a:spAutoFit/>
          </a:bodyPr>
          <a:lstStyle>
            <a:lvl1pPr algn="ctr">
              <a:defRPr baseline="0">
                <a:solidFill>
                  <a:schemeClr val="tx1"/>
                </a:solidFill>
              </a:defRPr>
            </a:lvl1pPr>
          </a:lstStyle>
          <a:p>
            <a:r>
              <a:rPr lang="en-US" dirty="0"/>
              <a:t>Sample Title</a:t>
            </a:r>
          </a:p>
        </p:txBody>
      </p:sp>
    </p:spTree>
    <p:extLst>
      <p:ext uri="{BB962C8B-B14F-4D97-AF65-F5344CB8AC3E}">
        <p14:creationId xmlns:p14="http://schemas.microsoft.com/office/powerpoint/2010/main" xmlns="" val="18263252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ustom bg 3">
    <p:spTree>
      <p:nvGrpSpPr>
        <p:cNvPr id="1" name=""/>
        <p:cNvGrpSpPr/>
        <p:nvPr/>
      </p:nvGrpSpPr>
      <p:grpSpPr>
        <a:xfrm>
          <a:off x="0" y="0"/>
          <a:ext cx="0" cy="0"/>
          <a:chOff x="0" y="0"/>
          <a:chExt cx="0" cy="0"/>
        </a:xfrm>
      </p:grpSpPr>
      <p:sp>
        <p:nvSpPr>
          <p:cNvPr id="11" name="AutoShape 1"/>
          <p:cNvSpPr>
            <a:spLocks/>
          </p:cNvSpPr>
          <p:nvPr/>
        </p:nvSpPr>
        <p:spPr bwMode="auto">
          <a:xfrm>
            <a:off x="12230100" y="0"/>
            <a:ext cx="12166600" cy="13716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r>
              <a:rPr kumimoji="0" lang="en-US" b="0" i="0" u="none" strike="noStrike" cap="none" normalizeH="0" baseline="0" dirty="0">
                <a:ln>
                  <a:noFill/>
                </a:ln>
                <a:effectLst/>
                <a:latin typeface="+mj-lt"/>
                <a:cs typeface="Arial" panose="020B0604020202020204" pitchFamily="34" charset="0"/>
              </a:rPr>
              <a:t> </a:t>
            </a:r>
          </a:p>
        </p:txBody>
      </p:sp>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14696254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custom bg 4">
    <p:spTree>
      <p:nvGrpSpPr>
        <p:cNvPr id="1" name=""/>
        <p:cNvGrpSpPr/>
        <p:nvPr/>
      </p:nvGrpSpPr>
      <p:grpSpPr>
        <a:xfrm>
          <a:off x="0" y="0"/>
          <a:ext cx="0" cy="0"/>
          <a:chOff x="0" y="0"/>
          <a:chExt cx="0" cy="0"/>
        </a:xfrm>
      </p:grpSpPr>
      <p:sp>
        <p:nvSpPr>
          <p:cNvPr id="4" name="AutoShape 1"/>
          <p:cNvSpPr>
            <a:spLocks/>
          </p:cNvSpPr>
          <p:nvPr/>
        </p:nvSpPr>
        <p:spPr bwMode="auto">
          <a:xfrm>
            <a:off x="8724900" y="-14288"/>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13740784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ustom bg 5">
    <p:spTree>
      <p:nvGrpSpPr>
        <p:cNvPr id="1" name=""/>
        <p:cNvGrpSpPr/>
        <p:nvPr/>
      </p:nvGrpSpPr>
      <p:grpSpPr>
        <a:xfrm>
          <a:off x="0" y="0"/>
          <a:ext cx="0" cy="0"/>
          <a:chOff x="0" y="0"/>
          <a:chExt cx="0" cy="0"/>
        </a:xfrm>
      </p:grpSpPr>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6" name="AutoShape 1"/>
          <p:cNvSpPr>
            <a:spLocks/>
          </p:cNvSpPr>
          <p:nvPr/>
        </p:nvSpPr>
        <p:spPr bwMode="auto">
          <a:xfrm>
            <a:off x="0" y="3835400"/>
            <a:ext cx="24371300" cy="4470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8413573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ustom placeholder 2">
    <p:spTree>
      <p:nvGrpSpPr>
        <p:cNvPr id="1" name=""/>
        <p:cNvGrpSpPr/>
        <p:nvPr/>
      </p:nvGrpSpPr>
      <p:grpSpPr>
        <a:xfrm>
          <a:off x="0" y="0"/>
          <a:ext cx="0" cy="0"/>
          <a:chOff x="0" y="0"/>
          <a:chExt cx="0" cy="0"/>
        </a:xfrm>
      </p:grpSpPr>
      <p:sp>
        <p:nvSpPr>
          <p:cNvPr id="2" name="Rectangle 1"/>
          <p:cNvSpPr/>
          <p:nvPr userDrawn="1"/>
        </p:nvSpPr>
        <p:spPr bwMode="auto">
          <a:xfrm>
            <a:off x="0" y="0"/>
            <a:ext cx="24384000"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0" y="0"/>
            <a:ext cx="24384000" cy="13716000"/>
          </a:xfrm>
          <a:prstGeom prst="rect">
            <a:avLst/>
          </a:prstGeom>
        </p:spPr>
        <p:txBody>
          <a:bodyPr/>
          <a:lstStyle/>
          <a:p>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rgbClr val="FFFFFF"/>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11301948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ustom placeholder 3">
    <p:spTree>
      <p:nvGrpSpPr>
        <p:cNvPr id="1" name=""/>
        <p:cNvGrpSpPr/>
        <p:nvPr/>
      </p:nvGrpSpPr>
      <p:grpSpPr>
        <a:xfrm>
          <a:off x="0" y="0"/>
          <a:ext cx="0" cy="0"/>
          <a:chOff x="0" y="0"/>
          <a:chExt cx="0" cy="0"/>
        </a:xfrm>
      </p:grpSpPr>
      <p:sp>
        <p:nvSpPr>
          <p:cNvPr id="8" name="Rectangle 7"/>
          <p:cNvSpPr/>
          <p:nvPr userDrawn="1"/>
        </p:nvSpPr>
        <p:spPr bwMode="auto">
          <a:xfrm>
            <a:off x="0" y="0"/>
            <a:ext cx="24384000"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0" y="0"/>
            <a:ext cx="24384000" cy="13716000"/>
          </a:xfrm>
          <a:prstGeom prst="rect">
            <a:avLst/>
          </a:prstGeom>
          <a:noFill/>
        </p:spPr>
        <p:txBody>
          <a:bodyPr/>
          <a:lstStyle/>
          <a:p>
            <a:r>
              <a:rPr lang="en-US" dirty="0"/>
              <a:t> </a:t>
            </a:r>
          </a:p>
        </p:txBody>
      </p:sp>
      <p:sp>
        <p:nvSpPr>
          <p:cNvPr id="7" name="Text Placeholder 6"/>
          <p:cNvSpPr>
            <a:spLocks noGrp="1"/>
          </p:cNvSpPr>
          <p:nvPr>
            <p:ph type="body" sz="quarter" idx="11" hasCustomPrompt="1"/>
          </p:nvPr>
        </p:nvSpPr>
        <p:spPr>
          <a:xfrm>
            <a:off x="-12700" y="9639300"/>
            <a:ext cx="24396700" cy="3606800"/>
          </a:xfrm>
          <a:prstGeom prst="rect">
            <a:avLst/>
          </a:prstGeom>
          <a:solidFill>
            <a:srgbClr val="FFFFFF">
              <a:alpha val="89999"/>
            </a:srgbClr>
          </a:solidFill>
          <a:ln w="12700" cap="flat" cmpd="sng">
            <a:solidFill>
              <a:srgbClr val="FFFFFF"/>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a:defRPr lang="en-US" sz="4000" dirty="0">
                <a:solidFill>
                  <a:srgbClr val="FFFFFF"/>
                </a:solidFill>
                <a:effectLst>
                  <a:outerShdw blurRad="38100" dist="38100" dir="2700000" algn="tl">
                    <a:srgbClr val="C0C0C0"/>
                  </a:outerShdw>
                </a:effectLst>
                <a:latin typeface="Lato" panose="020F0502020204030203" pitchFamily="34" charset="0"/>
                <a:ea typeface="Lato" panose="020F0502020204030203" pitchFamily="34" charset="0"/>
                <a:cs typeface="Arial" panose="020B0604020202020204" pitchFamily="34" charset="0"/>
                <a:sym typeface="Gill Sans" charset="0"/>
              </a:defRPr>
            </a:lvl1pPr>
          </a:lstStyle>
          <a:p>
            <a:pPr lvl="0" algn="ctr" defTabSz="584200"/>
            <a:r>
              <a:rPr lang="en-US" dirty="0"/>
              <a:t> </a:t>
            </a:r>
          </a:p>
        </p:txBody>
      </p:sp>
      <p:sp>
        <p:nvSpPr>
          <p:cNvPr id="11" name="Text Placeholder 10"/>
          <p:cNvSpPr>
            <a:spLocks noGrp="1"/>
          </p:cNvSpPr>
          <p:nvPr>
            <p:ph type="body" sz="quarter" idx="12" hasCustomPrompt="1"/>
          </p:nvPr>
        </p:nvSpPr>
        <p:spPr>
          <a:xfrm>
            <a:off x="3397250" y="10377954"/>
            <a:ext cx="17576800" cy="1938992"/>
          </a:xfrm>
          <a:prstGeom prst="rect">
            <a:avLst/>
          </a:prstGeom>
        </p:spPr>
        <p:txBody>
          <a:bodyPr wrap="square" anchor="ctr">
            <a:spAutoFit/>
          </a:bodyPr>
          <a:lstStyle>
            <a:lvl1pPr algn="ctr">
              <a:defRPr sz="4000" baseline="0"/>
            </a:lvl1pPr>
          </a:lstStyle>
          <a:p>
            <a:pPr lvl="0"/>
            <a:r>
              <a:rPr lang="en-US" dirty="0"/>
              <a:t> Describe your thoughts with Lorem ipsum dolor sit </a:t>
            </a:r>
            <a:r>
              <a:rPr lang="en-US" dirty="0" err="1"/>
              <a:t>amet</a:t>
            </a:r>
            <a:r>
              <a:rPr lang="en-US" dirty="0"/>
              <a:t>, as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lor </a:t>
            </a:r>
            <a:r>
              <a:rPr lang="en-US" dirty="0" err="1"/>
              <a:t>odio</a:t>
            </a:r>
            <a:r>
              <a:rPr lang="en-US" dirty="0"/>
              <a:t>, </a:t>
            </a:r>
            <a:r>
              <a:rPr lang="en-US" dirty="0" err="1"/>
              <a:t>aliquet</a:t>
            </a:r>
            <a:r>
              <a:rPr lang="en-US" dirty="0"/>
              <a:t> </a:t>
            </a:r>
            <a:r>
              <a:rPr lang="en-US" dirty="0" err="1"/>
              <a:t>vel</a:t>
            </a:r>
            <a:r>
              <a:rPr lang="en-US" dirty="0"/>
              <a:t> </a:t>
            </a:r>
            <a:r>
              <a:rPr lang="en-US" dirty="0" err="1"/>
              <a:t>tincidunt</a:t>
            </a:r>
            <a:r>
              <a:rPr lang="en-US" dirty="0"/>
              <a:t> </a:t>
            </a:r>
            <a:r>
              <a:rPr lang="en-US" dirty="0" err="1"/>
              <a:t>eu</a:t>
            </a:r>
            <a:r>
              <a:rPr lang="en-US" dirty="0"/>
              <a:t>, </a:t>
            </a:r>
            <a:r>
              <a:rPr lang="en-US" dirty="0" err="1"/>
              <a:t>lobortis</a:t>
            </a:r>
            <a:r>
              <a:rPr lang="en-US" dirty="0"/>
              <a:t> at </a:t>
            </a:r>
            <a:r>
              <a:rPr lang="en-US" dirty="0" err="1"/>
              <a:t>justo</a:t>
            </a:r>
            <a:r>
              <a:rPr lang="en-US" dirty="0"/>
              <a:t>. </a:t>
            </a:r>
            <a:r>
              <a:rPr lang="en-US" dirty="0" err="1"/>
              <a:t>Sed</a:t>
            </a:r>
            <a:r>
              <a:rPr lang="en-US" dirty="0"/>
              <a:t> </a:t>
            </a:r>
            <a:r>
              <a:rPr lang="en-US" dirty="0" err="1"/>
              <a:t>tristique</a:t>
            </a:r>
            <a:r>
              <a:rPr lang="en-US" dirty="0"/>
              <a:t> dui </a:t>
            </a:r>
            <a:r>
              <a:rPr lang="en-US" dirty="0" err="1"/>
              <a:t>adipiscing</a:t>
            </a:r>
            <a:r>
              <a:rPr lang="en-US" dirty="0"/>
              <a:t> magna </a:t>
            </a:r>
            <a:r>
              <a:rPr lang="en-US" dirty="0" err="1"/>
              <a:t>interdum</a:t>
            </a:r>
            <a:r>
              <a:rPr lang="en-US" dirty="0"/>
              <a:t>, </a:t>
            </a:r>
            <a:r>
              <a:rPr lang="en-US" dirty="0" err="1"/>
              <a:t>sed</a:t>
            </a:r>
            <a:r>
              <a:rPr lang="en-US" dirty="0"/>
              <a:t> </a:t>
            </a:r>
            <a:r>
              <a:rPr lang="en-US" dirty="0" err="1"/>
              <a:t>molestie</a:t>
            </a:r>
            <a:r>
              <a:rPr lang="en-US" dirty="0"/>
              <a:t> </a:t>
            </a:r>
            <a:r>
              <a:rPr lang="en-US" dirty="0" err="1"/>
              <a:t>nunc</a:t>
            </a:r>
            <a:r>
              <a:rPr lang="en-US" dirty="0"/>
              <a:t> </a:t>
            </a:r>
            <a:r>
              <a:rPr lang="en-US" dirty="0" err="1"/>
              <a:t>vulputate</a:t>
            </a:r>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rgbClr val="FFFFFF"/>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38462779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ustom placeholder 4">
    <p:spTree>
      <p:nvGrpSpPr>
        <p:cNvPr id="1" name=""/>
        <p:cNvGrpSpPr/>
        <p:nvPr/>
      </p:nvGrpSpPr>
      <p:grpSpPr>
        <a:xfrm>
          <a:off x="0" y="0"/>
          <a:ext cx="0" cy="0"/>
          <a:chOff x="0" y="0"/>
          <a:chExt cx="0" cy="0"/>
        </a:xfrm>
      </p:grpSpPr>
      <p:sp>
        <p:nvSpPr>
          <p:cNvPr id="6" name="Rectangle 5"/>
          <p:cNvSpPr/>
          <p:nvPr userDrawn="1"/>
        </p:nvSpPr>
        <p:spPr bwMode="auto">
          <a:xfrm>
            <a:off x="12973050" y="0"/>
            <a:ext cx="11410950"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12195048" y="0"/>
            <a:ext cx="12188952" cy="13716000"/>
          </a:xfrm>
          <a:prstGeom prst="rect">
            <a:avLst/>
          </a:prstGeom>
          <a:noFill/>
        </p:spPr>
        <p:txBody>
          <a:bodyPr/>
          <a:lstStyle/>
          <a:p>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chemeClr val="tx1"/>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8644795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ustom placeholder 5">
    <p:spTree>
      <p:nvGrpSpPr>
        <p:cNvPr id="1" name=""/>
        <p:cNvGrpSpPr/>
        <p:nvPr/>
      </p:nvGrpSpPr>
      <p:grpSpPr>
        <a:xfrm>
          <a:off x="0" y="0"/>
          <a:ext cx="0" cy="0"/>
          <a:chOff x="0" y="0"/>
          <a:chExt cx="0" cy="0"/>
        </a:xfrm>
      </p:grpSpPr>
      <p:sp>
        <p:nvSpPr>
          <p:cNvPr id="4" name="Rectangle 3"/>
          <p:cNvSpPr/>
          <p:nvPr userDrawn="1"/>
        </p:nvSpPr>
        <p:spPr bwMode="auto">
          <a:xfrm>
            <a:off x="0" y="0"/>
            <a:ext cx="12188952"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0" y="0"/>
            <a:ext cx="12188952" cy="13716000"/>
          </a:xfrm>
          <a:prstGeom prst="rect">
            <a:avLst/>
          </a:prstGeom>
          <a:noFill/>
        </p:spPr>
        <p:txBody>
          <a:bodyPr/>
          <a:lstStyle/>
          <a:p>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rgbClr val="FFFFFF"/>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23724742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custom placeholder 1">
    <p:spTree>
      <p:nvGrpSpPr>
        <p:cNvPr id="1" name=""/>
        <p:cNvGrpSpPr/>
        <p:nvPr/>
      </p:nvGrpSpPr>
      <p:grpSpPr>
        <a:xfrm>
          <a:off x="0" y="0"/>
          <a:ext cx="0" cy="0"/>
          <a:chOff x="0" y="0"/>
          <a:chExt cx="0" cy="0"/>
        </a:xfrm>
      </p:grpSpPr>
      <p:sp>
        <p:nvSpPr>
          <p:cNvPr id="4" name="AutoShape 1"/>
          <p:cNvSpPr>
            <a:spLocks/>
          </p:cNvSpPr>
          <p:nvPr/>
        </p:nvSpPr>
        <p:spPr bwMode="auto">
          <a:xfrm>
            <a:off x="8724900" y="-14288"/>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24" name="Picture Placeholder 23"/>
          <p:cNvSpPr>
            <a:spLocks noGrp="1"/>
          </p:cNvSpPr>
          <p:nvPr>
            <p:ph type="pic" sz="quarter" idx="10" hasCustomPrompt="1"/>
          </p:nvPr>
        </p:nvSpPr>
        <p:spPr>
          <a:xfrm>
            <a:off x="1855997" y="4891328"/>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
        <p:nvSpPr>
          <p:cNvPr id="25" name="Picture Placeholder 24"/>
          <p:cNvSpPr>
            <a:spLocks noGrp="1"/>
          </p:cNvSpPr>
          <p:nvPr>
            <p:ph type="pic" sz="quarter" idx="11" hasCustomPrompt="1"/>
          </p:nvPr>
        </p:nvSpPr>
        <p:spPr>
          <a:xfrm>
            <a:off x="6837383" y="4889500"/>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
        <p:nvSpPr>
          <p:cNvPr id="28" name="Picture Placeholder 27"/>
          <p:cNvSpPr>
            <a:spLocks noGrp="1"/>
          </p:cNvSpPr>
          <p:nvPr>
            <p:ph type="pic" sz="quarter" idx="12" hasCustomPrompt="1"/>
          </p:nvPr>
        </p:nvSpPr>
        <p:spPr>
          <a:xfrm>
            <a:off x="11811073" y="4889500"/>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
        <p:nvSpPr>
          <p:cNvPr id="29" name="Picture Placeholder 28"/>
          <p:cNvSpPr>
            <a:spLocks noGrp="1"/>
          </p:cNvSpPr>
          <p:nvPr>
            <p:ph type="pic" sz="quarter" idx="13" hasCustomPrompt="1"/>
          </p:nvPr>
        </p:nvSpPr>
        <p:spPr>
          <a:xfrm>
            <a:off x="16801738" y="4889500"/>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Tree>
    <p:extLst>
      <p:ext uri="{BB962C8B-B14F-4D97-AF65-F5344CB8AC3E}">
        <p14:creationId xmlns:p14="http://schemas.microsoft.com/office/powerpoint/2010/main" xmlns="" val="12130870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ite placeholder 1">
    <p:spTree>
      <p:nvGrpSpPr>
        <p:cNvPr id="1" name=""/>
        <p:cNvGrpSpPr/>
        <p:nvPr/>
      </p:nvGrpSpPr>
      <p:grpSpPr>
        <a:xfrm>
          <a:off x="0" y="0"/>
          <a:ext cx="0" cy="0"/>
          <a:chOff x="0" y="0"/>
          <a:chExt cx="0" cy="0"/>
        </a:xfrm>
      </p:grpSpPr>
      <p:sp>
        <p:nvSpPr>
          <p:cNvPr id="29" name="Picture Placeholder 28"/>
          <p:cNvSpPr>
            <a:spLocks noGrp="1"/>
          </p:cNvSpPr>
          <p:nvPr>
            <p:ph type="pic" sz="quarter" idx="14" hasCustomPrompt="1"/>
          </p:nvPr>
        </p:nvSpPr>
        <p:spPr>
          <a:xfrm>
            <a:off x="6311376" y="5170471"/>
            <a:ext cx="11334224" cy="5748306"/>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txBody>
          <a:bodyPr wrap="square">
            <a:noAutofit/>
          </a:bodyPr>
          <a:lstStyle/>
          <a:p>
            <a:r>
              <a:rPr lang="en-US" dirty="0"/>
              <a:t> </a:t>
            </a:r>
          </a:p>
        </p:txBody>
      </p:sp>
      <p:sp>
        <p:nvSpPr>
          <p:cNvPr id="15" name="Text Placeholder 14"/>
          <p:cNvSpPr>
            <a:spLocks noGrp="1"/>
          </p:cNvSpPr>
          <p:nvPr>
            <p:ph type="body" sz="quarter" idx="10" hasCustomPrompt="1"/>
          </p:nvPr>
        </p:nvSpPr>
        <p:spPr>
          <a:xfrm>
            <a:off x="6311902" y="3873500"/>
            <a:ext cx="11334223" cy="1343025"/>
          </a:xfrm>
          <a:custGeom>
            <a:avLst/>
            <a:gdLst>
              <a:gd name="connsiteX0" fmla="*/ 197308 w 11334223"/>
              <a:gd name="connsiteY0" fmla="*/ 0 h 1343025"/>
              <a:gd name="connsiteX1" fmla="*/ 11136915 w 11334223"/>
              <a:gd name="connsiteY1" fmla="*/ 0 h 1343025"/>
              <a:gd name="connsiteX2" fmla="*/ 11334223 w 11334223"/>
              <a:gd name="connsiteY2" fmla="*/ 197186 h 1343025"/>
              <a:gd name="connsiteX3" fmla="*/ 11334223 w 11334223"/>
              <a:gd name="connsiteY3" fmla="*/ 202011 h 1343025"/>
              <a:gd name="connsiteX4" fmla="*/ 11334223 w 11334223"/>
              <a:gd name="connsiteY4" fmla="*/ 216283 h 1343025"/>
              <a:gd name="connsiteX5" fmla="*/ 11334223 w 11334223"/>
              <a:gd name="connsiteY5" fmla="*/ 239696 h 1343025"/>
              <a:gd name="connsiteX6" fmla="*/ 11334223 w 11334223"/>
              <a:gd name="connsiteY6" fmla="*/ 271947 h 1343025"/>
              <a:gd name="connsiteX7" fmla="*/ 11334223 w 11334223"/>
              <a:gd name="connsiteY7" fmla="*/ 312730 h 1343025"/>
              <a:gd name="connsiteX8" fmla="*/ 11334223 w 11334223"/>
              <a:gd name="connsiteY8" fmla="*/ 361742 h 1343025"/>
              <a:gd name="connsiteX9" fmla="*/ 11334223 w 11334223"/>
              <a:gd name="connsiteY9" fmla="*/ 418676 h 1343025"/>
              <a:gd name="connsiteX10" fmla="*/ 11334223 w 11334223"/>
              <a:gd name="connsiteY10" fmla="*/ 483228 h 1343025"/>
              <a:gd name="connsiteX11" fmla="*/ 11334223 w 11334223"/>
              <a:gd name="connsiteY11" fmla="*/ 633969 h 1343025"/>
              <a:gd name="connsiteX12" fmla="*/ 11334223 w 11334223"/>
              <a:gd name="connsiteY12" fmla="*/ 811527 h 1343025"/>
              <a:gd name="connsiteX13" fmla="*/ 11334223 w 11334223"/>
              <a:gd name="connsiteY13" fmla="*/ 1013463 h 1343025"/>
              <a:gd name="connsiteX14" fmla="*/ 11334223 w 11334223"/>
              <a:gd name="connsiteY14" fmla="*/ 1237339 h 1343025"/>
              <a:gd name="connsiteX15" fmla="*/ 11334223 w 11334223"/>
              <a:gd name="connsiteY15" fmla="*/ 1343025 h 1343025"/>
              <a:gd name="connsiteX16" fmla="*/ 0 w 11334223"/>
              <a:gd name="connsiteY16" fmla="*/ 1343025 h 1343025"/>
              <a:gd name="connsiteX17" fmla="*/ 0 w 11334223"/>
              <a:gd name="connsiteY17" fmla="*/ 197186 h 1343025"/>
              <a:gd name="connsiteX18" fmla="*/ 197308 w 11334223"/>
              <a:gd name="connsiteY18"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34223" h="1343025">
                <a:moveTo>
                  <a:pt x="197308" y="0"/>
                </a:moveTo>
                <a:lnTo>
                  <a:pt x="11136915" y="0"/>
                </a:lnTo>
                <a:cubicBezTo>
                  <a:pt x="11246065" y="0"/>
                  <a:pt x="11334223" y="88146"/>
                  <a:pt x="11334223" y="197186"/>
                </a:cubicBezTo>
                <a:lnTo>
                  <a:pt x="11334223" y="202011"/>
                </a:lnTo>
                <a:lnTo>
                  <a:pt x="11334223" y="216283"/>
                </a:lnTo>
                <a:lnTo>
                  <a:pt x="11334223" y="239696"/>
                </a:lnTo>
                <a:lnTo>
                  <a:pt x="11334223" y="271947"/>
                </a:lnTo>
                <a:lnTo>
                  <a:pt x="11334223" y="312730"/>
                </a:lnTo>
                <a:lnTo>
                  <a:pt x="11334223" y="361742"/>
                </a:lnTo>
                <a:lnTo>
                  <a:pt x="11334223" y="418676"/>
                </a:lnTo>
                <a:lnTo>
                  <a:pt x="11334223" y="483228"/>
                </a:lnTo>
                <a:lnTo>
                  <a:pt x="11334223" y="633969"/>
                </a:lnTo>
                <a:lnTo>
                  <a:pt x="11334223" y="811527"/>
                </a:lnTo>
                <a:lnTo>
                  <a:pt x="11334223" y="1013463"/>
                </a:lnTo>
                <a:lnTo>
                  <a:pt x="11334223" y="1237339"/>
                </a:lnTo>
                <a:lnTo>
                  <a:pt x="11334223" y="1343025"/>
                </a:lnTo>
                <a:lnTo>
                  <a:pt x="0" y="1343025"/>
                </a:lnTo>
                <a:lnTo>
                  <a:pt x="0" y="197186"/>
                </a:lnTo>
                <a:cubicBezTo>
                  <a:pt x="0" y="88146"/>
                  <a:pt x="88158" y="0"/>
                  <a:pt x="197308" y="0"/>
                </a:cubicBezTo>
                <a:close/>
              </a:path>
            </a:pathLst>
          </a:custGeom>
          <a:solidFill>
            <a:srgbClr val="CFCFCF"/>
          </a:solidFill>
          <a:ln w="3175">
            <a:solidFill>
              <a:srgbClr val="CFCFCF"/>
            </a:solidFill>
          </a:ln>
        </p:spPr>
        <p:txBody>
          <a:bodyPr wrap="square">
            <a:noAutofit/>
          </a:bodyPr>
          <a:lstStyle>
            <a:lvl1pPr>
              <a:defRPr baseline="0"/>
            </a:lvl1pPr>
          </a:lstStyle>
          <a:p>
            <a:pPr lvl="0"/>
            <a:r>
              <a:rPr lang="en-US" dirty="0"/>
              <a:t> </a:t>
            </a:r>
          </a:p>
        </p:txBody>
      </p:sp>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19" name="Text Placeholder 18"/>
          <p:cNvSpPr>
            <a:spLocks noGrp="1"/>
          </p:cNvSpPr>
          <p:nvPr>
            <p:ph type="body" sz="quarter" idx="11" hasCustomPrompt="1"/>
          </p:nvPr>
        </p:nvSpPr>
        <p:spPr>
          <a:xfrm>
            <a:off x="6311900" y="4203700"/>
            <a:ext cx="11333700" cy="1012778"/>
          </a:xfrm>
          <a:custGeom>
            <a:avLst/>
            <a:gdLst>
              <a:gd name="connsiteX0" fmla="*/ 501668 w 11333700"/>
              <a:gd name="connsiteY0" fmla="*/ 0 h 1012778"/>
              <a:gd name="connsiteX1" fmla="*/ 1587390 w 11333700"/>
              <a:gd name="connsiteY1" fmla="*/ 0 h 1012778"/>
              <a:gd name="connsiteX2" fmla="*/ 1834550 w 11333700"/>
              <a:gd name="connsiteY2" fmla="*/ 45437 h 1012778"/>
              <a:gd name="connsiteX3" fmla="*/ 1947373 w 11333700"/>
              <a:gd name="connsiteY3" fmla="*/ 310928 h 1012778"/>
              <a:gd name="connsiteX4" fmla="*/ 11228806 w 11333700"/>
              <a:gd name="connsiteY4" fmla="*/ 310928 h 1012778"/>
              <a:gd name="connsiteX5" fmla="*/ 11333700 w 11333700"/>
              <a:gd name="connsiteY5" fmla="*/ 310928 h 1012778"/>
              <a:gd name="connsiteX6" fmla="*/ 11333700 w 11333700"/>
              <a:gd name="connsiteY6" fmla="*/ 481327 h 1012778"/>
              <a:gd name="connsiteX7" fmla="*/ 11333700 w 11333700"/>
              <a:gd name="connsiteY7" fmla="*/ 683263 h 1012778"/>
              <a:gd name="connsiteX8" fmla="*/ 11333700 w 11333700"/>
              <a:gd name="connsiteY8" fmla="*/ 907139 h 1012778"/>
              <a:gd name="connsiteX9" fmla="*/ 11333700 w 11333700"/>
              <a:gd name="connsiteY9" fmla="*/ 1012778 h 1012778"/>
              <a:gd name="connsiteX10" fmla="*/ 0 w 11333700"/>
              <a:gd name="connsiteY10" fmla="*/ 1012778 h 1012778"/>
              <a:gd name="connsiteX11" fmla="*/ 0 w 11333700"/>
              <a:gd name="connsiteY11" fmla="*/ 310928 h 1012778"/>
              <a:gd name="connsiteX12" fmla="*/ 110724 w 11333700"/>
              <a:gd name="connsiteY12" fmla="*/ 310928 h 1012778"/>
              <a:gd name="connsiteX13" fmla="*/ 254507 w 11333700"/>
              <a:gd name="connsiteY13" fmla="*/ 45437 h 1012778"/>
              <a:gd name="connsiteX14" fmla="*/ 501668 w 11333700"/>
              <a:gd name="connsiteY14" fmla="*/ 0 h 101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33700" h="1012778">
                <a:moveTo>
                  <a:pt x="501668" y="0"/>
                </a:moveTo>
                <a:lnTo>
                  <a:pt x="1587390" y="0"/>
                </a:lnTo>
                <a:cubicBezTo>
                  <a:pt x="1780500" y="0"/>
                  <a:pt x="1818808" y="0"/>
                  <a:pt x="1834550" y="45437"/>
                </a:cubicBezTo>
                <a:lnTo>
                  <a:pt x="1947373" y="310928"/>
                </a:lnTo>
                <a:cubicBezTo>
                  <a:pt x="1947373" y="310928"/>
                  <a:pt x="10197535" y="310928"/>
                  <a:pt x="11228806" y="310928"/>
                </a:cubicBezTo>
                <a:lnTo>
                  <a:pt x="11333700" y="310928"/>
                </a:lnTo>
                <a:lnTo>
                  <a:pt x="11333700" y="481327"/>
                </a:lnTo>
                <a:lnTo>
                  <a:pt x="11333700" y="683263"/>
                </a:lnTo>
                <a:lnTo>
                  <a:pt x="11333700" y="907139"/>
                </a:lnTo>
                <a:lnTo>
                  <a:pt x="11333700" y="1012778"/>
                </a:lnTo>
                <a:lnTo>
                  <a:pt x="0" y="1012778"/>
                </a:lnTo>
                <a:lnTo>
                  <a:pt x="0" y="310928"/>
                </a:lnTo>
                <a:lnTo>
                  <a:pt x="110724" y="310928"/>
                </a:lnTo>
                <a:lnTo>
                  <a:pt x="254507" y="45437"/>
                </a:lnTo>
                <a:cubicBezTo>
                  <a:pt x="273399" y="0"/>
                  <a:pt x="270250" y="0"/>
                  <a:pt x="501668" y="0"/>
                </a:cubicBezTo>
                <a:close/>
              </a:path>
            </a:pathLst>
          </a:custGeom>
          <a:solidFill>
            <a:srgbClr val="E4E4E4"/>
          </a:solidFill>
          <a:ln w="3175">
            <a:solidFill>
              <a:srgbClr val="E4E4E4"/>
            </a:solidFill>
          </a:ln>
        </p:spPr>
        <p:txBody>
          <a:bodyPr wrap="square">
            <a:noAutofit/>
          </a:bodyPr>
          <a:lstStyle>
            <a:lvl1pPr>
              <a:defRPr baseline="0"/>
            </a:lvl1pPr>
          </a:lstStyle>
          <a:p>
            <a:pPr lvl="0"/>
            <a:r>
              <a:rPr lang="en-US" dirty="0"/>
              <a:t> </a:t>
            </a:r>
          </a:p>
        </p:txBody>
      </p:sp>
      <p:sp>
        <p:nvSpPr>
          <p:cNvPr id="22" name="Text Placeholder 21"/>
          <p:cNvSpPr>
            <a:spLocks noGrp="1"/>
          </p:cNvSpPr>
          <p:nvPr>
            <p:ph type="body" sz="quarter" idx="12" hasCustomPrompt="1"/>
          </p:nvPr>
        </p:nvSpPr>
        <p:spPr>
          <a:xfrm>
            <a:off x="7289799" y="4114800"/>
            <a:ext cx="10086965" cy="966772"/>
          </a:xfrm>
          <a:custGeom>
            <a:avLst/>
            <a:gdLst>
              <a:gd name="connsiteX0" fmla="*/ 140494 w 10086965"/>
              <a:gd name="connsiteY0" fmla="*/ 647700 h 966772"/>
              <a:gd name="connsiteX1" fmla="*/ 280988 w 10086965"/>
              <a:gd name="connsiteY1" fmla="*/ 788194 h 966772"/>
              <a:gd name="connsiteX2" fmla="*/ 272181 w 10086965"/>
              <a:gd name="connsiteY2" fmla="*/ 836691 h 966772"/>
              <a:gd name="connsiteX3" fmla="*/ 233610 w 10086965"/>
              <a:gd name="connsiteY3" fmla="*/ 798029 h 966772"/>
              <a:gd name="connsiteX4" fmla="*/ 234156 w 10086965"/>
              <a:gd name="connsiteY4" fmla="*/ 788194 h 966772"/>
              <a:gd name="connsiteX5" fmla="*/ 140494 w 10086965"/>
              <a:gd name="connsiteY5" fmla="*/ 694545 h 966772"/>
              <a:gd name="connsiteX6" fmla="*/ 46818 w 10086965"/>
              <a:gd name="connsiteY6" fmla="*/ 788194 h 966772"/>
              <a:gd name="connsiteX7" fmla="*/ 140494 w 10086965"/>
              <a:gd name="connsiteY7" fmla="*/ 881870 h 966772"/>
              <a:gd name="connsiteX8" fmla="*/ 198799 w 10086965"/>
              <a:gd name="connsiteY8" fmla="*/ 861420 h 966772"/>
              <a:gd name="connsiteX9" fmla="*/ 198786 w 10086965"/>
              <a:gd name="connsiteY9" fmla="*/ 861550 h 966772"/>
              <a:gd name="connsiteX10" fmla="*/ 231958 w 10086965"/>
              <a:gd name="connsiteY10" fmla="*/ 894723 h 966772"/>
              <a:gd name="connsiteX11" fmla="*/ 140494 w 10086965"/>
              <a:gd name="connsiteY11" fmla="*/ 928688 h 966772"/>
              <a:gd name="connsiteX12" fmla="*/ 0 w 10086965"/>
              <a:gd name="connsiteY12" fmla="*/ 788194 h 966772"/>
              <a:gd name="connsiteX13" fmla="*/ 140494 w 10086965"/>
              <a:gd name="connsiteY13" fmla="*/ 647700 h 966772"/>
              <a:gd name="connsiteX14" fmla="*/ 590292 w 10086965"/>
              <a:gd name="connsiteY14" fmla="*/ 609600 h 966772"/>
              <a:gd name="connsiteX15" fmla="*/ 9859789 w 10086965"/>
              <a:gd name="connsiteY15" fmla="*/ 609600 h 966772"/>
              <a:gd name="connsiteX16" fmla="*/ 9903981 w 10086965"/>
              <a:gd name="connsiteY16" fmla="*/ 662534 h 966772"/>
              <a:gd name="connsiteX17" fmla="*/ 9903981 w 10086965"/>
              <a:gd name="connsiteY17" fmla="*/ 913805 h 966772"/>
              <a:gd name="connsiteX18" fmla="*/ 9859789 w 10086965"/>
              <a:gd name="connsiteY18" fmla="*/ 966772 h 966772"/>
              <a:gd name="connsiteX19" fmla="*/ 590292 w 10086965"/>
              <a:gd name="connsiteY19" fmla="*/ 966772 h 966772"/>
              <a:gd name="connsiteX20" fmla="*/ 546100 w 10086965"/>
              <a:gd name="connsiteY20" fmla="*/ 913805 h 966772"/>
              <a:gd name="connsiteX21" fmla="*/ 546100 w 10086965"/>
              <a:gd name="connsiteY21" fmla="*/ 662534 h 966772"/>
              <a:gd name="connsiteX22" fmla="*/ 590292 w 10086965"/>
              <a:gd name="connsiteY22" fmla="*/ 609600 h 966772"/>
              <a:gd name="connsiteX23" fmla="*/ 9996489 w 10086965"/>
              <a:gd name="connsiteY23" fmla="*/ 0 h 966772"/>
              <a:gd name="connsiteX24" fmla="*/ 10086965 w 10086965"/>
              <a:gd name="connsiteY24" fmla="*/ 90496 h 966772"/>
              <a:gd name="connsiteX25" fmla="*/ 9996489 w 10086965"/>
              <a:gd name="connsiteY25" fmla="*/ 180966 h 966772"/>
              <a:gd name="connsiteX26" fmla="*/ 9906001 w 10086965"/>
              <a:gd name="connsiteY26" fmla="*/ 90496 h 966772"/>
              <a:gd name="connsiteX27" fmla="*/ 9996489 w 10086965"/>
              <a:gd name="connsiteY27" fmla="*/ 0 h 966772"/>
              <a:gd name="connsiteX28" fmla="*/ 9704381 w 10086965"/>
              <a:gd name="connsiteY28" fmla="*/ 0 h 966772"/>
              <a:gd name="connsiteX29" fmla="*/ 9794865 w 10086965"/>
              <a:gd name="connsiteY29" fmla="*/ 90496 h 966772"/>
              <a:gd name="connsiteX30" fmla="*/ 9704381 w 10086965"/>
              <a:gd name="connsiteY30" fmla="*/ 180966 h 966772"/>
              <a:gd name="connsiteX31" fmla="*/ 9613901 w 10086965"/>
              <a:gd name="connsiteY31" fmla="*/ 90496 h 966772"/>
              <a:gd name="connsiteX32" fmla="*/ 9704381 w 10086965"/>
              <a:gd name="connsiteY32" fmla="*/ 0 h 966772"/>
              <a:gd name="connsiteX33" fmla="*/ 9425004 w 10086965"/>
              <a:gd name="connsiteY33" fmla="*/ 0 h 966772"/>
              <a:gd name="connsiteX34" fmla="*/ 9515477 w 10086965"/>
              <a:gd name="connsiteY34" fmla="*/ 90496 h 966772"/>
              <a:gd name="connsiteX35" fmla="*/ 9425004 w 10086965"/>
              <a:gd name="connsiteY35" fmla="*/ 180966 h 966772"/>
              <a:gd name="connsiteX36" fmla="*/ 9334500 w 10086965"/>
              <a:gd name="connsiteY36" fmla="*/ 90496 h 966772"/>
              <a:gd name="connsiteX37" fmla="*/ 9425004 w 10086965"/>
              <a:gd name="connsiteY37" fmla="*/ 0 h 96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086965" h="966772">
                <a:moveTo>
                  <a:pt x="140494" y="647700"/>
                </a:moveTo>
                <a:cubicBezTo>
                  <a:pt x="218091" y="647700"/>
                  <a:pt x="280988" y="710597"/>
                  <a:pt x="280988" y="788194"/>
                </a:cubicBezTo>
                <a:cubicBezTo>
                  <a:pt x="280988" y="805275"/>
                  <a:pt x="277762" y="821523"/>
                  <a:pt x="272181" y="836691"/>
                </a:cubicBezTo>
                <a:lnTo>
                  <a:pt x="233610" y="798029"/>
                </a:lnTo>
                <a:cubicBezTo>
                  <a:pt x="233948" y="794803"/>
                  <a:pt x="234156" y="791537"/>
                  <a:pt x="234156" y="788194"/>
                </a:cubicBezTo>
                <a:cubicBezTo>
                  <a:pt x="234156" y="736498"/>
                  <a:pt x="192164" y="694545"/>
                  <a:pt x="140494" y="694545"/>
                </a:cubicBezTo>
                <a:cubicBezTo>
                  <a:pt x="88784" y="694545"/>
                  <a:pt x="46818" y="736498"/>
                  <a:pt x="46818" y="788194"/>
                </a:cubicBezTo>
                <a:cubicBezTo>
                  <a:pt x="46818" y="839995"/>
                  <a:pt x="88784" y="881870"/>
                  <a:pt x="140494" y="881870"/>
                </a:cubicBezTo>
                <a:cubicBezTo>
                  <a:pt x="162517" y="881870"/>
                  <a:pt x="182785" y="874182"/>
                  <a:pt x="198799" y="861420"/>
                </a:cubicBezTo>
                <a:cubicBezTo>
                  <a:pt x="198799" y="861420"/>
                  <a:pt x="198786" y="861550"/>
                  <a:pt x="198786" y="861550"/>
                </a:cubicBezTo>
                <a:lnTo>
                  <a:pt x="231958" y="894723"/>
                </a:lnTo>
                <a:cubicBezTo>
                  <a:pt x="207332" y="915797"/>
                  <a:pt x="175474" y="928688"/>
                  <a:pt x="140494" y="928688"/>
                </a:cubicBezTo>
                <a:cubicBezTo>
                  <a:pt x="62871" y="928688"/>
                  <a:pt x="0" y="865804"/>
                  <a:pt x="0" y="788194"/>
                </a:cubicBezTo>
                <a:cubicBezTo>
                  <a:pt x="0" y="710597"/>
                  <a:pt x="62871" y="647700"/>
                  <a:pt x="140494" y="647700"/>
                </a:cubicBezTo>
                <a:close/>
                <a:moveTo>
                  <a:pt x="590292" y="609600"/>
                </a:moveTo>
                <a:lnTo>
                  <a:pt x="9859789" y="609600"/>
                </a:lnTo>
                <a:cubicBezTo>
                  <a:pt x="9884485" y="609600"/>
                  <a:pt x="9903981" y="633314"/>
                  <a:pt x="9903981" y="662534"/>
                </a:cubicBezTo>
                <a:cubicBezTo>
                  <a:pt x="9903981" y="662534"/>
                  <a:pt x="9903981" y="913805"/>
                  <a:pt x="9903981" y="913805"/>
                </a:cubicBezTo>
                <a:cubicBezTo>
                  <a:pt x="9903981" y="943042"/>
                  <a:pt x="9884485" y="966772"/>
                  <a:pt x="9859789" y="966772"/>
                </a:cubicBezTo>
                <a:lnTo>
                  <a:pt x="590292" y="966772"/>
                </a:lnTo>
                <a:cubicBezTo>
                  <a:pt x="566030" y="966772"/>
                  <a:pt x="546100" y="943042"/>
                  <a:pt x="546100" y="913805"/>
                </a:cubicBezTo>
                <a:lnTo>
                  <a:pt x="546100" y="662534"/>
                </a:lnTo>
                <a:cubicBezTo>
                  <a:pt x="546100" y="633314"/>
                  <a:pt x="566030" y="609600"/>
                  <a:pt x="590292" y="609600"/>
                </a:cubicBezTo>
                <a:close/>
                <a:moveTo>
                  <a:pt x="9996489" y="0"/>
                </a:moveTo>
                <a:cubicBezTo>
                  <a:pt x="10046505" y="0"/>
                  <a:pt x="10086965" y="40535"/>
                  <a:pt x="10086965" y="90496"/>
                </a:cubicBezTo>
                <a:cubicBezTo>
                  <a:pt x="10086965" y="140456"/>
                  <a:pt x="10046505" y="180966"/>
                  <a:pt x="9996489" y="180966"/>
                </a:cubicBezTo>
                <a:cubicBezTo>
                  <a:pt x="9946525" y="180966"/>
                  <a:pt x="9906001" y="140456"/>
                  <a:pt x="9906001" y="90496"/>
                </a:cubicBezTo>
                <a:cubicBezTo>
                  <a:pt x="9906001" y="40535"/>
                  <a:pt x="9946525" y="0"/>
                  <a:pt x="9996489" y="0"/>
                </a:cubicBezTo>
                <a:close/>
                <a:moveTo>
                  <a:pt x="9704381" y="0"/>
                </a:moveTo>
                <a:cubicBezTo>
                  <a:pt x="9754357" y="0"/>
                  <a:pt x="9794865" y="40535"/>
                  <a:pt x="9794865" y="90496"/>
                </a:cubicBezTo>
                <a:cubicBezTo>
                  <a:pt x="9794865" y="140456"/>
                  <a:pt x="9754357" y="180966"/>
                  <a:pt x="9704381" y="180966"/>
                </a:cubicBezTo>
                <a:cubicBezTo>
                  <a:pt x="9654401" y="180966"/>
                  <a:pt x="9613901" y="140456"/>
                  <a:pt x="9613901" y="90496"/>
                </a:cubicBezTo>
                <a:cubicBezTo>
                  <a:pt x="9613901" y="40535"/>
                  <a:pt x="9654401" y="0"/>
                  <a:pt x="9704381" y="0"/>
                </a:cubicBezTo>
                <a:close/>
                <a:moveTo>
                  <a:pt x="9425004" y="0"/>
                </a:moveTo>
                <a:cubicBezTo>
                  <a:pt x="9474940" y="0"/>
                  <a:pt x="9515477" y="40535"/>
                  <a:pt x="9515477" y="90496"/>
                </a:cubicBezTo>
                <a:cubicBezTo>
                  <a:pt x="9515477" y="140456"/>
                  <a:pt x="9474940" y="180966"/>
                  <a:pt x="9425004" y="180966"/>
                </a:cubicBezTo>
                <a:cubicBezTo>
                  <a:pt x="9375060" y="180966"/>
                  <a:pt x="9334500" y="140456"/>
                  <a:pt x="9334500" y="90496"/>
                </a:cubicBezTo>
                <a:cubicBezTo>
                  <a:pt x="9334500" y="40535"/>
                  <a:pt x="9375060" y="0"/>
                  <a:pt x="9425004" y="0"/>
                </a:cubicBezTo>
                <a:close/>
              </a:path>
            </a:pathLst>
          </a:custGeom>
          <a:solidFill>
            <a:srgbClr val="EEEEEE"/>
          </a:solidFill>
          <a:ln w="3175">
            <a:solidFill>
              <a:srgbClr val="EEEEEE"/>
            </a:solidFill>
          </a:ln>
        </p:spPr>
        <p:txBody>
          <a:bodyPr wrap="square">
            <a:noAutofit/>
          </a:bodyPr>
          <a:lstStyle>
            <a:lvl1pPr>
              <a:defRPr baseline="0"/>
            </a:lvl1pPr>
          </a:lstStyle>
          <a:p>
            <a:pPr lvl="0"/>
            <a:r>
              <a:rPr lang="en-US" dirty="0"/>
              <a:t> </a:t>
            </a:r>
          </a:p>
        </p:txBody>
      </p:sp>
      <p:sp>
        <p:nvSpPr>
          <p:cNvPr id="9" name="AutoShape 7"/>
          <p:cNvSpPr>
            <a:spLocks/>
          </p:cNvSpPr>
          <p:nvPr/>
        </p:nvSpPr>
        <p:spPr bwMode="auto">
          <a:xfrm>
            <a:off x="7480300" y="4902200"/>
            <a:ext cx="120650"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15066" y="18404"/>
                </a:lnTo>
                <a:cubicBezTo>
                  <a:pt x="15066" y="18404"/>
                  <a:pt x="14154" y="21599"/>
                  <a:pt x="11451" y="21599"/>
                </a:cubicBezTo>
                <a:cubicBezTo>
                  <a:pt x="8897" y="21599"/>
                  <a:pt x="7509" y="18366"/>
                  <a:pt x="7509" y="18366"/>
                </a:cubicBezTo>
                <a:cubicBezTo>
                  <a:pt x="7509" y="18366"/>
                  <a:pt x="0" y="0"/>
                  <a:pt x="0" y="0"/>
                </a:cubicBezTo>
                <a:close/>
              </a:path>
            </a:pathLst>
          </a:custGeom>
          <a:solidFill>
            <a:srgbClr val="EEEEEE"/>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Tree>
    <p:extLst>
      <p:ext uri="{BB962C8B-B14F-4D97-AF65-F5344CB8AC3E}">
        <p14:creationId xmlns:p14="http://schemas.microsoft.com/office/powerpoint/2010/main" xmlns="" val="16969900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ustom bg 3">
    <p:spTree>
      <p:nvGrpSpPr>
        <p:cNvPr id="1" name=""/>
        <p:cNvGrpSpPr/>
        <p:nvPr/>
      </p:nvGrpSpPr>
      <p:grpSpPr>
        <a:xfrm>
          <a:off x="0" y="0"/>
          <a:ext cx="0" cy="0"/>
          <a:chOff x="0" y="0"/>
          <a:chExt cx="0" cy="0"/>
        </a:xfrm>
      </p:grpSpPr>
      <p:sp>
        <p:nvSpPr>
          <p:cNvPr id="11" name="AutoShape 1"/>
          <p:cNvSpPr>
            <a:spLocks/>
          </p:cNvSpPr>
          <p:nvPr/>
        </p:nvSpPr>
        <p:spPr bwMode="auto">
          <a:xfrm>
            <a:off x="12230100" y="0"/>
            <a:ext cx="12166600" cy="13716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r>
              <a:rPr kumimoji="0" lang="en-US" b="0" i="0" u="none" strike="noStrike" cap="none" normalizeH="0" baseline="0" dirty="0">
                <a:ln>
                  <a:noFill/>
                </a:ln>
                <a:effectLst/>
                <a:latin typeface="+mj-lt"/>
                <a:cs typeface="Arial" panose="020B0604020202020204" pitchFamily="34" charset="0"/>
              </a:rPr>
              <a:t> </a:t>
            </a:r>
          </a:p>
        </p:txBody>
      </p:sp>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17139838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site placeholder 2">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5" name="Picture Placeholder 4"/>
          <p:cNvSpPr>
            <a:spLocks noGrp="1"/>
          </p:cNvSpPr>
          <p:nvPr>
            <p:ph type="pic" sz="quarter" idx="14" hasCustomPrompt="1"/>
          </p:nvPr>
        </p:nvSpPr>
        <p:spPr>
          <a:xfrm>
            <a:off x="1676400" y="5170471"/>
            <a:ext cx="10230466" cy="5188520"/>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txBody>
          <a:bodyPr wrap="square">
            <a:noAutofit/>
          </a:bodyPr>
          <a:lstStyle/>
          <a:p>
            <a:r>
              <a:rPr lang="en-US" dirty="0"/>
              <a:t> </a:t>
            </a:r>
          </a:p>
        </p:txBody>
      </p:sp>
      <p:sp>
        <p:nvSpPr>
          <p:cNvPr id="6" name="Picture Placeholder 5"/>
          <p:cNvSpPr>
            <a:spLocks noGrp="1"/>
          </p:cNvSpPr>
          <p:nvPr>
            <p:ph type="pic" sz="quarter" idx="15" hasCustomPrompt="1"/>
          </p:nvPr>
        </p:nvSpPr>
        <p:spPr>
          <a:xfrm>
            <a:off x="12477134" y="5170471"/>
            <a:ext cx="10230465" cy="5188520"/>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txBody>
          <a:bodyPr wrap="square">
            <a:noAutofit/>
          </a:bodyPr>
          <a:lstStyle/>
          <a:p>
            <a:r>
              <a:rPr lang="en-US" dirty="0"/>
              <a:t> </a:t>
            </a:r>
          </a:p>
        </p:txBody>
      </p:sp>
    </p:spTree>
    <p:extLst>
      <p:ext uri="{BB962C8B-B14F-4D97-AF65-F5344CB8AC3E}">
        <p14:creationId xmlns:p14="http://schemas.microsoft.com/office/powerpoint/2010/main" xmlns="" val="27214913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ite placeholder 3">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8" name="Picture Placeholder 5"/>
          <p:cNvSpPr>
            <a:spLocks noGrp="1"/>
          </p:cNvSpPr>
          <p:nvPr>
            <p:ph type="pic" sz="quarter" idx="14"/>
          </p:nvPr>
        </p:nvSpPr>
        <p:spPr>
          <a:xfrm>
            <a:off x="2743199" y="4354869"/>
            <a:ext cx="12673013" cy="6427291"/>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sp>
      <p:sp>
        <p:nvSpPr>
          <p:cNvPr id="9" name="Picture Placeholder 6"/>
          <p:cNvSpPr>
            <a:spLocks noGrp="1"/>
          </p:cNvSpPr>
          <p:nvPr>
            <p:ph type="pic" sz="quarter" idx="15"/>
          </p:nvPr>
        </p:nvSpPr>
        <p:spPr>
          <a:xfrm>
            <a:off x="15875001" y="3571740"/>
            <a:ext cx="5918199" cy="3013561"/>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sp>
      <p:sp>
        <p:nvSpPr>
          <p:cNvPr id="10" name="Picture Placeholder 7"/>
          <p:cNvSpPr>
            <a:spLocks noGrp="1"/>
          </p:cNvSpPr>
          <p:nvPr>
            <p:ph type="pic" sz="quarter" idx="16"/>
          </p:nvPr>
        </p:nvSpPr>
        <p:spPr>
          <a:xfrm>
            <a:off x="15901988" y="7804617"/>
            <a:ext cx="5918200" cy="3001496"/>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sp>
    </p:spTree>
    <p:extLst>
      <p:ext uri="{BB962C8B-B14F-4D97-AF65-F5344CB8AC3E}">
        <p14:creationId xmlns:p14="http://schemas.microsoft.com/office/powerpoint/2010/main" xmlns="" val="180419803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ite placeholder 4">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Picture Placeholder 3"/>
          <p:cNvSpPr>
            <a:spLocks noGrp="1"/>
          </p:cNvSpPr>
          <p:nvPr>
            <p:ph type="pic" sz="quarter" idx="10" hasCustomPrompt="1"/>
          </p:nvPr>
        </p:nvSpPr>
        <p:spPr>
          <a:xfrm>
            <a:off x="10464800" y="4648200"/>
            <a:ext cx="3514725" cy="6242050"/>
          </a:xfrm>
          <a:prstGeom prst="rect">
            <a:avLst/>
          </a:prstGeom>
        </p:spPr>
        <p:txBody>
          <a:bodyPr/>
          <a:lstStyle/>
          <a:p>
            <a:r>
              <a:rPr lang="en-US" dirty="0"/>
              <a:t> </a:t>
            </a:r>
          </a:p>
        </p:txBody>
      </p:sp>
    </p:spTree>
    <p:extLst>
      <p:ext uri="{BB962C8B-B14F-4D97-AF65-F5344CB8AC3E}">
        <p14:creationId xmlns:p14="http://schemas.microsoft.com/office/powerpoint/2010/main" xmlns="" val="1336811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site placeholder 5">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Picture Placeholder 3"/>
          <p:cNvSpPr>
            <a:spLocks noGrp="1"/>
          </p:cNvSpPr>
          <p:nvPr>
            <p:ph type="pic" sz="quarter" idx="10" hasCustomPrompt="1"/>
          </p:nvPr>
        </p:nvSpPr>
        <p:spPr>
          <a:xfrm>
            <a:off x="12585906" y="4648200"/>
            <a:ext cx="3514725" cy="6242050"/>
          </a:xfrm>
          <a:prstGeom prst="rect">
            <a:avLst/>
          </a:prstGeom>
        </p:spPr>
        <p:txBody>
          <a:bodyPr/>
          <a:lstStyle/>
          <a:p>
            <a:r>
              <a:rPr lang="en-US" dirty="0"/>
              <a:t> </a:t>
            </a:r>
          </a:p>
        </p:txBody>
      </p:sp>
      <p:sp>
        <p:nvSpPr>
          <p:cNvPr id="5" name="Picture Placeholder 3"/>
          <p:cNvSpPr>
            <a:spLocks noGrp="1"/>
          </p:cNvSpPr>
          <p:nvPr>
            <p:ph type="pic" sz="quarter" idx="11" hasCustomPrompt="1"/>
          </p:nvPr>
        </p:nvSpPr>
        <p:spPr>
          <a:xfrm>
            <a:off x="8212026" y="4648200"/>
            <a:ext cx="3514725" cy="6242050"/>
          </a:xfrm>
          <a:prstGeom prst="rect">
            <a:avLst/>
          </a:prstGeom>
        </p:spPr>
        <p:txBody>
          <a:bodyPr/>
          <a:lstStyle/>
          <a:p>
            <a:r>
              <a:rPr lang="en-US" dirty="0"/>
              <a:t> </a:t>
            </a:r>
          </a:p>
        </p:txBody>
      </p:sp>
    </p:spTree>
    <p:extLst>
      <p:ext uri="{BB962C8B-B14F-4D97-AF65-F5344CB8AC3E}">
        <p14:creationId xmlns:p14="http://schemas.microsoft.com/office/powerpoint/2010/main" xmlns="" val="24377195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ite placeholder 7">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Picture Placeholder 3"/>
          <p:cNvSpPr>
            <a:spLocks noGrp="1"/>
          </p:cNvSpPr>
          <p:nvPr>
            <p:ph type="pic" sz="quarter" idx="10" hasCustomPrompt="1"/>
          </p:nvPr>
        </p:nvSpPr>
        <p:spPr>
          <a:xfrm>
            <a:off x="14488160" y="4648200"/>
            <a:ext cx="3514725" cy="6242050"/>
          </a:xfrm>
          <a:prstGeom prst="rect">
            <a:avLst/>
          </a:prstGeom>
        </p:spPr>
        <p:txBody>
          <a:bodyPr/>
          <a:lstStyle/>
          <a:p>
            <a:r>
              <a:rPr lang="en-US" dirty="0"/>
              <a:t> </a:t>
            </a:r>
          </a:p>
        </p:txBody>
      </p:sp>
      <p:sp>
        <p:nvSpPr>
          <p:cNvPr id="5" name="Picture Placeholder 3"/>
          <p:cNvSpPr>
            <a:spLocks noGrp="1"/>
          </p:cNvSpPr>
          <p:nvPr>
            <p:ph type="pic" sz="quarter" idx="11" hasCustomPrompt="1"/>
          </p:nvPr>
        </p:nvSpPr>
        <p:spPr>
          <a:xfrm>
            <a:off x="10114280" y="4648200"/>
            <a:ext cx="3514725" cy="6242050"/>
          </a:xfrm>
          <a:prstGeom prst="rect">
            <a:avLst/>
          </a:prstGeom>
        </p:spPr>
        <p:txBody>
          <a:bodyPr/>
          <a:lstStyle/>
          <a:p>
            <a:r>
              <a:rPr lang="en-US" dirty="0"/>
              <a:t> </a:t>
            </a:r>
          </a:p>
        </p:txBody>
      </p:sp>
      <p:sp>
        <p:nvSpPr>
          <p:cNvPr id="6" name="Picture Placeholder 3"/>
          <p:cNvSpPr>
            <a:spLocks noGrp="1"/>
          </p:cNvSpPr>
          <p:nvPr>
            <p:ph type="pic" sz="quarter" idx="12" hasCustomPrompt="1"/>
          </p:nvPr>
        </p:nvSpPr>
        <p:spPr>
          <a:xfrm>
            <a:off x="5740400" y="4648200"/>
            <a:ext cx="3514725" cy="6242050"/>
          </a:xfrm>
          <a:prstGeom prst="rect">
            <a:avLst/>
          </a:prstGeom>
        </p:spPr>
        <p:txBody>
          <a:bodyPr/>
          <a:lstStyle/>
          <a:p>
            <a:r>
              <a:rPr lang="en-US" dirty="0"/>
              <a:t> </a:t>
            </a:r>
          </a:p>
        </p:txBody>
      </p:sp>
    </p:spTree>
    <p:extLst>
      <p:ext uri="{BB962C8B-B14F-4D97-AF65-F5344CB8AC3E}">
        <p14:creationId xmlns:p14="http://schemas.microsoft.com/office/powerpoint/2010/main" xmlns="" val="20092631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6" name="Freeform 5"/>
          <p:cNvSpPr>
            <a:spLocks/>
          </p:cNvSpPr>
          <p:nvPr userDrawn="1"/>
        </p:nvSpPr>
        <p:spPr bwMode="auto">
          <a:xfrm>
            <a:off x="8742516" y="-14264"/>
            <a:ext cx="15641484" cy="13730264"/>
          </a:xfrm>
          <a:custGeom>
            <a:avLst/>
            <a:gdLst>
              <a:gd name="connsiteX0" fmla="*/ 15641484 w 15641484"/>
              <a:gd name="connsiteY0" fmla="*/ 0 h 13730264"/>
              <a:gd name="connsiteX1" fmla="*/ 15641484 w 15641484"/>
              <a:gd name="connsiteY1" fmla="*/ 13730264 h 13730264"/>
              <a:gd name="connsiteX2" fmla="*/ 0 w 15641484"/>
              <a:gd name="connsiteY2" fmla="*/ 13730264 h 13730264"/>
              <a:gd name="connsiteX3" fmla="*/ 6713211 w 15641484"/>
              <a:gd name="connsiteY3" fmla="*/ 14671 h 13730264"/>
            </a:gdLst>
            <a:ahLst/>
            <a:cxnLst>
              <a:cxn ang="0">
                <a:pos x="connsiteX0" y="connsiteY0"/>
              </a:cxn>
              <a:cxn ang="0">
                <a:pos x="connsiteX1" y="connsiteY1"/>
              </a:cxn>
              <a:cxn ang="0">
                <a:pos x="connsiteX2" y="connsiteY2"/>
              </a:cxn>
              <a:cxn ang="0">
                <a:pos x="connsiteX3" y="connsiteY3"/>
              </a:cxn>
            </a:cxnLst>
            <a:rect l="l" t="t" r="r" b="b"/>
            <a:pathLst>
              <a:path w="15641484" h="13730264">
                <a:moveTo>
                  <a:pt x="15641484" y="0"/>
                </a:moveTo>
                <a:lnTo>
                  <a:pt x="15641484" y="13730264"/>
                </a:lnTo>
                <a:lnTo>
                  <a:pt x="0" y="13730264"/>
                </a:lnTo>
                <a:lnTo>
                  <a:pt x="6713211" y="14671"/>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30011364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middle">
    <p:spTree>
      <p:nvGrpSpPr>
        <p:cNvPr id="1" name=""/>
        <p:cNvGrpSpPr/>
        <p:nvPr/>
      </p:nvGrpSpPr>
      <p:grpSpPr>
        <a:xfrm>
          <a:off x="0" y="0"/>
          <a:ext cx="0" cy="0"/>
          <a:chOff x="0" y="0"/>
          <a:chExt cx="0" cy="0"/>
        </a:xfrm>
      </p:grpSpPr>
      <p:sp>
        <p:nvSpPr>
          <p:cNvPr id="5" name="Freeform 4"/>
          <p:cNvSpPr>
            <a:spLocks/>
          </p:cNvSpPr>
          <p:nvPr userDrawn="1"/>
        </p:nvSpPr>
        <p:spPr bwMode="auto">
          <a:xfrm>
            <a:off x="8742516" y="-14264"/>
            <a:ext cx="15641484" cy="13730264"/>
          </a:xfrm>
          <a:custGeom>
            <a:avLst/>
            <a:gdLst>
              <a:gd name="connsiteX0" fmla="*/ 15641484 w 15641484"/>
              <a:gd name="connsiteY0" fmla="*/ 0 h 13730264"/>
              <a:gd name="connsiteX1" fmla="*/ 15641484 w 15641484"/>
              <a:gd name="connsiteY1" fmla="*/ 13730264 h 13730264"/>
              <a:gd name="connsiteX2" fmla="*/ 0 w 15641484"/>
              <a:gd name="connsiteY2" fmla="*/ 13730264 h 13730264"/>
              <a:gd name="connsiteX3" fmla="*/ 6713211 w 15641484"/>
              <a:gd name="connsiteY3" fmla="*/ 14671 h 13730264"/>
            </a:gdLst>
            <a:ahLst/>
            <a:cxnLst>
              <a:cxn ang="0">
                <a:pos x="connsiteX0" y="connsiteY0"/>
              </a:cxn>
              <a:cxn ang="0">
                <a:pos x="connsiteX1" y="connsiteY1"/>
              </a:cxn>
              <a:cxn ang="0">
                <a:pos x="connsiteX2" y="connsiteY2"/>
              </a:cxn>
              <a:cxn ang="0">
                <a:pos x="connsiteX3" y="connsiteY3"/>
              </a:cxn>
            </a:cxnLst>
            <a:rect l="l" t="t" r="r" b="b"/>
            <a:pathLst>
              <a:path w="15641484" h="13730264">
                <a:moveTo>
                  <a:pt x="15641484" y="0"/>
                </a:moveTo>
                <a:lnTo>
                  <a:pt x="15641484" y="13730264"/>
                </a:lnTo>
                <a:lnTo>
                  <a:pt x="0" y="13730264"/>
                </a:lnTo>
                <a:lnTo>
                  <a:pt x="6713211" y="14671"/>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8" name="Tytuł 7"/>
          <p:cNvSpPr>
            <a:spLocks noGrp="1"/>
          </p:cNvSpPr>
          <p:nvPr>
            <p:ph type="title" hasCustomPrompt="1"/>
          </p:nvPr>
        </p:nvSpPr>
        <p:spPr>
          <a:xfrm>
            <a:off x="6144582" y="7799555"/>
            <a:ext cx="12092408" cy="1508105"/>
          </a:xfrm>
          <a:prstGeom prst="rect">
            <a:avLst/>
          </a:prstGeom>
        </p:spPr>
        <p:txBody>
          <a:bodyPr wrap="square">
            <a:spAutoFit/>
          </a:bodyPr>
          <a:lstStyle>
            <a:lvl1pPr algn="ctr">
              <a:defRPr baseline="0">
                <a:solidFill>
                  <a:schemeClr val="tx1"/>
                </a:solidFill>
              </a:defRPr>
            </a:lvl1pPr>
          </a:lstStyle>
          <a:p>
            <a:r>
              <a:rPr lang="pl-PL" dirty="0"/>
              <a:t>Timelines &amp; Planning</a:t>
            </a:r>
            <a:endParaRPr lang="en-US" dirty="0"/>
          </a:p>
        </p:txBody>
      </p:sp>
      <p:sp>
        <p:nvSpPr>
          <p:cNvPr id="12" name="Text Placeholder 11"/>
          <p:cNvSpPr>
            <a:spLocks noGrp="1"/>
          </p:cNvSpPr>
          <p:nvPr>
            <p:ph type="body" sz="quarter" idx="10" hasCustomPrompt="1"/>
          </p:nvPr>
        </p:nvSpPr>
        <p:spPr>
          <a:xfrm>
            <a:off x="9465006" y="9321948"/>
            <a:ext cx="4838700" cy="876300"/>
          </a:xfrm>
          <a:prstGeom prst="rect">
            <a:avLst/>
          </a:prstGeom>
        </p:spPr>
        <p:txBody>
          <a:bodyPr/>
          <a:lstStyle>
            <a:lvl1pPr marL="0" marR="0" indent="0" algn="ctr" defTabSz="457200" rtl="0" eaLnBrk="1" fontAlgn="base" latinLnBrk="0" hangingPunct="0">
              <a:lnSpc>
                <a:spcPct val="100000"/>
              </a:lnSpc>
              <a:spcBef>
                <a:spcPct val="0"/>
              </a:spcBef>
              <a:spcAft>
                <a:spcPct val="0"/>
              </a:spcAft>
              <a:buClrTx/>
              <a:buSzTx/>
              <a:buFontTx/>
              <a:buNone/>
              <a:tabLst/>
              <a:defRPr sz="4400">
                <a:solidFill>
                  <a:schemeClr val="tx1"/>
                </a:solidFill>
                <a:latin typeface="Lato Regular" panose="020F0502020204030203" pitchFamily="34" charset="0"/>
              </a:defRPr>
            </a:lvl1pPr>
          </a:lstStyle>
          <a:p>
            <a:pPr marL="0" marR="0" lvl="0" indent="0" algn="l" defTabSz="457200" rtl="0" eaLnBrk="1" fontAlgn="base" latinLnBrk="0" hangingPunct="0">
              <a:lnSpc>
                <a:spcPct val="100000"/>
              </a:lnSpc>
              <a:spcBef>
                <a:spcPct val="0"/>
              </a:spcBef>
              <a:spcAft>
                <a:spcPct val="0"/>
              </a:spcAft>
              <a:buClrTx/>
              <a:buSzTx/>
              <a:buFontTx/>
              <a:buNone/>
              <a:tabLst/>
              <a:defRPr/>
            </a:pPr>
            <a:r>
              <a:rPr lang="pl-PL" sz="4400" b="0" dirty="0">
                <a:latin typeface="Lato Regular" panose="020F0502020204030203" pitchFamily="34" charset="0"/>
              </a:rPr>
              <a:t>Pitch Deck Edition</a:t>
            </a:r>
            <a:endParaRPr lang="en-US" sz="4400" b="0" dirty="0">
              <a:latin typeface="Lato Regular" panose="020F0502020204030203" pitchFamily="34" charset="0"/>
            </a:endParaRPr>
          </a:p>
        </p:txBody>
      </p:sp>
    </p:spTree>
    <p:extLst>
      <p:ext uri="{BB962C8B-B14F-4D97-AF65-F5344CB8AC3E}">
        <p14:creationId xmlns:p14="http://schemas.microsoft.com/office/powerpoint/2010/main" xmlns="" val="40512650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icon-pack-bg">
    <p:bg>
      <p:bgPr>
        <a:solidFill>
          <a:srgbClr val="7D3C65"/>
        </a:solidFill>
        <a:effectLst/>
      </p:bgPr>
    </p:bg>
    <p:spTree>
      <p:nvGrpSpPr>
        <p:cNvPr id="1" name=""/>
        <p:cNvGrpSpPr/>
        <p:nvPr/>
      </p:nvGrpSpPr>
      <p:grpSpPr>
        <a:xfrm>
          <a:off x="0" y="0"/>
          <a:ext cx="0" cy="0"/>
          <a:chOff x="0" y="0"/>
          <a:chExt cx="0" cy="0"/>
        </a:xfrm>
      </p:grpSpPr>
      <p:sp>
        <p:nvSpPr>
          <p:cNvPr id="2" name="Shape 2"/>
          <p:cNvSpPr/>
          <p:nvPr userDrawn="1"/>
        </p:nvSpPr>
        <p:spPr>
          <a:xfrm>
            <a:off x="8659680" y="-1"/>
            <a:ext cx="15724320" cy="13716001"/>
          </a:xfrm>
          <a:custGeom>
            <a:avLst/>
            <a:gdLst/>
            <a:ahLst/>
            <a:cxnLst>
              <a:cxn ang="0">
                <a:pos x="wd2" y="hd2"/>
              </a:cxn>
              <a:cxn ang="5400000">
                <a:pos x="wd2" y="hd2"/>
              </a:cxn>
              <a:cxn ang="10800000">
                <a:pos x="wd2" y="hd2"/>
              </a:cxn>
              <a:cxn ang="16200000">
                <a:pos x="wd2" y="hd2"/>
              </a:cxn>
            </a:cxnLst>
            <a:rect l="0" t="0" r="r" b="b"/>
            <a:pathLst>
              <a:path w="21600" h="21600" extrusionOk="0">
                <a:moveTo>
                  <a:pt x="9247" y="23"/>
                </a:moveTo>
                <a:lnTo>
                  <a:pt x="21530" y="0"/>
                </a:lnTo>
                <a:lnTo>
                  <a:pt x="21600" y="21600"/>
                </a:lnTo>
                <a:lnTo>
                  <a:pt x="0" y="21548"/>
                </a:lnTo>
                <a:lnTo>
                  <a:pt x="9247" y="23"/>
                </a:lnTo>
                <a:close/>
              </a:path>
            </a:pathLst>
          </a:custGeom>
          <a:solidFill>
            <a:schemeClr val="tx1">
              <a:lumMod val="75000"/>
              <a:alpha val="7000"/>
            </a:schemeClr>
          </a:solidFill>
          <a:ln w="25400" cap="flat" cmpd="sng" algn="ctr">
            <a:noFill/>
            <a:prstDash val="solid"/>
            <a:miter lim="0"/>
            <a:headEnd type="none" w="med" len="med"/>
            <a:tailEnd type="none" w="med" len="med"/>
          </a:ln>
          <a:effec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19733461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_slide">
    <p:spTree>
      <p:nvGrpSpPr>
        <p:cNvPr id="1" name=""/>
        <p:cNvGrpSpPr/>
        <p:nvPr/>
      </p:nvGrpSpPr>
      <p:grpSpPr>
        <a:xfrm>
          <a:off x="0" y="0"/>
          <a:ext cx="0" cy="0"/>
          <a:chOff x="0" y="0"/>
          <a:chExt cx="0" cy="0"/>
        </a:xfrm>
      </p:grpSpPr>
      <p:sp>
        <p:nvSpPr>
          <p:cNvPr id="6" name="Symbol zastępczy tekstu 3"/>
          <p:cNvSpPr>
            <a:spLocks noGrp="1"/>
          </p:cNvSpPr>
          <p:nvPr>
            <p:ph type="body" sz="quarter" idx="10" hasCustomPrompt="1"/>
          </p:nvPr>
        </p:nvSpPr>
        <p:spPr>
          <a:xfrm>
            <a:off x="1629045" y="7146800"/>
            <a:ext cx="7896785" cy="1080368"/>
          </a:xfrm>
          <a:prstGeom prst="rect">
            <a:avLst/>
          </a:prstGeom>
        </p:spPr>
        <p:txBody>
          <a:bodyPr>
            <a:noAutofit/>
          </a:bodyPr>
          <a:lstStyle>
            <a:lvl1pPr algn="l">
              <a:defRPr sz="4400" b="0" baseline="0">
                <a:solidFill>
                  <a:schemeClr val="tx1">
                    <a:alpha val="95000"/>
                  </a:schemeClr>
                </a:solidFill>
                <a:latin typeface="+mn-lt"/>
              </a:defRPr>
            </a:lvl1pPr>
            <a:lvl2pPr algn="ctr">
              <a:defRPr/>
            </a:lvl2pPr>
            <a:lvl3pPr algn="ctr">
              <a:defRPr/>
            </a:lvl3pPr>
            <a:lvl4pPr algn="ctr">
              <a:defRPr/>
            </a:lvl4pPr>
            <a:lvl5pPr algn="ctr">
              <a:defRPr/>
            </a:lvl5pPr>
          </a:lstStyle>
          <a:p>
            <a:pPr lvl="0"/>
            <a:r>
              <a:rPr lang="pl-PL" dirty="0"/>
              <a:t>Sample Subtitle</a:t>
            </a:r>
          </a:p>
        </p:txBody>
      </p:sp>
      <p:sp>
        <p:nvSpPr>
          <p:cNvPr id="9" name="Tytuł 8"/>
          <p:cNvSpPr>
            <a:spLocks noGrp="1"/>
          </p:cNvSpPr>
          <p:nvPr>
            <p:ph type="title" hasCustomPrompt="1"/>
          </p:nvPr>
        </p:nvSpPr>
        <p:spPr>
          <a:xfrm>
            <a:off x="1629045" y="5638695"/>
            <a:ext cx="6893234" cy="1508105"/>
          </a:xfrm>
          <a:prstGeom prst="rect">
            <a:avLst/>
          </a:prstGeom>
        </p:spPr>
        <p:txBody>
          <a:bodyPr wrap="none">
            <a:spAutoFit/>
          </a:bodyPr>
          <a:lstStyle>
            <a:lvl1pPr algn="ctr">
              <a:defRPr b="0" baseline="0">
                <a:solidFill>
                  <a:schemeClr val="tx1">
                    <a:alpha val="95000"/>
                  </a:schemeClr>
                </a:solidFill>
                <a:latin typeface="Aleo bold" panose="020F0802020204030203" pitchFamily="34" charset="0"/>
              </a:defRPr>
            </a:lvl1pPr>
          </a:lstStyle>
          <a:p>
            <a:r>
              <a:rPr lang="pl-PL" dirty="0"/>
              <a:t>Sample Title</a:t>
            </a:r>
            <a:endParaRPr lang="en-US" dirty="0"/>
          </a:p>
        </p:txBody>
      </p:sp>
      <p:sp>
        <p:nvSpPr>
          <p:cNvPr id="8" name="AutoShape 1"/>
          <p:cNvSpPr>
            <a:spLocks/>
          </p:cNvSpPr>
          <p:nvPr userDrawn="1"/>
        </p:nvSpPr>
        <p:spPr bwMode="auto">
          <a:xfrm>
            <a:off x="8659812" y="0"/>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21767642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ustom bg 6">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7047122" cy="1508105"/>
          </a:xfrm>
          <a:prstGeom prst="rect">
            <a:avLst/>
          </a:prstGeom>
        </p:spPr>
        <p:txBody>
          <a:bodyPr wrap="none">
            <a:spAutoFit/>
          </a:bodyPr>
          <a:lstStyle>
            <a:lvl1pPr>
              <a:defRPr b="0" spc="100" baseline="0">
                <a:solidFill>
                  <a:schemeClr val="tx1"/>
                </a:solidFill>
                <a:latin typeface="Aleo bold" panose="020F0802020204030203" pitchFamily="34" charset="0"/>
              </a:defRPr>
            </a:lvl1pPr>
          </a:lstStyle>
          <a:p>
            <a:r>
              <a:rPr lang="en-US" dirty="0"/>
              <a:t>Sample Title</a:t>
            </a:r>
          </a:p>
        </p:txBody>
      </p:sp>
      <p:sp>
        <p:nvSpPr>
          <p:cNvPr id="2" name="Rectangle 1"/>
          <p:cNvSpPr/>
          <p:nvPr userDrawn="1"/>
        </p:nvSpPr>
        <p:spPr bwMode="auto">
          <a:xfrm>
            <a:off x="0" y="5029200"/>
            <a:ext cx="24384000" cy="4523874"/>
          </a:xfrm>
          <a:prstGeom prst="rect">
            <a:avLst/>
          </a:prstGeom>
          <a:solidFill>
            <a:schemeClr val="tx1">
              <a:lumMod val="75000"/>
              <a:alpha val="7000"/>
            </a:schemeClr>
          </a:solidFill>
          <a:ln w="25400" cap="flat" cmpd="sng" algn="ctr">
            <a:noFill/>
            <a:prstDash val="solid"/>
            <a:miter lim="0"/>
            <a:headEnd type="none" w="med" len="med"/>
            <a:tailEnd type="none" w="med" len="med"/>
          </a:ln>
          <a:effec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indent="0" algn="ctr" defTabSz="825500" rtl="0" eaLnBrk="1" fontAlgn="base" latinLnBrk="0" hangingPunct="0">
              <a:lnSpc>
                <a:spcPct val="100000"/>
              </a:lnSpc>
              <a:spcBef>
                <a:spcPct val="0"/>
              </a:spcBef>
              <a:spcAft>
                <a:spcPct val="0"/>
              </a:spcAft>
              <a:buClrTx/>
              <a:buSzTx/>
              <a:buFontTx/>
              <a:buNone/>
              <a:tabLst/>
            </a:pPr>
            <a:endParaRPr kumimoji="0" lang="pl-PL" sz="5600" b="0" i="0" u="none" strike="noStrike" cap="none" normalizeH="0" baseline="0" dirty="0">
              <a:ln>
                <a:noFill/>
              </a:ln>
              <a:solidFill>
                <a:srgbClr val="000000"/>
              </a:solidFill>
              <a:effectLst/>
              <a:latin typeface="+mj-lt"/>
              <a:ea typeface="Gill Sans" charset="0"/>
              <a:cs typeface="Arial" panose="020B0604020202020204" pitchFamily="34" charset="0"/>
              <a:sym typeface="Gill Sans" charset="0"/>
            </a:endParaRPr>
          </a:p>
        </p:txBody>
      </p:sp>
    </p:spTree>
    <p:extLst>
      <p:ext uri="{BB962C8B-B14F-4D97-AF65-F5344CB8AC3E}">
        <p14:creationId xmlns:p14="http://schemas.microsoft.com/office/powerpoint/2010/main" xmlns="" val="3150447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ustom bg 4">
    <p:spTree>
      <p:nvGrpSpPr>
        <p:cNvPr id="1" name=""/>
        <p:cNvGrpSpPr/>
        <p:nvPr/>
      </p:nvGrpSpPr>
      <p:grpSpPr>
        <a:xfrm>
          <a:off x="0" y="0"/>
          <a:ext cx="0" cy="0"/>
          <a:chOff x="0" y="0"/>
          <a:chExt cx="0" cy="0"/>
        </a:xfrm>
      </p:grpSpPr>
      <p:sp>
        <p:nvSpPr>
          <p:cNvPr id="4" name="AutoShape 1"/>
          <p:cNvSpPr>
            <a:spLocks/>
          </p:cNvSpPr>
          <p:nvPr/>
        </p:nvSpPr>
        <p:spPr bwMode="auto">
          <a:xfrm>
            <a:off x="8724900" y="-14288"/>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10144043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54671" y="1219200"/>
            <a:ext cx="17193336" cy="2641600"/>
          </a:xfrm>
          <a:prstGeom prst="rect">
            <a:avLst/>
          </a:prstGeom>
        </p:spPr>
        <p:txBody>
          <a:bodyPr/>
          <a:lstStyle/>
          <a:p>
            <a:r>
              <a:rPr lang="en-US"/>
              <a:t>Click to edit Master title style</a:t>
            </a:r>
            <a:endParaRPr lang="en-US" dirty="0"/>
          </a:p>
        </p:txBody>
      </p:sp>
      <p:sp>
        <p:nvSpPr>
          <p:cNvPr id="3" name="Date Placeholder 2"/>
          <p:cNvSpPr>
            <a:spLocks noGrp="1"/>
          </p:cNvSpPr>
          <p:nvPr>
            <p:ph type="dt" sz="half" idx="10"/>
          </p:nvPr>
        </p:nvSpPr>
        <p:spPr>
          <a:xfrm>
            <a:off x="14410267" y="12082727"/>
            <a:ext cx="1823877" cy="730250"/>
          </a:xfrm>
          <a:prstGeom prst="rect">
            <a:avLst/>
          </a:prstGeom>
        </p:spPr>
        <p:txBody>
          <a:bodyPr/>
          <a:lstStyle/>
          <a:p>
            <a:fld id="{B61BEF0D-F0BB-DE4B-95CE-6DB70DBA9567}" type="datetimeFigureOut">
              <a:rPr lang="en-US" dirty="0">
                <a:solidFill>
                  <a:prstClr val="black">
                    <a:tint val="75000"/>
                  </a:prstClr>
                </a:solidFill>
              </a:rPr>
              <a:pPr/>
              <a:t>11/13/2016</a:t>
            </a:fld>
            <a:endParaRPr lang="en-US" dirty="0">
              <a:solidFill>
                <a:prstClr val="black">
                  <a:tint val="75000"/>
                </a:prstClr>
              </a:solidFill>
            </a:endParaRPr>
          </a:p>
        </p:txBody>
      </p:sp>
      <p:sp>
        <p:nvSpPr>
          <p:cNvPr id="4" name="Footer Placeholder 3"/>
          <p:cNvSpPr>
            <a:spLocks noGrp="1"/>
          </p:cNvSpPr>
          <p:nvPr>
            <p:ph type="ftr" sz="quarter" idx="11"/>
          </p:nvPr>
        </p:nvSpPr>
        <p:spPr>
          <a:xfrm>
            <a:off x="1354671" y="12082727"/>
            <a:ext cx="12595224" cy="730250"/>
          </a:xfrm>
          <a:prstGeom prst="rect">
            <a:avLst/>
          </a:prstGeom>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17181328" y="12082727"/>
            <a:ext cx="1366677" cy="730250"/>
          </a:xfrm>
          <a:prstGeom prst="rect">
            <a:avLst/>
          </a:prstGeom>
        </p:spPr>
        <p:txBody>
          <a:bodyPr/>
          <a:lstStyle/>
          <a:p>
            <a:fld id="{D57F1E4F-1CFF-5643-939E-217C01CDF565}" type="slidenum">
              <a:rPr lang="en-US" dirty="0">
                <a:solidFill>
                  <a:srgbClr val="90C226"/>
                </a:solidFill>
              </a:rPr>
              <a:pPr/>
              <a:t>‹N°›</a:t>
            </a:fld>
            <a:endParaRPr lang="en-US" dirty="0">
              <a:solidFill>
                <a:srgbClr val="90C226"/>
              </a:solidFill>
            </a:endParaRPr>
          </a:p>
        </p:txBody>
      </p:sp>
    </p:spTree>
    <p:extLst>
      <p:ext uri="{BB962C8B-B14F-4D97-AF65-F5344CB8AC3E}">
        <p14:creationId xmlns:p14="http://schemas.microsoft.com/office/powerpoint/2010/main" xmlns="" val="6830280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Mac Preview">
    <p:spTree>
      <p:nvGrpSpPr>
        <p:cNvPr id="1" name=""/>
        <p:cNvGrpSpPr/>
        <p:nvPr/>
      </p:nvGrpSpPr>
      <p:grpSpPr>
        <a:xfrm>
          <a:off x="0" y="0"/>
          <a:ext cx="0" cy="0"/>
          <a:chOff x="0" y="0"/>
          <a:chExt cx="0" cy="0"/>
        </a:xfrm>
      </p:grpSpPr>
      <p:sp>
        <p:nvSpPr>
          <p:cNvPr id="6" name="AutoShape 1"/>
          <p:cNvSpPr>
            <a:spLocks/>
          </p:cNvSpPr>
          <p:nvPr userDrawn="1"/>
        </p:nvSpPr>
        <p:spPr bwMode="auto">
          <a:xfrm>
            <a:off x="7231497" y="-3834"/>
            <a:ext cx="17431902" cy="13803971"/>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 name="connsiteX0" fmla="*/ 11798 w 21600"/>
              <a:gd name="connsiteY0" fmla="*/ 0 h 21606"/>
              <a:gd name="connsiteX1" fmla="*/ 21530 w 21600"/>
              <a:gd name="connsiteY1" fmla="*/ 6 h 21606"/>
              <a:gd name="connsiteX2" fmla="*/ 21600 w 21600"/>
              <a:gd name="connsiteY2" fmla="*/ 21606 h 21606"/>
              <a:gd name="connsiteX3" fmla="*/ 0 w 21600"/>
              <a:gd name="connsiteY3" fmla="*/ 21553 h 21606"/>
              <a:gd name="connsiteX4" fmla="*/ 11798 w 21600"/>
              <a:gd name="connsiteY4" fmla="*/ 0 h 21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1606">
                <a:moveTo>
                  <a:pt x="11798" y="0"/>
                </a:moveTo>
                <a:lnTo>
                  <a:pt x="21530" y="6"/>
                </a:lnTo>
                <a:cubicBezTo>
                  <a:pt x="21553" y="7206"/>
                  <a:pt x="21577" y="14406"/>
                  <a:pt x="21600" y="21606"/>
                </a:cubicBezTo>
                <a:lnTo>
                  <a:pt x="0" y="21553"/>
                </a:lnTo>
                <a:lnTo>
                  <a:pt x="11798" y="0"/>
                </a:lnTo>
                <a:close/>
              </a:path>
            </a:pathLst>
          </a:custGeom>
          <a:solidFill>
            <a:schemeClr val="tx1">
              <a:lumMod val="75000"/>
              <a:alpha val="9000"/>
            </a:schemeClr>
          </a:solidFill>
          <a:ln>
            <a:noFill/>
          </a:ln>
          <a:effectLst/>
          <a:extLst/>
        </p:spPr>
        <p:txBody>
          <a:bodyPr wrap="square" lIns="38100" tIns="38100" rIns="38100" bIns="38100" anchor="ctr">
            <a:noAutofit/>
          </a:bodyPr>
          <a:lstStyle/>
          <a:p>
            <a:pPr lvl="0" defTabSz="457200"/>
            <a:endParaRPr lang="en-US" sz="3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nvGrpSpPr>
          <p:cNvPr id="30" name="Group 29"/>
          <p:cNvGrpSpPr/>
          <p:nvPr userDrawn="1"/>
        </p:nvGrpSpPr>
        <p:grpSpPr>
          <a:xfrm>
            <a:off x="1442306" y="9755187"/>
            <a:ext cx="18509202" cy="2290529"/>
            <a:chOff x="1344613" y="4179316"/>
            <a:chExt cx="21704300" cy="3797300"/>
          </a:xfrm>
        </p:grpSpPr>
        <p:grpSp>
          <p:nvGrpSpPr>
            <p:cNvPr id="7" name="Group 6"/>
            <p:cNvGrpSpPr/>
            <p:nvPr userDrawn="1"/>
          </p:nvGrpSpPr>
          <p:grpSpPr>
            <a:xfrm>
              <a:off x="1344613" y="4179316"/>
              <a:ext cx="3797300" cy="3797300"/>
              <a:chOff x="1774599" y="9001126"/>
              <a:chExt cx="3797300" cy="3797300"/>
            </a:xfrm>
          </p:grpSpPr>
          <p:sp>
            <p:nvSpPr>
              <p:cNvPr id="8" name="AutoShape 11"/>
              <p:cNvSpPr>
                <a:spLocks/>
              </p:cNvSpPr>
              <p:nvPr userDrawn="1"/>
            </p:nvSpPr>
            <p:spPr bwMode="auto">
              <a:xfrm>
                <a:off x="1774599" y="9001126"/>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9" name="Freeform 8"/>
              <p:cNvSpPr>
                <a:spLocks/>
              </p:cNvSpPr>
              <p:nvPr userDrawn="1"/>
            </p:nvSpPr>
            <p:spPr bwMode="auto">
              <a:xfrm>
                <a:off x="3271612" y="10027801"/>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tx2">
                  <a:lumMod val="75000"/>
                  <a:alpha val="50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10" name="AutoShape 13"/>
              <p:cNvSpPr>
                <a:spLocks/>
              </p:cNvSpPr>
              <p:nvPr userDrawn="1"/>
            </p:nvSpPr>
            <p:spPr bwMode="auto">
              <a:xfrm>
                <a:off x="2350861" y="9558338"/>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nvGrpSpPr>
            <p:cNvPr id="11" name="Group 10"/>
            <p:cNvGrpSpPr/>
            <p:nvPr userDrawn="1"/>
          </p:nvGrpSpPr>
          <p:grpSpPr>
            <a:xfrm>
              <a:off x="7313613" y="4179316"/>
              <a:ext cx="3797300" cy="3797300"/>
              <a:chOff x="7448608" y="8868229"/>
              <a:chExt cx="3797300" cy="3797300"/>
            </a:xfrm>
          </p:grpSpPr>
          <p:sp>
            <p:nvSpPr>
              <p:cNvPr id="12" name="AutoShape 11"/>
              <p:cNvSpPr>
                <a:spLocks/>
              </p:cNvSpPr>
              <p:nvPr userDrawn="1"/>
            </p:nvSpPr>
            <p:spPr bwMode="auto">
              <a:xfrm>
                <a:off x="7448608" y="8868229"/>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13" name="Freeform 12"/>
              <p:cNvSpPr>
                <a:spLocks/>
              </p:cNvSpPr>
              <p:nvPr userDrawn="1"/>
            </p:nvSpPr>
            <p:spPr bwMode="auto">
              <a:xfrm>
                <a:off x="8945621" y="9894904"/>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6">
                  <a:lumMod val="75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14" name="AutoShape 13"/>
              <p:cNvSpPr>
                <a:spLocks/>
              </p:cNvSpPr>
              <p:nvPr userDrawn="1"/>
            </p:nvSpPr>
            <p:spPr bwMode="auto">
              <a:xfrm>
                <a:off x="8024870" y="9425441"/>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6"/>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nvGrpSpPr>
            <p:cNvPr id="15" name="Group 14"/>
            <p:cNvGrpSpPr/>
            <p:nvPr userDrawn="1"/>
          </p:nvGrpSpPr>
          <p:grpSpPr>
            <a:xfrm>
              <a:off x="13282613" y="4179316"/>
              <a:ext cx="3797300" cy="3797300"/>
              <a:chOff x="12986999" y="8868229"/>
              <a:chExt cx="3797300" cy="3797300"/>
            </a:xfrm>
          </p:grpSpPr>
          <p:sp>
            <p:nvSpPr>
              <p:cNvPr id="16" name="AutoShape 11"/>
              <p:cNvSpPr>
                <a:spLocks/>
              </p:cNvSpPr>
              <p:nvPr userDrawn="1"/>
            </p:nvSpPr>
            <p:spPr bwMode="auto">
              <a:xfrm>
                <a:off x="12986999" y="8868229"/>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17" name="Freeform 16"/>
              <p:cNvSpPr>
                <a:spLocks/>
              </p:cNvSpPr>
              <p:nvPr userDrawn="1"/>
            </p:nvSpPr>
            <p:spPr bwMode="auto">
              <a:xfrm>
                <a:off x="14484012" y="9894904"/>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3">
                  <a:lumMod val="75000"/>
                  <a:alpha val="50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18" name="AutoShape 13"/>
              <p:cNvSpPr>
                <a:spLocks/>
              </p:cNvSpPr>
              <p:nvPr userDrawn="1"/>
            </p:nvSpPr>
            <p:spPr bwMode="auto">
              <a:xfrm>
                <a:off x="13563261" y="9425441"/>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4"/>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nvGrpSpPr>
            <p:cNvPr id="19" name="Group 18"/>
            <p:cNvGrpSpPr/>
            <p:nvPr userDrawn="1"/>
          </p:nvGrpSpPr>
          <p:grpSpPr>
            <a:xfrm>
              <a:off x="19251613" y="4179316"/>
              <a:ext cx="3797300" cy="3797300"/>
              <a:chOff x="18828205" y="9201735"/>
              <a:chExt cx="3797300" cy="3797300"/>
            </a:xfrm>
          </p:grpSpPr>
          <p:sp>
            <p:nvSpPr>
              <p:cNvPr id="20" name="AutoShape 11"/>
              <p:cNvSpPr>
                <a:spLocks/>
              </p:cNvSpPr>
              <p:nvPr userDrawn="1"/>
            </p:nvSpPr>
            <p:spPr bwMode="auto">
              <a:xfrm>
                <a:off x="18828205" y="9201735"/>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
            <p:nvSpPr>
              <p:cNvPr id="21" name="Freeform 20"/>
              <p:cNvSpPr>
                <a:spLocks/>
              </p:cNvSpPr>
              <p:nvPr userDrawn="1"/>
            </p:nvSpPr>
            <p:spPr bwMode="auto">
              <a:xfrm>
                <a:off x="20325218" y="10228410"/>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2">
                  <a:lumMod val="75000"/>
                </a:schemeClr>
              </a:solidFill>
              <a:ln>
                <a:noFill/>
              </a:ln>
              <a:effectLst/>
              <a:extLst/>
            </p:spPr>
            <p:txBody>
              <a:bodyPr wrap="square" lIns="0" tIns="0" rIns="0" bIns="0" anchor="ctr">
                <a:noAutofit/>
              </a:bodyPr>
              <a:lstStyle/>
              <a:p>
                <a:endParaRPr lang="en-US" dirty="0">
                  <a:latin typeface="Lato" panose="020F0502020204030203" pitchFamily="34" charset="0"/>
                  <a:cs typeface="Arial" panose="020B0604020202020204" pitchFamily="34" charset="0"/>
                </a:endParaRPr>
              </a:p>
            </p:txBody>
          </p:sp>
          <p:sp>
            <p:nvSpPr>
              <p:cNvPr id="22" name="AutoShape 13"/>
              <p:cNvSpPr>
                <a:spLocks/>
              </p:cNvSpPr>
              <p:nvPr userDrawn="1"/>
            </p:nvSpPr>
            <p:spPr bwMode="auto">
              <a:xfrm>
                <a:off x="19404467" y="9758947"/>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grpSp>
      </p:grpSp>
      <p:pic>
        <p:nvPicPr>
          <p:cNvPr id="27" name="Picture 6" descr="droppedImage.pdf"/>
          <p:cNvPicPr>
            <a:picLocks noChangeAspect="1"/>
          </p:cNvPicPr>
          <p:nvPr userDrawn="1"/>
        </p:nvPicPr>
        <p:blipFill rotWithShape="1">
          <a:blip r:embed="rId2">
            <a:extLst>
              <a:ext uri="{28A0092B-C50C-407E-A947-70E740481C1C}">
                <a14:useLocalDpi xmlns:a14="http://schemas.microsoft.com/office/drawing/2010/main" xmlns="" val="0"/>
              </a:ext>
            </a:extLst>
          </a:blip>
          <a:srcRect l="66906"/>
          <a:stretch/>
        </p:blipFill>
        <p:spPr bwMode="auto">
          <a:xfrm>
            <a:off x="17989846" y="902367"/>
            <a:ext cx="4806355" cy="339023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23" name="Picture 22"/>
          <p:cNvPicPr>
            <a:picLocks noChangeAspect="1"/>
          </p:cNvPicPr>
          <p:nvPr userDrawn="1"/>
        </p:nvPicPr>
        <p:blipFill>
          <a:blip r:embed="rId3"/>
          <a:stretch>
            <a:fillRect/>
          </a:stretch>
        </p:blipFill>
        <p:spPr>
          <a:xfrm>
            <a:off x="1082291" y="2254039"/>
            <a:ext cx="10050505" cy="4279074"/>
          </a:xfrm>
          <a:prstGeom prst="rect">
            <a:avLst/>
          </a:prstGeom>
        </p:spPr>
      </p:pic>
    </p:spTree>
    <p:extLst>
      <p:ext uri="{BB962C8B-B14F-4D97-AF65-F5344CB8AC3E}">
        <p14:creationId xmlns:p14="http://schemas.microsoft.com/office/powerpoint/2010/main" xmlns="" val="29384750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6909047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22884138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custom bg 1">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AutoShape 5"/>
          <p:cNvSpPr>
            <a:spLocks/>
          </p:cNvSpPr>
          <p:nvPr/>
        </p:nvSpPr>
        <p:spPr bwMode="auto">
          <a:xfrm>
            <a:off x="0" y="10083800"/>
            <a:ext cx="24384000" cy="3632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6169226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custom bg 2">
    <p:spTree>
      <p:nvGrpSpPr>
        <p:cNvPr id="1" name=""/>
        <p:cNvGrpSpPr/>
        <p:nvPr/>
      </p:nvGrpSpPr>
      <p:grpSpPr>
        <a:xfrm>
          <a:off x="0" y="0"/>
          <a:ext cx="0" cy="0"/>
          <a:chOff x="0" y="0"/>
          <a:chExt cx="0" cy="0"/>
        </a:xfrm>
      </p:grpSpPr>
      <p:sp>
        <p:nvSpPr>
          <p:cNvPr id="5" name="AutoShape 5"/>
          <p:cNvSpPr>
            <a:spLocks/>
          </p:cNvSpPr>
          <p:nvPr/>
        </p:nvSpPr>
        <p:spPr bwMode="auto">
          <a:xfrm>
            <a:off x="-76200" y="10083800"/>
            <a:ext cx="24549100" cy="37846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6" name="Symbol zastępczy tekstu 3"/>
          <p:cNvSpPr>
            <a:spLocks noGrp="1"/>
          </p:cNvSpPr>
          <p:nvPr>
            <p:ph type="body" sz="quarter" idx="10" hasCustomPrompt="1"/>
          </p:nvPr>
        </p:nvSpPr>
        <p:spPr>
          <a:xfrm>
            <a:off x="6257951" y="12086077"/>
            <a:ext cx="11880798" cy="1080368"/>
          </a:xfrm>
          <a:prstGeom prst="rect">
            <a:avLst/>
          </a:prstGeom>
        </p:spPr>
        <p:txBody>
          <a:bodyPr>
            <a:noAutofit/>
          </a:bodyPr>
          <a:lstStyle>
            <a:lvl1pPr algn="ctr">
              <a:defRPr sz="4400" b="1" baseline="0">
                <a:solidFill>
                  <a:schemeClr val="tx1"/>
                </a:solidFill>
                <a:latin typeface="Aleo" panose="020F0502020204030203" pitchFamily="34" charset="0"/>
              </a:defRPr>
            </a:lvl1pPr>
            <a:lvl2pPr algn="ctr">
              <a:defRPr/>
            </a:lvl2pPr>
            <a:lvl3pPr algn="ctr">
              <a:defRPr/>
            </a:lvl3pPr>
            <a:lvl4pPr algn="ctr">
              <a:defRPr/>
            </a:lvl4pPr>
            <a:lvl5pPr algn="ctr">
              <a:defRPr/>
            </a:lvl5pPr>
          </a:lstStyle>
          <a:p>
            <a:pPr lvl="0"/>
            <a:r>
              <a:rPr lang="en-US" dirty="0"/>
              <a:t>Click here to add your own subtitle</a:t>
            </a:r>
            <a:endParaRPr lang="pl-PL" dirty="0"/>
          </a:p>
        </p:txBody>
      </p:sp>
      <p:sp>
        <p:nvSpPr>
          <p:cNvPr id="9" name="Tytuł 8"/>
          <p:cNvSpPr>
            <a:spLocks noGrp="1"/>
          </p:cNvSpPr>
          <p:nvPr>
            <p:ph type="title" hasCustomPrompt="1"/>
          </p:nvPr>
        </p:nvSpPr>
        <p:spPr>
          <a:xfrm>
            <a:off x="8751734" y="10475390"/>
            <a:ext cx="6893234" cy="1508105"/>
          </a:xfrm>
          <a:prstGeom prst="rect">
            <a:avLst/>
          </a:prstGeom>
        </p:spPr>
        <p:txBody>
          <a:bodyPr wrap="none">
            <a:spAutoFit/>
          </a:bodyPr>
          <a:lstStyle>
            <a:lvl1pPr algn="ctr">
              <a:defRPr baseline="0">
                <a:solidFill>
                  <a:schemeClr val="tx1"/>
                </a:solidFill>
              </a:defRPr>
            </a:lvl1pPr>
          </a:lstStyle>
          <a:p>
            <a:r>
              <a:rPr lang="en-US" dirty="0"/>
              <a:t>Sample Title</a:t>
            </a:r>
          </a:p>
        </p:txBody>
      </p:sp>
    </p:spTree>
    <p:extLst>
      <p:ext uri="{BB962C8B-B14F-4D97-AF65-F5344CB8AC3E}">
        <p14:creationId xmlns:p14="http://schemas.microsoft.com/office/powerpoint/2010/main" xmlns="" val="11316247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custom bg 3">
    <p:spTree>
      <p:nvGrpSpPr>
        <p:cNvPr id="1" name=""/>
        <p:cNvGrpSpPr/>
        <p:nvPr/>
      </p:nvGrpSpPr>
      <p:grpSpPr>
        <a:xfrm>
          <a:off x="0" y="0"/>
          <a:ext cx="0" cy="0"/>
          <a:chOff x="0" y="0"/>
          <a:chExt cx="0" cy="0"/>
        </a:xfrm>
      </p:grpSpPr>
      <p:sp>
        <p:nvSpPr>
          <p:cNvPr id="11" name="AutoShape 1"/>
          <p:cNvSpPr>
            <a:spLocks/>
          </p:cNvSpPr>
          <p:nvPr/>
        </p:nvSpPr>
        <p:spPr bwMode="auto">
          <a:xfrm>
            <a:off x="12230100" y="0"/>
            <a:ext cx="12166600" cy="13716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r>
              <a:rPr kumimoji="0" lang="en-US" b="0" i="0" u="none" strike="noStrike" cap="none" normalizeH="0" baseline="0" dirty="0">
                <a:ln>
                  <a:noFill/>
                </a:ln>
                <a:effectLst/>
                <a:latin typeface="+mj-lt"/>
                <a:cs typeface="Arial" panose="020B0604020202020204" pitchFamily="34" charset="0"/>
              </a:rPr>
              <a:t> </a:t>
            </a:r>
          </a:p>
        </p:txBody>
      </p:sp>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2984216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ustom bg 4">
    <p:spTree>
      <p:nvGrpSpPr>
        <p:cNvPr id="1" name=""/>
        <p:cNvGrpSpPr/>
        <p:nvPr/>
      </p:nvGrpSpPr>
      <p:grpSpPr>
        <a:xfrm>
          <a:off x="0" y="0"/>
          <a:ext cx="0" cy="0"/>
          <a:chOff x="0" y="0"/>
          <a:chExt cx="0" cy="0"/>
        </a:xfrm>
      </p:grpSpPr>
      <p:sp>
        <p:nvSpPr>
          <p:cNvPr id="4" name="AutoShape 1"/>
          <p:cNvSpPr>
            <a:spLocks/>
          </p:cNvSpPr>
          <p:nvPr/>
        </p:nvSpPr>
        <p:spPr bwMode="auto">
          <a:xfrm>
            <a:off x="8724900" y="-14288"/>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xmlns="" val="17032063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custom bg 5">
    <p:spTree>
      <p:nvGrpSpPr>
        <p:cNvPr id="1" name=""/>
        <p:cNvGrpSpPr/>
        <p:nvPr/>
      </p:nvGrpSpPr>
      <p:grpSpPr>
        <a:xfrm>
          <a:off x="0" y="0"/>
          <a:ext cx="0" cy="0"/>
          <a:chOff x="0" y="0"/>
          <a:chExt cx="0" cy="0"/>
        </a:xfrm>
      </p:grpSpPr>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6" name="AutoShape 1"/>
          <p:cNvSpPr>
            <a:spLocks/>
          </p:cNvSpPr>
          <p:nvPr/>
        </p:nvSpPr>
        <p:spPr bwMode="auto">
          <a:xfrm>
            <a:off x="0" y="3835400"/>
            <a:ext cx="24371300" cy="4470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39751155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custom placeholder 2">
    <p:spTree>
      <p:nvGrpSpPr>
        <p:cNvPr id="1" name=""/>
        <p:cNvGrpSpPr/>
        <p:nvPr/>
      </p:nvGrpSpPr>
      <p:grpSpPr>
        <a:xfrm>
          <a:off x="0" y="0"/>
          <a:ext cx="0" cy="0"/>
          <a:chOff x="0" y="0"/>
          <a:chExt cx="0" cy="0"/>
        </a:xfrm>
      </p:grpSpPr>
      <p:sp>
        <p:nvSpPr>
          <p:cNvPr id="2" name="Rectangle 1"/>
          <p:cNvSpPr/>
          <p:nvPr userDrawn="1"/>
        </p:nvSpPr>
        <p:spPr bwMode="auto">
          <a:xfrm>
            <a:off x="0" y="0"/>
            <a:ext cx="24384000"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0" y="0"/>
            <a:ext cx="24384000" cy="13716000"/>
          </a:xfrm>
          <a:prstGeom prst="rect">
            <a:avLst/>
          </a:prstGeom>
        </p:spPr>
        <p:txBody>
          <a:bodyPr/>
          <a:lstStyle/>
          <a:p>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rgbClr val="FFFFFF"/>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17656889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ustom bg 5">
    <p:spTree>
      <p:nvGrpSpPr>
        <p:cNvPr id="1" name=""/>
        <p:cNvGrpSpPr/>
        <p:nvPr/>
      </p:nvGrpSpPr>
      <p:grpSpPr>
        <a:xfrm>
          <a:off x="0" y="0"/>
          <a:ext cx="0" cy="0"/>
          <a:chOff x="0" y="0"/>
          <a:chExt cx="0" cy="0"/>
        </a:xfrm>
      </p:grpSpPr>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6" name="AutoShape 1"/>
          <p:cNvSpPr>
            <a:spLocks/>
          </p:cNvSpPr>
          <p:nvPr/>
        </p:nvSpPr>
        <p:spPr bwMode="auto">
          <a:xfrm>
            <a:off x="0" y="3835400"/>
            <a:ext cx="24371300" cy="4470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9357124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custom placeholder 3">
    <p:spTree>
      <p:nvGrpSpPr>
        <p:cNvPr id="1" name=""/>
        <p:cNvGrpSpPr/>
        <p:nvPr/>
      </p:nvGrpSpPr>
      <p:grpSpPr>
        <a:xfrm>
          <a:off x="0" y="0"/>
          <a:ext cx="0" cy="0"/>
          <a:chOff x="0" y="0"/>
          <a:chExt cx="0" cy="0"/>
        </a:xfrm>
      </p:grpSpPr>
      <p:sp>
        <p:nvSpPr>
          <p:cNvPr id="8" name="Rectangle 7"/>
          <p:cNvSpPr/>
          <p:nvPr userDrawn="1"/>
        </p:nvSpPr>
        <p:spPr bwMode="auto">
          <a:xfrm>
            <a:off x="0" y="0"/>
            <a:ext cx="24384000"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0" y="0"/>
            <a:ext cx="24384000" cy="13716000"/>
          </a:xfrm>
          <a:prstGeom prst="rect">
            <a:avLst/>
          </a:prstGeom>
          <a:noFill/>
        </p:spPr>
        <p:txBody>
          <a:bodyPr/>
          <a:lstStyle/>
          <a:p>
            <a:r>
              <a:rPr lang="en-US" dirty="0"/>
              <a:t> </a:t>
            </a:r>
          </a:p>
        </p:txBody>
      </p:sp>
      <p:sp>
        <p:nvSpPr>
          <p:cNvPr id="7" name="Text Placeholder 6"/>
          <p:cNvSpPr>
            <a:spLocks noGrp="1"/>
          </p:cNvSpPr>
          <p:nvPr>
            <p:ph type="body" sz="quarter" idx="11" hasCustomPrompt="1"/>
          </p:nvPr>
        </p:nvSpPr>
        <p:spPr>
          <a:xfrm>
            <a:off x="-12700" y="9639300"/>
            <a:ext cx="24396700" cy="3606800"/>
          </a:xfrm>
          <a:prstGeom prst="rect">
            <a:avLst/>
          </a:prstGeom>
          <a:solidFill>
            <a:srgbClr val="FFFFFF">
              <a:alpha val="89999"/>
            </a:srgbClr>
          </a:solidFill>
          <a:ln w="12700" cap="flat" cmpd="sng">
            <a:solidFill>
              <a:srgbClr val="FFFFFF"/>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a:defRPr lang="en-US" sz="4000" dirty="0">
                <a:solidFill>
                  <a:srgbClr val="FFFFFF"/>
                </a:solidFill>
                <a:effectLst>
                  <a:outerShdw blurRad="38100" dist="38100" dir="2700000" algn="tl">
                    <a:srgbClr val="C0C0C0"/>
                  </a:outerShdw>
                </a:effectLst>
                <a:latin typeface="Lato" panose="020F0502020204030203" pitchFamily="34" charset="0"/>
                <a:ea typeface="Lato" panose="020F0502020204030203" pitchFamily="34" charset="0"/>
                <a:cs typeface="Arial" panose="020B0604020202020204" pitchFamily="34" charset="0"/>
                <a:sym typeface="Gill Sans" charset="0"/>
              </a:defRPr>
            </a:lvl1pPr>
          </a:lstStyle>
          <a:p>
            <a:pPr lvl="0" algn="ctr" defTabSz="584200"/>
            <a:r>
              <a:rPr lang="en-US" dirty="0"/>
              <a:t> </a:t>
            </a:r>
          </a:p>
        </p:txBody>
      </p:sp>
      <p:sp>
        <p:nvSpPr>
          <p:cNvPr id="11" name="Text Placeholder 10"/>
          <p:cNvSpPr>
            <a:spLocks noGrp="1"/>
          </p:cNvSpPr>
          <p:nvPr>
            <p:ph type="body" sz="quarter" idx="12" hasCustomPrompt="1"/>
          </p:nvPr>
        </p:nvSpPr>
        <p:spPr>
          <a:xfrm>
            <a:off x="3397250" y="10377954"/>
            <a:ext cx="17576800" cy="1938992"/>
          </a:xfrm>
          <a:prstGeom prst="rect">
            <a:avLst/>
          </a:prstGeom>
        </p:spPr>
        <p:txBody>
          <a:bodyPr wrap="square" anchor="ctr">
            <a:spAutoFit/>
          </a:bodyPr>
          <a:lstStyle>
            <a:lvl1pPr algn="ctr">
              <a:defRPr sz="4000" baseline="0"/>
            </a:lvl1pPr>
          </a:lstStyle>
          <a:p>
            <a:pPr lvl="0"/>
            <a:r>
              <a:rPr lang="en-US" dirty="0"/>
              <a:t> Describe your thoughts with Lorem ipsum dolor sit </a:t>
            </a:r>
            <a:r>
              <a:rPr lang="en-US" dirty="0" err="1"/>
              <a:t>amet</a:t>
            </a:r>
            <a:r>
              <a:rPr lang="en-US" dirty="0"/>
              <a:t>, as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lor </a:t>
            </a:r>
            <a:r>
              <a:rPr lang="en-US" dirty="0" err="1"/>
              <a:t>odio</a:t>
            </a:r>
            <a:r>
              <a:rPr lang="en-US" dirty="0"/>
              <a:t>, </a:t>
            </a:r>
            <a:r>
              <a:rPr lang="en-US" dirty="0" err="1"/>
              <a:t>aliquet</a:t>
            </a:r>
            <a:r>
              <a:rPr lang="en-US" dirty="0"/>
              <a:t> </a:t>
            </a:r>
            <a:r>
              <a:rPr lang="en-US" dirty="0" err="1"/>
              <a:t>vel</a:t>
            </a:r>
            <a:r>
              <a:rPr lang="en-US" dirty="0"/>
              <a:t> </a:t>
            </a:r>
            <a:r>
              <a:rPr lang="en-US" dirty="0" err="1"/>
              <a:t>tincidunt</a:t>
            </a:r>
            <a:r>
              <a:rPr lang="en-US" dirty="0"/>
              <a:t> </a:t>
            </a:r>
            <a:r>
              <a:rPr lang="en-US" dirty="0" err="1"/>
              <a:t>eu</a:t>
            </a:r>
            <a:r>
              <a:rPr lang="en-US" dirty="0"/>
              <a:t>, </a:t>
            </a:r>
            <a:r>
              <a:rPr lang="en-US" dirty="0" err="1"/>
              <a:t>lobortis</a:t>
            </a:r>
            <a:r>
              <a:rPr lang="en-US" dirty="0"/>
              <a:t> at </a:t>
            </a:r>
            <a:r>
              <a:rPr lang="en-US" dirty="0" err="1"/>
              <a:t>justo</a:t>
            </a:r>
            <a:r>
              <a:rPr lang="en-US" dirty="0"/>
              <a:t>. </a:t>
            </a:r>
            <a:r>
              <a:rPr lang="en-US" dirty="0" err="1"/>
              <a:t>Sed</a:t>
            </a:r>
            <a:r>
              <a:rPr lang="en-US" dirty="0"/>
              <a:t> </a:t>
            </a:r>
            <a:r>
              <a:rPr lang="en-US" dirty="0" err="1"/>
              <a:t>tristique</a:t>
            </a:r>
            <a:r>
              <a:rPr lang="en-US" dirty="0"/>
              <a:t> dui </a:t>
            </a:r>
            <a:r>
              <a:rPr lang="en-US" dirty="0" err="1"/>
              <a:t>adipiscing</a:t>
            </a:r>
            <a:r>
              <a:rPr lang="en-US" dirty="0"/>
              <a:t> magna </a:t>
            </a:r>
            <a:r>
              <a:rPr lang="en-US" dirty="0" err="1"/>
              <a:t>interdum</a:t>
            </a:r>
            <a:r>
              <a:rPr lang="en-US" dirty="0"/>
              <a:t>, </a:t>
            </a:r>
            <a:r>
              <a:rPr lang="en-US" dirty="0" err="1"/>
              <a:t>sed</a:t>
            </a:r>
            <a:r>
              <a:rPr lang="en-US" dirty="0"/>
              <a:t> </a:t>
            </a:r>
            <a:r>
              <a:rPr lang="en-US" dirty="0" err="1"/>
              <a:t>molestie</a:t>
            </a:r>
            <a:r>
              <a:rPr lang="en-US" dirty="0"/>
              <a:t> </a:t>
            </a:r>
            <a:r>
              <a:rPr lang="en-US" dirty="0" err="1"/>
              <a:t>nunc</a:t>
            </a:r>
            <a:r>
              <a:rPr lang="en-US" dirty="0"/>
              <a:t> </a:t>
            </a:r>
            <a:r>
              <a:rPr lang="en-US" dirty="0" err="1"/>
              <a:t>vulputate</a:t>
            </a:r>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rgbClr val="FFFFFF"/>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33584248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custom placeholder 4">
    <p:spTree>
      <p:nvGrpSpPr>
        <p:cNvPr id="1" name=""/>
        <p:cNvGrpSpPr/>
        <p:nvPr/>
      </p:nvGrpSpPr>
      <p:grpSpPr>
        <a:xfrm>
          <a:off x="0" y="0"/>
          <a:ext cx="0" cy="0"/>
          <a:chOff x="0" y="0"/>
          <a:chExt cx="0" cy="0"/>
        </a:xfrm>
      </p:grpSpPr>
      <p:sp>
        <p:nvSpPr>
          <p:cNvPr id="6" name="Rectangle 5"/>
          <p:cNvSpPr/>
          <p:nvPr userDrawn="1"/>
        </p:nvSpPr>
        <p:spPr bwMode="auto">
          <a:xfrm>
            <a:off x="12973050" y="0"/>
            <a:ext cx="11410950"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12195048" y="0"/>
            <a:ext cx="12188952" cy="13716000"/>
          </a:xfrm>
          <a:prstGeom prst="rect">
            <a:avLst/>
          </a:prstGeom>
          <a:noFill/>
        </p:spPr>
        <p:txBody>
          <a:bodyPr/>
          <a:lstStyle/>
          <a:p>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chemeClr val="tx1"/>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46164774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ustom placeholder 5">
    <p:spTree>
      <p:nvGrpSpPr>
        <p:cNvPr id="1" name=""/>
        <p:cNvGrpSpPr/>
        <p:nvPr/>
      </p:nvGrpSpPr>
      <p:grpSpPr>
        <a:xfrm>
          <a:off x="0" y="0"/>
          <a:ext cx="0" cy="0"/>
          <a:chOff x="0" y="0"/>
          <a:chExt cx="0" cy="0"/>
        </a:xfrm>
      </p:grpSpPr>
      <p:sp>
        <p:nvSpPr>
          <p:cNvPr id="4" name="Rectangle 3"/>
          <p:cNvSpPr/>
          <p:nvPr userDrawn="1"/>
        </p:nvSpPr>
        <p:spPr bwMode="auto">
          <a:xfrm>
            <a:off x="0" y="0"/>
            <a:ext cx="12188952"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0" y="0"/>
            <a:ext cx="12188952" cy="13716000"/>
          </a:xfrm>
          <a:prstGeom prst="rect">
            <a:avLst/>
          </a:prstGeom>
          <a:noFill/>
        </p:spPr>
        <p:txBody>
          <a:bodyPr/>
          <a:lstStyle/>
          <a:p>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rgbClr val="FFFFFF"/>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5193968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ustom placeholder 1">
    <p:spTree>
      <p:nvGrpSpPr>
        <p:cNvPr id="1" name=""/>
        <p:cNvGrpSpPr/>
        <p:nvPr/>
      </p:nvGrpSpPr>
      <p:grpSpPr>
        <a:xfrm>
          <a:off x="0" y="0"/>
          <a:ext cx="0" cy="0"/>
          <a:chOff x="0" y="0"/>
          <a:chExt cx="0" cy="0"/>
        </a:xfrm>
      </p:grpSpPr>
      <p:sp>
        <p:nvSpPr>
          <p:cNvPr id="4" name="AutoShape 1"/>
          <p:cNvSpPr>
            <a:spLocks/>
          </p:cNvSpPr>
          <p:nvPr/>
        </p:nvSpPr>
        <p:spPr bwMode="auto">
          <a:xfrm>
            <a:off x="8724900" y="-14288"/>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8"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24" name="Picture Placeholder 23"/>
          <p:cNvSpPr>
            <a:spLocks noGrp="1"/>
          </p:cNvSpPr>
          <p:nvPr>
            <p:ph type="pic" sz="quarter" idx="10" hasCustomPrompt="1"/>
          </p:nvPr>
        </p:nvSpPr>
        <p:spPr>
          <a:xfrm>
            <a:off x="1855997" y="4891328"/>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
        <p:nvSpPr>
          <p:cNvPr id="25" name="Picture Placeholder 24"/>
          <p:cNvSpPr>
            <a:spLocks noGrp="1"/>
          </p:cNvSpPr>
          <p:nvPr>
            <p:ph type="pic" sz="quarter" idx="11" hasCustomPrompt="1"/>
          </p:nvPr>
        </p:nvSpPr>
        <p:spPr>
          <a:xfrm>
            <a:off x="6837383" y="4889500"/>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
        <p:nvSpPr>
          <p:cNvPr id="28" name="Picture Placeholder 27"/>
          <p:cNvSpPr>
            <a:spLocks noGrp="1"/>
          </p:cNvSpPr>
          <p:nvPr>
            <p:ph type="pic" sz="quarter" idx="12" hasCustomPrompt="1"/>
          </p:nvPr>
        </p:nvSpPr>
        <p:spPr>
          <a:xfrm>
            <a:off x="11811073" y="4889500"/>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
        <p:nvSpPr>
          <p:cNvPr id="29" name="Picture Placeholder 28"/>
          <p:cNvSpPr>
            <a:spLocks noGrp="1"/>
          </p:cNvSpPr>
          <p:nvPr>
            <p:ph type="pic" sz="quarter" idx="13" hasCustomPrompt="1"/>
          </p:nvPr>
        </p:nvSpPr>
        <p:spPr>
          <a:xfrm>
            <a:off x="16801738" y="4889500"/>
            <a:ext cx="4509878" cy="5205172"/>
          </a:xfrm>
          <a:custGeom>
            <a:avLst/>
            <a:gdLst>
              <a:gd name="connsiteX0" fmla="*/ 2255043 w 4509878"/>
              <a:gd name="connsiteY0" fmla="*/ 0 h 5205172"/>
              <a:gd name="connsiteX1" fmla="*/ 4509878 w 4509878"/>
              <a:gd name="connsiteY1" fmla="*/ 1301353 h 5205172"/>
              <a:gd name="connsiteX2" fmla="*/ 4509878 w 4509878"/>
              <a:gd name="connsiteY2" fmla="*/ 3904060 h 5205172"/>
              <a:gd name="connsiteX3" fmla="*/ 2254835 w 4509878"/>
              <a:gd name="connsiteY3" fmla="*/ 5205172 h 5205172"/>
              <a:gd name="connsiteX4" fmla="*/ 0 w 4509878"/>
              <a:gd name="connsiteY4" fmla="*/ 3903819 h 5205172"/>
              <a:gd name="connsiteX5" fmla="*/ 0 w 4509878"/>
              <a:gd name="connsiteY5" fmla="*/ 1301353 h 52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9878" h="5205172">
                <a:moveTo>
                  <a:pt x="2255043" y="0"/>
                </a:moveTo>
                <a:lnTo>
                  <a:pt x="4509878" y="1301353"/>
                </a:lnTo>
                <a:lnTo>
                  <a:pt x="4509878" y="3904060"/>
                </a:lnTo>
                <a:lnTo>
                  <a:pt x="2254835" y="5205172"/>
                </a:lnTo>
                <a:lnTo>
                  <a:pt x="0" y="3903819"/>
                </a:lnTo>
                <a:lnTo>
                  <a:pt x="0" y="1301353"/>
                </a:lnTo>
                <a:close/>
              </a:path>
            </a:pathLst>
          </a:custGeom>
          <a:noFill/>
        </p:spPr>
        <p:txBody>
          <a:bodyPr wrap="square">
            <a:noAutofit/>
          </a:bodyPr>
          <a:lstStyle/>
          <a:p>
            <a:r>
              <a:rPr lang="en-US" dirty="0"/>
              <a:t> </a:t>
            </a:r>
          </a:p>
        </p:txBody>
      </p:sp>
    </p:spTree>
    <p:extLst>
      <p:ext uri="{BB962C8B-B14F-4D97-AF65-F5344CB8AC3E}">
        <p14:creationId xmlns:p14="http://schemas.microsoft.com/office/powerpoint/2010/main" xmlns="" val="29934580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ite placeholder 1">
    <p:spTree>
      <p:nvGrpSpPr>
        <p:cNvPr id="1" name=""/>
        <p:cNvGrpSpPr/>
        <p:nvPr/>
      </p:nvGrpSpPr>
      <p:grpSpPr>
        <a:xfrm>
          <a:off x="0" y="0"/>
          <a:ext cx="0" cy="0"/>
          <a:chOff x="0" y="0"/>
          <a:chExt cx="0" cy="0"/>
        </a:xfrm>
      </p:grpSpPr>
      <p:sp>
        <p:nvSpPr>
          <p:cNvPr id="29" name="Picture Placeholder 28"/>
          <p:cNvSpPr>
            <a:spLocks noGrp="1"/>
          </p:cNvSpPr>
          <p:nvPr>
            <p:ph type="pic" sz="quarter" idx="14" hasCustomPrompt="1"/>
          </p:nvPr>
        </p:nvSpPr>
        <p:spPr>
          <a:xfrm>
            <a:off x="6311376" y="5170471"/>
            <a:ext cx="11334224" cy="5748306"/>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txBody>
          <a:bodyPr wrap="square">
            <a:noAutofit/>
          </a:bodyPr>
          <a:lstStyle/>
          <a:p>
            <a:r>
              <a:rPr lang="en-US" dirty="0"/>
              <a:t> </a:t>
            </a:r>
          </a:p>
        </p:txBody>
      </p:sp>
      <p:sp>
        <p:nvSpPr>
          <p:cNvPr id="15" name="Text Placeholder 14"/>
          <p:cNvSpPr>
            <a:spLocks noGrp="1"/>
          </p:cNvSpPr>
          <p:nvPr>
            <p:ph type="body" sz="quarter" idx="10" hasCustomPrompt="1"/>
          </p:nvPr>
        </p:nvSpPr>
        <p:spPr>
          <a:xfrm>
            <a:off x="6311902" y="3873500"/>
            <a:ext cx="11334223" cy="1343025"/>
          </a:xfrm>
          <a:custGeom>
            <a:avLst/>
            <a:gdLst>
              <a:gd name="connsiteX0" fmla="*/ 197308 w 11334223"/>
              <a:gd name="connsiteY0" fmla="*/ 0 h 1343025"/>
              <a:gd name="connsiteX1" fmla="*/ 11136915 w 11334223"/>
              <a:gd name="connsiteY1" fmla="*/ 0 h 1343025"/>
              <a:gd name="connsiteX2" fmla="*/ 11334223 w 11334223"/>
              <a:gd name="connsiteY2" fmla="*/ 197186 h 1343025"/>
              <a:gd name="connsiteX3" fmla="*/ 11334223 w 11334223"/>
              <a:gd name="connsiteY3" fmla="*/ 202011 h 1343025"/>
              <a:gd name="connsiteX4" fmla="*/ 11334223 w 11334223"/>
              <a:gd name="connsiteY4" fmla="*/ 216283 h 1343025"/>
              <a:gd name="connsiteX5" fmla="*/ 11334223 w 11334223"/>
              <a:gd name="connsiteY5" fmla="*/ 239696 h 1343025"/>
              <a:gd name="connsiteX6" fmla="*/ 11334223 w 11334223"/>
              <a:gd name="connsiteY6" fmla="*/ 271947 h 1343025"/>
              <a:gd name="connsiteX7" fmla="*/ 11334223 w 11334223"/>
              <a:gd name="connsiteY7" fmla="*/ 312730 h 1343025"/>
              <a:gd name="connsiteX8" fmla="*/ 11334223 w 11334223"/>
              <a:gd name="connsiteY8" fmla="*/ 361742 h 1343025"/>
              <a:gd name="connsiteX9" fmla="*/ 11334223 w 11334223"/>
              <a:gd name="connsiteY9" fmla="*/ 418676 h 1343025"/>
              <a:gd name="connsiteX10" fmla="*/ 11334223 w 11334223"/>
              <a:gd name="connsiteY10" fmla="*/ 483228 h 1343025"/>
              <a:gd name="connsiteX11" fmla="*/ 11334223 w 11334223"/>
              <a:gd name="connsiteY11" fmla="*/ 633969 h 1343025"/>
              <a:gd name="connsiteX12" fmla="*/ 11334223 w 11334223"/>
              <a:gd name="connsiteY12" fmla="*/ 811527 h 1343025"/>
              <a:gd name="connsiteX13" fmla="*/ 11334223 w 11334223"/>
              <a:gd name="connsiteY13" fmla="*/ 1013463 h 1343025"/>
              <a:gd name="connsiteX14" fmla="*/ 11334223 w 11334223"/>
              <a:gd name="connsiteY14" fmla="*/ 1237339 h 1343025"/>
              <a:gd name="connsiteX15" fmla="*/ 11334223 w 11334223"/>
              <a:gd name="connsiteY15" fmla="*/ 1343025 h 1343025"/>
              <a:gd name="connsiteX16" fmla="*/ 0 w 11334223"/>
              <a:gd name="connsiteY16" fmla="*/ 1343025 h 1343025"/>
              <a:gd name="connsiteX17" fmla="*/ 0 w 11334223"/>
              <a:gd name="connsiteY17" fmla="*/ 197186 h 1343025"/>
              <a:gd name="connsiteX18" fmla="*/ 197308 w 11334223"/>
              <a:gd name="connsiteY18"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34223" h="1343025">
                <a:moveTo>
                  <a:pt x="197308" y="0"/>
                </a:moveTo>
                <a:lnTo>
                  <a:pt x="11136915" y="0"/>
                </a:lnTo>
                <a:cubicBezTo>
                  <a:pt x="11246065" y="0"/>
                  <a:pt x="11334223" y="88146"/>
                  <a:pt x="11334223" y="197186"/>
                </a:cubicBezTo>
                <a:lnTo>
                  <a:pt x="11334223" y="202011"/>
                </a:lnTo>
                <a:lnTo>
                  <a:pt x="11334223" y="216283"/>
                </a:lnTo>
                <a:lnTo>
                  <a:pt x="11334223" y="239696"/>
                </a:lnTo>
                <a:lnTo>
                  <a:pt x="11334223" y="271947"/>
                </a:lnTo>
                <a:lnTo>
                  <a:pt x="11334223" y="312730"/>
                </a:lnTo>
                <a:lnTo>
                  <a:pt x="11334223" y="361742"/>
                </a:lnTo>
                <a:lnTo>
                  <a:pt x="11334223" y="418676"/>
                </a:lnTo>
                <a:lnTo>
                  <a:pt x="11334223" y="483228"/>
                </a:lnTo>
                <a:lnTo>
                  <a:pt x="11334223" y="633969"/>
                </a:lnTo>
                <a:lnTo>
                  <a:pt x="11334223" y="811527"/>
                </a:lnTo>
                <a:lnTo>
                  <a:pt x="11334223" y="1013463"/>
                </a:lnTo>
                <a:lnTo>
                  <a:pt x="11334223" y="1237339"/>
                </a:lnTo>
                <a:lnTo>
                  <a:pt x="11334223" y="1343025"/>
                </a:lnTo>
                <a:lnTo>
                  <a:pt x="0" y="1343025"/>
                </a:lnTo>
                <a:lnTo>
                  <a:pt x="0" y="197186"/>
                </a:lnTo>
                <a:cubicBezTo>
                  <a:pt x="0" y="88146"/>
                  <a:pt x="88158" y="0"/>
                  <a:pt x="197308" y="0"/>
                </a:cubicBezTo>
                <a:close/>
              </a:path>
            </a:pathLst>
          </a:custGeom>
          <a:solidFill>
            <a:srgbClr val="CFCFCF"/>
          </a:solidFill>
          <a:ln w="3175">
            <a:solidFill>
              <a:srgbClr val="CFCFCF"/>
            </a:solidFill>
          </a:ln>
        </p:spPr>
        <p:txBody>
          <a:bodyPr wrap="square">
            <a:noAutofit/>
          </a:bodyPr>
          <a:lstStyle>
            <a:lvl1pPr>
              <a:defRPr baseline="0"/>
            </a:lvl1pPr>
          </a:lstStyle>
          <a:p>
            <a:pPr lvl="0"/>
            <a:r>
              <a:rPr lang="en-US" dirty="0"/>
              <a:t> </a:t>
            </a:r>
          </a:p>
        </p:txBody>
      </p:sp>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19" name="Text Placeholder 18"/>
          <p:cNvSpPr>
            <a:spLocks noGrp="1"/>
          </p:cNvSpPr>
          <p:nvPr>
            <p:ph type="body" sz="quarter" idx="11" hasCustomPrompt="1"/>
          </p:nvPr>
        </p:nvSpPr>
        <p:spPr>
          <a:xfrm>
            <a:off x="6311900" y="4203700"/>
            <a:ext cx="11333700" cy="1012778"/>
          </a:xfrm>
          <a:custGeom>
            <a:avLst/>
            <a:gdLst>
              <a:gd name="connsiteX0" fmla="*/ 501668 w 11333700"/>
              <a:gd name="connsiteY0" fmla="*/ 0 h 1012778"/>
              <a:gd name="connsiteX1" fmla="*/ 1587390 w 11333700"/>
              <a:gd name="connsiteY1" fmla="*/ 0 h 1012778"/>
              <a:gd name="connsiteX2" fmla="*/ 1834550 w 11333700"/>
              <a:gd name="connsiteY2" fmla="*/ 45437 h 1012778"/>
              <a:gd name="connsiteX3" fmla="*/ 1947373 w 11333700"/>
              <a:gd name="connsiteY3" fmla="*/ 310928 h 1012778"/>
              <a:gd name="connsiteX4" fmla="*/ 11228806 w 11333700"/>
              <a:gd name="connsiteY4" fmla="*/ 310928 h 1012778"/>
              <a:gd name="connsiteX5" fmla="*/ 11333700 w 11333700"/>
              <a:gd name="connsiteY5" fmla="*/ 310928 h 1012778"/>
              <a:gd name="connsiteX6" fmla="*/ 11333700 w 11333700"/>
              <a:gd name="connsiteY6" fmla="*/ 481327 h 1012778"/>
              <a:gd name="connsiteX7" fmla="*/ 11333700 w 11333700"/>
              <a:gd name="connsiteY7" fmla="*/ 683263 h 1012778"/>
              <a:gd name="connsiteX8" fmla="*/ 11333700 w 11333700"/>
              <a:gd name="connsiteY8" fmla="*/ 907139 h 1012778"/>
              <a:gd name="connsiteX9" fmla="*/ 11333700 w 11333700"/>
              <a:gd name="connsiteY9" fmla="*/ 1012778 h 1012778"/>
              <a:gd name="connsiteX10" fmla="*/ 0 w 11333700"/>
              <a:gd name="connsiteY10" fmla="*/ 1012778 h 1012778"/>
              <a:gd name="connsiteX11" fmla="*/ 0 w 11333700"/>
              <a:gd name="connsiteY11" fmla="*/ 310928 h 1012778"/>
              <a:gd name="connsiteX12" fmla="*/ 110724 w 11333700"/>
              <a:gd name="connsiteY12" fmla="*/ 310928 h 1012778"/>
              <a:gd name="connsiteX13" fmla="*/ 254507 w 11333700"/>
              <a:gd name="connsiteY13" fmla="*/ 45437 h 1012778"/>
              <a:gd name="connsiteX14" fmla="*/ 501668 w 11333700"/>
              <a:gd name="connsiteY14" fmla="*/ 0 h 101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33700" h="1012778">
                <a:moveTo>
                  <a:pt x="501668" y="0"/>
                </a:moveTo>
                <a:lnTo>
                  <a:pt x="1587390" y="0"/>
                </a:lnTo>
                <a:cubicBezTo>
                  <a:pt x="1780500" y="0"/>
                  <a:pt x="1818808" y="0"/>
                  <a:pt x="1834550" y="45437"/>
                </a:cubicBezTo>
                <a:lnTo>
                  <a:pt x="1947373" y="310928"/>
                </a:lnTo>
                <a:cubicBezTo>
                  <a:pt x="1947373" y="310928"/>
                  <a:pt x="10197535" y="310928"/>
                  <a:pt x="11228806" y="310928"/>
                </a:cubicBezTo>
                <a:lnTo>
                  <a:pt x="11333700" y="310928"/>
                </a:lnTo>
                <a:lnTo>
                  <a:pt x="11333700" y="481327"/>
                </a:lnTo>
                <a:lnTo>
                  <a:pt x="11333700" y="683263"/>
                </a:lnTo>
                <a:lnTo>
                  <a:pt x="11333700" y="907139"/>
                </a:lnTo>
                <a:lnTo>
                  <a:pt x="11333700" y="1012778"/>
                </a:lnTo>
                <a:lnTo>
                  <a:pt x="0" y="1012778"/>
                </a:lnTo>
                <a:lnTo>
                  <a:pt x="0" y="310928"/>
                </a:lnTo>
                <a:lnTo>
                  <a:pt x="110724" y="310928"/>
                </a:lnTo>
                <a:lnTo>
                  <a:pt x="254507" y="45437"/>
                </a:lnTo>
                <a:cubicBezTo>
                  <a:pt x="273399" y="0"/>
                  <a:pt x="270250" y="0"/>
                  <a:pt x="501668" y="0"/>
                </a:cubicBezTo>
                <a:close/>
              </a:path>
            </a:pathLst>
          </a:custGeom>
          <a:solidFill>
            <a:srgbClr val="E4E4E4"/>
          </a:solidFill>
          <a:ln w="3175">
            <a:solidFill>
              <a:srgbClr val="E4E4E4"/>
            </a:solidFill>
          </a:ln>
        </p:spPr>
        <p:txBody>
          <a:bodyPr wrap="square">
            <a:noAutofit/>
          </a:bodyPr>
          <a:lstStyle>
            <a:lvl1pPr>
              <a:defRPr baseline="0"/>
            </a:lvl1pPr>
          </a:lstStyle>
          <a:p>
            <a:pPr lvl="0"/>
            <a:r>
              <a:rPr lang="en-US" dirty="0"/>
              <a:t> </a:t>
            </a:r>
          </a:p>
        </p:txBody>
      </p:sp>
      <p:sp>
        <p:nvSpPr>
          <p:cNvPr id="22" name="Text Placeholder 21"/>
          <p:cNvSpPr>
            <a:spLocks noGrp="1"/>
          </p:cNvSpPr>
          <p:nvPr>
            <p:ph type="body" sz="quarter" idx="12" hasCustomPrompt="1"/>
          </p:nvPr>
        </p:nvSpPr>
        <p:spPr>
          <a:xfrm>
            <a:off x="7289799" y="4114800"/>
            <a:ext cx="10086965" cy="966772"/>
          </a:xfrm>
          <a:custGeom>
            <a:avLst/>
            <a:gdLst>
              <a:gd name="connsiteX0" fmla="*/ 140494 w 10086965"/>
              <a:gd name="connsiteY0" fmla="*/ 647700 h 966772"/>
              <a:gd name="connsiteX1" fmla="*/ 280988 w 10086965"/>
              <a:gd name="connsiteY1" fmla="*/ 788194 h 966772"/>
              <a:gd name="connsiteX2" fmla="*/ 272181 w 10086965"/>
              <a:gd name="connsiteY2" fmla="*/ 836691 h 966772"/>
              <a:gd name="connsiteX3" fmla="*/ 233610 w 10086965"/>
              <a:gd name="connsiteY3" fmla="*/ 798029 h 966772"/>
              <a:gd name="connsiteX4" fmla="*/ 234156 w 10086965"/>
              <a:gd name="connsiteY4" fmla="*/ 788194 h 966772"/>
              <a:gd name="connsiteX5" fmla="*/ 140494 w 10086965"/>
              <a:gd name="connsiteY5" fmla="*/ 694545 h 966772"/>
              <a:gd name="connsiteX6" fmla="*/ 46818 w 10086965"/>
              <a:gd name="connsiteY6" fmla="*/ 788194 h 966772"/>
              <a:gd name="connsiteX7" fmla="*/ 140494 w 10086965"/>
              <a:gd name="connsiteY7" fmla="*/ 881870 h 966772"/>
              <a:gd name="connsiteX8" fmla="*/ 198799 w 10086965"/>
              <a:gd name="connsiteY8" fmla="*/ 861420 h 966772"/>
              <a:gd name="connsiteX9" fmla="*/ 198786 w 10086965"/>
              <a:gd name="connsiteY9" fmla="*/ 861550 h 966772"/>
              <a:gd name="connsiteX10" fmla="*/ 231958 w 10086965"/>
              <a:gd name="connsiteY10" fmla="*/ 894723 h 966772"/>
              <a:gd name="connsiteX11" fmla="*/ 140494 w 10086965"/>
              <a:gd name="connsiteY11" fmla="*/ 928688 h 966772"/>
              <a:gd name="connsiteX12" fmla="*/ 0 w 10086965"/>
              <a:gd name="connsiteY12" fmla="*/ 788194 h 966772"/>
              <a:gd name="connsiteX13" fmla="*/ 140494 w 10086965"/>
              <a:gd name="connsiteY13" fmla="*/ 647700 h 966772"/>
              <a:gd name="connsiteX14" fmla="*/ 590292 w 10086965"/>
              <a:gd name="connsiteY14" fmla="*/ 609600 h 966772"/>
              <a:gd name="connsiteX15" fmla="*/ 9859789 w 10086965"/>
              <a:gd name="connsiteY15" fmla="*/ 609600 h 966772"/>
              <a:gd name="connsiteX16" fmla="*/ 9903981 w 10086965"/>
              <a:gd name="connsiteY16" fmla="*/ 662534 h 966772"/>
              <a:gd name="connsiteX17" fmla="*/ 9903981 w 10086965"/>
              <a:gd name="connsiteY17" fmla="*/ 913805 h 966772"/>
              <a:gd name="connsiteX18" fmla="*/ 9859789 w 10086965"/>
              <a:gd name="connsiteY18" fmla="*/ 966772 h 966772"/>
              <a:gd name="connsiteX19" fmla="*/ 590292 w 10086965"/>
              <a:gd name="connsiteY19" fmla="*/ 966772 h 966772"/>
              <a:gd name="connsiteX20" fmla="*/ 546100 w 10086965"/>
              <a:gd name="connsiteY20" fmla="*/ 913805 h 966772"/>
              <a:gd name="connsiteX21" fmla="*/ 546100 w 10086965"/>
              <a:gd name="connsiteY21" fmla="*/ 662534 h 966772"/>
              <a:gd name="connsiteX22" fmla="*/ 590292 w 10086965"/>
              <a:gd name="connsiteY22" fmla="*/ 609600 h 966772"/>
              <a:gd name="connsiteX23" fmla="*/ 9996489 w 10086965"/>
              <a:gd name="connsiteY23" fmla="*/ 0 h 966772"/>
              <a:gd name="connsiteX24" fmla="*/ 10086965 w 10086965"/>
              <a:gd name="connsiteY24" fmla="*/ 90496 h 966772"/>
              <a:gd name="connsiteX25" fmla="*/ 9996489 w 10086965"/>
              <a:gd name="connsiteY25" fmla="*/ 180966 h 966772"/>
              <a:gd name="connsiteX26" fmla="*/ 9906001 w 10086965"/>
              <a:gd name="connsiteY26" fmla="*/ 90496 h 966772"/>
              <a:gd name="connsiteX27" fmla="*/ 9996489 w 10086965"/>
              <a:gd name="connsiteY27" fmla="*/ 0 h 966772"/>
              <a:gd name="connsiteX28" fmla="*/ 9704381 w 10086965"/>
              <a:gd name="connsiteY28" fmla="*/ 0 h 966772"/>
              <a:gd name="connsiteX29" fmla="*/ 9794865 w 10086965"/>
              <a:gd name="connsiteY29" fmla="*/ 90496 h 966772"/>
              <a:gd name="connsiteX30" fmla="*/ 9704381 w 10086965"/>
              <a:gd name="connsiteY30" fmla="*/ 180966 h 966772"/>
              <a:gd name="connsiteX31" fmla="*/ 9613901 w 10086965"/>
              <a:gd name="connsiteY31" fmla="*/ 90496 h 966772"/>
              <a:gd name="connsiteX32" fmla="*/ 9704381 w 10086965"/>
              <a:gd name="connsiteY32" fmla="*/ 0 h 966772"/>
              <a:gd name="connsiteX33" fmla="*/ 9425004 w 10086965"/>
              <a:gd name="connsiteY33" fmla="*/ 0 h 966772"/>
              <a:gd name="connsiteX34" fmla="*/ 9515477 w 10086965"/>
              <a:gd name="connsiteY34" fmla="*/ 90496 h 966772"/>
              <a:gd name="connsiteX35" fmla="*/ 9425004 w 10086965"/>
              <a:gd name="connsiteY35" fmla="*/ 180966 h 966772"/>
              <a:gd name="connsiteX36" fmla="*/ 9334500 w 10086965"/>
              <a:gd name="connsiteY36" fmla="*/ 90496 h 966772"/>
              <a:gd name="connsiteX37" fmla="*/ 9425004 w 10086965"/>
              <a:gd name="connsiteY37" fmla="*/ 0 h 96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086965" h="966772">
                <a:moveTo>
                  <a:pt x="140494" y="647700"/>
                </a:moveTo>
                <a:cubicBezTo>
                  <a:pt x="218091" y="647700"/>
                  <a:pt x="280988" y="710597"/>
                  <a:pt x="280988" y="788194"/>
                </a:cubicBezTo>
                <a:cubicBezTo>
                  <a:pt x="280988" y="805275"/>
                  <a:pt x="277762" y="821523"/>
                  <a:pt x="272181" y="836691"/>
                </a:cubicBezTo>
                <a:lnTo>
                  <a:pt x="233610" y="798029"/>
                </a:lnTo>
                <a:cubicBezTo>
                  <a:pt x="233948" y="794803"/>
                  <a:pt x="234156" y="791537"/>
                  <a:pt x="234156" y="788194"/>
                </a:cubicBezTo>
                <a:cubicBezTo>
                  <a:pt x="234156" y="736498"/>
                  <a:pt x="192164" y="694545"/>
                  <a:pt x="140494" y="694545"/>
                </a:cubicBezTo>
                <a:cubicBezTo>
                  <a:pt x="88784" y="694545"/>
                  <a:pt x="46818" y="736498"/>
                  <a:pt x="46818" y="788194"/>
                </a:cubicBezTo>
                <a:cubicBezTo>
                  <a:pt x="46818" y="839995"/>
                  <a:pt x="88784" y="881870"/>
                  <a:pt x="140494" y="881870"/>
                </a:cubicBezTo>
                <a:cubicBezTo>
                  <a:pt x="162517" y="881870"/>
                  <a:pt x="182785" y="874182"/>
                  <a:pt x="198799" y="861420"/>
                </a:cubicBezTo>
                <a:cubicBezTo>
                  <a:pt x="198799" y="861420"/>
                  <a:pt x="198786" y="861550"/>
                  <a:pt x="198786" y="861550"/>
                </a:cubicBezTo>
                <a:lnTo>
                  <a:pt x="231958" y="894723"/>
                </a:lnTo>
                <a:cubicBezTo>
                  <a:pt x="207332" y="915797"/>
                  <a:pt x="175474" y="928688"/>
                  <a:pt x="140494" y="928688"/>
                </a:cubicBezTo>
                <a:cubicBezTo>
                  <a:pt x="62871" y="928688"/>
                  <a:pt x="0" y="865804"/>
                  <a:pt x="0" y="788194"/>
                </a:cubicBezTo>
                <a:cubicBezTo>
                  <a:pt x="0" y="710597"/>
                  <a:pt x="62871" y="647700"/>
                  <a:pt x="140494" y="647700"/>
                </a:cubicBezTo>
                <a:close/>
                <a:moveTo>
                  <a:pt x="590292" y="609600"/>
                </a:moveTo>
                <a:lnTo>
                  <a:pt x="9859789" y="609600"/>
                </a:lnTo>
                <a:cubicBezTo>
                  <a:pt x="9884485" y="609600"/>
                  <a:pt x="9903981" y="633314"/>
                  <a:pt x="9903981" y="662534"/>
                </a:cubicBezTo>
                <a:cubicBezTo>
                  <a:pt x="9903981" y="662534"/>
                  <a:pt x="9903981" y="913805"/>
                  <a:pt x="9903981" y="913805"/>
                </a:cubicBezTo>
                <a:cubicBezTo>
                  <a:pt x="9903981" y="943042"/>
                  <a:pt x="9884485" y="966772"/>
                  <a:pt x="9859789" y="966772"/>
                </a:cubicBezTo>
                <a:lnTo>
                  <a:pt x="590292" y="966772"/>
                </a:lnTo>
                <a:cubicBezTo>
                  <a:pt x="566030" y="966772"/>
                  <a:pt x="546100" y="943042"/>
                  <a:pt x="546100" y="913805"/>
                </a:cubicBezTo>
                <a:lnTo>
                  <a:pt x="546100" y="662534"/>
                </a:lnTo>
                <a:cubicBezTo>
                  <a:pt x="546100" y="633314"/>
                  <a:pt x="566030" y="609600"/>
                  <a:pt x="590292" y="609600"/>
                </a:cubicBezTo>
                <a:close/>
                <a:moveTo>
                  <a:pt x="9996489" y="0"/>
                </a:moveTo>
                <a:cubicBezTo>
                  <a:pt x="10046505" y="0"/>
                  <a:pt x="10086965" y="40535"/>
                  <a:pt x="10086965" y="90496"/>
                </a:cubicBezTo>
                <a:cubicBezTo>
                  <a:pt x="10086965" y="140456"/>
                  <a:pt x="10046505" y="180966"/>
                  <a:pt x="9996489" y="180966"/>
                </a:cubicBezTo>
                <a:cubicBezTo>
                  <a:pt x="9946525" y="180966"/>
                  <a:pt x="9906001" y="140456"/>
                  <a:pt x="9906001" y="90496"/>
                </a:cubicBezTo>
                <a:cubicBezTo>
                  <a:pt x="9906001" y="40535"/>
                  <a:pt x="9946525" y="0"/>
                  <a:pt x="9996489" y="0"/>
                </a:cubicBezTo>
                <a:close/>
                <a:moveTo>
                  <a:pt x="9704381" y="0"/>
                </a:moveTo>
                <a:cubicBezTo>
                  <a:pt x="9754357" y="0"/>
                  <a:pt x="9794865" y="40535"/>
                  <a:pt x="9794865" y="90496"/>
                </a:cubicBezTo>
                <a:cubicBezTo>
                  <a:pt x="9794865" y="140456"/>
                  <a:pt x="9754357" y="180966"/>
                  <a:pt x="9704381" y="180966"/>
                </a:cubicBezTo>
                <a:cubicBezTo>
                  <a:pt x="9654401" y="180966"/>
                  <a:pt x="9613901" y="140456"/>
                  <a:pt x="9613901" y="90496"/>
                </a:cubicBezTo>
                <a:cubicBezTo>
                  <a:pt x="9613901" y="40535"/>
                  <a:pt x="9654401" y="0"/>
                  <a:pt x="9704381" y="0"/>
                </a:cubicBezTo>
                <a:close/>
                <a:moveTo>
                  <a:pt x="9425004" y="0"/>
                </a:moveTo>
                <a:cubicBezTo>
                  <a:pt x="9474940" y="0"/>
                  <a:pt x="9515477" y="40535"/>
                  <a:pt x="9515477" y="90496"/>
                </a:cubicBezTo>
                <a:cubicBezTo>
                  <a:pt x="9515477" y="140456"/>
                  <a:pt x="9474940" y="180966"/>
                  <a:pt x="9425004" y="180966"/>
                </a:cubicBezTo>
                <a:cubicBezTo>
                  <a:pt x="9375060" y="180966"/>
                  <a:pt x="9334500" y="140456"/>
                  <a:pt x="9334500" y="90496"/>
                </a:cubicBezTo>
                <a:cubicBezTo>
                  <a:pt x="9334500" y="40535"/>
                  <a:pt x="9375060" y="0"/>
                  <a:pt x="9425004" y="0"/>
                </a:cubicBezTo>
                <a:close/>
              </a:path>
            </a:pathLst>
          </a:custGeom>
          <a:solidFill>
            <a:srgbClr val="EEEEEE"/>
          </a:solidFill>
          <a:ln w="3175">
            <a:solidFill>
              <a:srgbClr val="EEEEEE"/>
            </a:solidFill>
          </a:ln>
        </p:spPr>
        <p:txBody>
          <a:bodyPr wrap="square">
            <a:noAutofit/>
          </a:bodyPr>
          <a:lstStyle>
            <a:lvl1pPr>
              <a:defRPr baseline="0"/>
            </a:lvl1pPr>
          </a:lstStyle>
          <a:p>
            <a:pPr lvl="0"/>
            <a:r>
              <a:rPr lang="en-US" dirty="0"/>
              <a:t> </a:t>
            </a:r>
          </a:p>
        </p:txBody>
      </p:sp>
      <p:sp>
        <p:nvSpPr>
          <p:cNvPr id="9" name="AutoShape 7"/>
          <p:cNvSpPr>
            <a:spLocks/>
          </p:cNvSpPr>
          <p:nvPr/>
        </p:nvSpPr>
        <p:spPr bwMode="auto">
          <a:xfrm>
            <a:off x="7480300" y="4902200"/>
            <a:ext cx="120650"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15066" y="18404"/>
                </a:lnTo>
                <a:cubicBezTo>
                  <a:pt x="15066" y="18404"/>
                  <a:pt x="14154" y="21599"/>
                  <a:pt x="11451" y="21599"/>
                </a:cubicBezTo>
                <a:cubicBezTo>
                  <a:pt x="8897" y="21599"/>
                  <a:pt x="7509" y="18366"/>
                  <a:pt x="7509" y="18366"/>
                </a:cubicBezTo>
                <a:cubicBezTo>
                  <a:pt x="7509" y="18366"/>
                  <a:pt x="0" y="0"/>
                  <a:pt x="0" y="0"/>
                </a:cubicBezTo>
                <a:close/>
              </a:path>
            </a:pathLst>
          </a:custGeom>
          <a:solidFill>
            <a:srgbClr val="EEEEEE"/>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Tree>
    <p:extLst>
      <p:ext uri="{BB962C8B-B14F-4D97-AF65-F5344CB8AC3E}">
        <p14:creationId xmlns:p14="http://schemas.microsoft.com/office/powerpoint/2010/main" xmlns="" val="932629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site placeholder 2">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5" name="Picture Placeholder 4"/>
          <p:cNvSpPr>
            <a:spLocks noGrp="1"/>
          </p:cNvSpPr>
          <p:nvPr>
            <p:ph type="pic" sz="quarter" idx="14" hasCustomPrompt="1"/>
          </p:nvPr>
        </p:nvSpPr>
        <p:spPr>
          <a:xfrm>
            <a:off x="1676400" y="5170471"/>
            <a:ext cx="10230466" cy="5188520"/>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txBody>
          <a:bodyPr wrap="square">
            <a:noAutofit/>
          </a:bodyPr>
          <a:lstStyle/>
          <a:p>
            <a:r>
              <a:rPr lang="en-US" dirty="0"/>
              <a:t> </a:t>
            </a:r>
          </a:p>
        </p:txBody>
      </p:sp>
      <p:sp>
        <p:nvSpPr>
          <p:cNvPr id="6" name="Picture Placeholder 5"/>
          <p:cNvSpPr>
            <a:spLocks noGrp="1"/>
          </p:cNvSpPr>
          <p:nvPr>
            <p:ph type="pic" sz="quarter" idx="15" hasCustomPrompt="1"/>
          </p:nvPr>
        </p:nvSpPr>
        <p:spPr>
          <a:xfrm>
            <a:off x="12477134" y="5170471"/>
            <a:ext cx="10230465" cy="5188520"/>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txBody>
          <a:bodyPr wrap="square">
            <a:noAutofit/>
          </a:bodyPr>
          <a:lstStyle/>
          <a:p>
            <a:r>
              <a:rPr lang="en-US" dirty="0"/>
              <a:t> </a:t>
            </a:r>
          </a:p>
        </p:txBody>
      </p:sp>
    </p:spTree>
    <p:extLst>
      <p:ext uri="{BB962C8B-B14F-4D97-AF65-F5344CB8AC3E}">
        <p14:creationId xmlns:p14="http://schemas.microsoft.com/office/powerpoint/2010/main" xmlns="" val="24189671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site placeholder 3">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8" name="Picture Placeholder 5"/>
          <p:cNvSpPr>
            <a:spLocks noGrp="1"/>
          </p:cNvSpPr>
          <p:nvPr>
            <p:ph type="pic" sz="quarter" idx="14"/>
          </p:nvPr>
        </p:nvSpPr>
        <p:spPr>
          <a:xfrm>
            <a:off x="2743199" y="4354869"/>
            <a:ext cx="12673013" cy="6427291"/>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sp>
      <p:sp>
        <p:nvSpPr>
          <p:cNvPr id="9" name="Picture Placeholder 6"/>
          <p:cNvSpPr>
            <a:spLocks noGrp="1"/>
          </p:cNvSpPr>
          <p:nvPr>
            <p:ph type="pic" sz="quarter" idx="15"/>
          </p:nvPr>
        </p:nvSpPr>
        <p:spPr>
          <a:xfrm>
            <a:off x="15875001" y="3571740"/>
            <a:ext cx="5918199" cy="3013561"/>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sp>
      <p:sp>
        <p:nvSpPr>
          <p:cNvPr id="10" name="Picture Placeholder 7"/>
          <p:cNvSpPr>
            <a:spLocks noGrp="1"/>
          </p:cNvSpPr>
          <p:nvPr>
            <p:ph type="pic" sz="quarter" idx="16"/>
          </p:nvPr>
        </p:nvSpPr>
        <p:spPr>
          <a:xfrm>
            <a:off x="15901988" y="7804617"/>
            <a:ext cx="5918200" cy="3001496"/>
          </a:xfrm>
          <a:custGeom>
            <a:avLst/>
            <a:gdLst>
              <a:gd name="connsiteX0" fmla="*/ 0 w 11334748"/>
              <a:gd name="connsiteY0" fmla="*/ 0 h 5748306"/>
              <a:gd name="connsiteX1" fmla="*/ 11328924 w 11334748"/>
              <a:gd name="connsiteY1" fmla="*/ 0 h 5748306"/>
              <a:gd name="connsiteX2" fmla="*/ 11328924 w 11334748"/>
              <a:gd name="connsiteY2" fmla="*/ 4405281 h 5748306"/>
              <a:gd name="connsiteX3" fmla="*/ 11334748 w 11334748"/>
              <a:gd name="connsiteY3" fmla="*/ 4405281 h 5748306"/>
              <a:gd name="connsiteX4" fmla="*/ 11334748 w 11334748"/>
              <a:gd name="connsiteY4" fmla="*/ 4510967 h 5748306"/>
              <a:gd name="connsiteX5" fmla="*/ 11334748 w 11334748"/>
              <a:gd name="connsiteY5" fmla="*/ 4734843 h 5748306"/>
              <a:gd name="connsiteX6" fmla="*/ 11334748 w 11334748"/>
              <a:gd name="connsiteY6" fmla="*/ 4936779 h 5748306"/>
              <a:gd name="connsiteX7" fmla="*/ 11334748 w 11334748"/>
              <a:gd name="connsiteY7" fmla="*/ 5114337 h 5748306"/>
              <a:gd name="connsiteX8" fmla="*/ 11334748 w 11334748"/>
              <a:gd name="connsiteY8" fmla="*/ 5265078 h 5748306"/>
              <a:gd name="connsiteX9" fmla="*/ 11334748 w 11334748"/>
              <a:gd name="connsiteY9" fmla="*/ 5329630 h 5748306"/>
              <a:gd name="connsiteX10" fmla="*/ 11334748 w 11334748"/>
              <a:gd name="connsiteY10" fmla="*/ 5386564 h 5748306"/>
              <a:gd name="connsiteX11" fmla="*/ 11334748 w 11334748"/>
              <a:gd name="connsiteY11" fmla="*/ 5435576 h 5748306"/>
              <a:gd name="connsiteX12" fmla="*/ 11334748 w 11334748"/>
              <a:gd name="connsiteY12" fmla="*/ 5476359 h 5748306"/>
              <a:gd name="connsiteX13" fmla="*/ 11334748 w 11334748"/>
              <a:gd name="connsiteY13" fmla="*/ 5508610 h 5748306"/>
              <a:gd name="connsiteX14" fmla="*/ 11334748 w 11334748"/>
              <a:gd name="connsiteY14" fmla="*/ 5532023 h 5748306"/>
              <a:gd name="connsiteX15" fmla="*/ 11334748 w 11334748"/>
              <a:gd name="connsiteY15" fmla="*/ 5546295 h 5748306"/>
              <a:gd name="connsiteX16" fmla="*/ 11334748 w 11334748"/>
              <a:gd name="connsiteY16" fmla="*/ 5551120 h 5748306"/>
              <a:gd name="connsiteX17" fmla="*/ 11137440 w 11334748"/>
              <a:gd name="connsiteY17" fmla="*/ 5748306 h 5748306"/>
              <a:gd name="connsiteX18" fmla="*/ 197832 w 11334748"/>
              <a:gd name="connsiteY18" fmla="*/ 5748306 h 5748306"/>
              <a:gd name="connsiteX19" fmla="*/ 524 w 11334748"/>
              <a:gd name="connsiteY19" fmla="*/ 5551120 h 5748306"/>
              <a:gd name="connsiteX20" fmla="*/ 524 w 11334748"/>
              <a:gd name="connsiteY20" fmla="*/ 4416873 h 5748306"/>
              <a:gd name="connsiteX21" fmla="*/ 0 w 11334748"/>
              <a:gd name="connsiteY21" fmla="*/ 4416873 h 574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34748" h="5748306">
                <a:moveTo>
                  <a:pt x="0" y="0"/>
                </a:moveTo>
                <a:lnTo>
                  <a:pt x="11328924" y="0"/>
                </a:lnTo>
                <a:lnTo>
                  <a:pt x="11328924" y="4405281"/>
                </a:lnTo>
                <a:lnTo>
                  <a:pt x="11334748" y="4405281"/>
                </a:lnTo>
                <a:lnTo>
                  <a:pt x="11334748" y="4510967"/>
                </a:lnTo>
                <a:lnTo>
                  <a:pt x="11334748" y="4734843"/>
                </a:lnTo>
                <a:lnTo>
                  <a:pt x="11334748" y="4936779"/>
                </a:lnTo>
                <a:lnTo>
                  <a:pt x="11334748" y="5114337"/>
                </a:lnTo>
                <a:lnTo>
                  <a:pt x="11334748" y="5265078"/>
                </a:lnTo>
                <a:lnTo>
                  <a:pt x="11334748" y="5329630"/>
                </a:lnTo>
                <a:lnTo>
                  <a:pt x="11334748" y="5386564"/>
                </a:lnTo>
                <a:lnTo>
                  <a:pt x="11334748" y="5435576"/>
                </a:lnTo>
                <a:lnTo>
                  <a:pt x="11334748" y="5476359"/>
                </a:lnTo>
                <a:lnTo>
                  <a:pt x="11334748" y="5508610"/>
                </a:lnTo>
                <a:lnTo>
                  <a:pt x="11334748" y="5532023"/>
                </a:lnTo>
                <a:lnTo>
                  <a:pt x="11334748" y="5546295"/>
                </a:lnTo>
                <a:lnTo>
                  <a:pt x="11334748" y="5551120"/>
                </a:lnTo>
                <a:cubicBezTo>
                  <a:pt x="11334748" y="5660160"/>
                  <a:pt x="11246588" y="5748306"/>
                  <a:pt x="11137440" y="5748306"/>
                </a:cubicBezTo>
                <a:lnTo>
                  <a:pt x="197832" y="5748306"/>
                </a:lnTo>
                <a:cubicBezTo>
                  <a:pt x="88682" y="5748306"/>
                  <a:pt x="524" y="5660160"/>
                  <a:pt x="524" y="5551120"/>
                </a:cubicBezTo>
                <a:lnTo>
                  <a:pt x="524" y="4416873"/>
                </a:lnTo>
                <a:lnTo>
                  <a:pt x="0" y="4416873"/>
                </a:lnTo>
                <a:close/>
              </a:path>
            </a:pathLst>
          </a:custGeom>
          <a:ln w="3175">
            <a:solidFill>
              <a:srgbClr val="E4E4E4"/>
            </a:solidFill>
          </a:ln>
        </p:spPr>
      </p:sp>
    </p:spTree>
    <p:extLst>
      <p:ext uri="{BB962C8B-B14F-4D97-AF65-F5344CB8AC3E}">
        <p14:creationId xmlns:p14="http://schemas.microsoft.com/office/powerpoint/2010/main" xmlns="" val="38779632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site placeholder 4">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Picture Placeholder 3"/>
          <p:cNvSpPr>
            <a:spLocks noGrp="1"/>
          </p:cNvSpPr>
          <p:nvPr>
            <p:ph type="pic" sz="quarter" idx="10" hasCustomPrompt="1"/>
          </p:nvPr>
        </p:nvSpPr>
        <p:spPr>
          <a:xfrm>
            <a:off x="10464800" y="4648200"/>
            <a:ext cx="3514725" cy="6242050"/>
          </a:xfrm>
          <a:prstGeom prst="rect">
            <a:avLst/>
          </a:prstGeom>
        </p:spPr>
        <p:txBody>
          <a:bodyPr/>
          <a:lstStyle/>
          <a:p>
            <a:r>
              <a:rPr lang="en-US" dirty="0"/>
              <a:t> </a:t>
            </a:r>
          </a:p>
        </p:txBody>
      </p:sp>
    </p:spTree>
    <p:extLst>
      <p:ext uri="{BB962C8B-B14F-4D97-AF65-F5344CB8AC3E}">
        <p14:creationId xmlns:p14="http://schemas.microsoft.com/office/powerpoint/2010/main" xmlns="" val="12973468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site placeholder 5">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Picture Placeholder 3"/>
          <p:cNvSpPr>
            <a:spLocks noGrp="1"/>
          </p:cNvSpPr>
          <p:nvPr>
            <p:ph type="pic" sz="quarter" idx="10" hasCustomPrompt="1"/>
          </p:nvPr>
        </p:nvSpPr>
        <p:spPr>
          <a:xfrm>
            <a:off x="12585906" y="4648200"/>
            <a:ext cx="3514725" cy="6242050"/>
          </a:xfrm>
          <a:prstGeom prst="rect">
            <a:avLst/>
          </a:prstGeom>
        </p:spPr>
        <p:txBody>
          <a:bodyPr/>
          <a:lstStyle/>
          <a:p>
            <a:r>
              <a:rPr lang="en-US" dirty="0"/>
              <a:t> </a:t>
            </a:r>
          </a:p>
        </p:txBody>
      </p:sp>
      <p:sp>
        <p:nvSpPr>
          <p:cNvPr id="5" name="Picture Placeholder 3"/>
          <p:cNvSpPr>
            <a:spLocks noGrp="1"/>
          </p:cNvSpPr>
          <p:nvPr>
            <p:ph type="pic" sz="quarter" idx="11" hasCustomPrompt="1"/>
          </p:nvPr>
        </p:nvSpPr>
        <p:spPr>
          <a:xfrm>
            <a:off x="8212026" y="4648200"/>
            <a:ext cx="3514725" cy="6242050"/>
          </a:xfrm>
          <a:prstGeom prst="rect">
            <a:avLst/>
          </a:prstGeom>
        </p:spPr>
        <p:txBody>
          <a:bodyPr/>
          <a:lstStyle/>
          <a:p>
            <a:r>
              <a:rPr lang="en-US" dirty="0"/>
              <a:t> </a:t>
            </a:r>
          </a:p>
        </p:txBody>
      </p:sp>
    </p:spTree>
    <p:extLst>
      <p:ext uri="{BB962C8B-B14F-4D97-AF65-F5344CB8AC3E}">
        <p14:creationId xmlns:p14="http://schemas.microsoft.com/office/powerpoint/2010/main" xmlns="" val="19231080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site placeholder 7">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6893234" cy="1508105"/>
          </a:xfrm>
          <a:prstGeom prst="rect">
            <a:avLst/>
          </a:prstGeom>
        </p:spPr>
        <p:txBody>
          <a:bodyPr wrap="none">
            <a:spAutoFit/>
          </a:bodyPr>
          <a:lstStyle>
            <a:lvl1pPr>
              <a:defRPr>
                <a:solidFill>
                  <a:schemeClr val="tx1"/>
                </a:solidFill>
              </a:defRPr>
            </a:lvl1pPr>
          </a:lstStyle>
          <a:p>
            <a:r>
              <a:rPr lang="en-US" dirty="0"/>
              <a:t>Sample Title</a:t>
            </a:r>
          </a:p>
        </p:txBody>
      </p:sp>
      <p:sp>
        <p:nvSpPr>
          <p:cNvPr id="4" name="Picture Placeholder 3"/>
          <p:cNvSpPr>
            <a:spLocks noGrp="1"/>
          </p:cNvSpPr>
          <p:nvPr>
            <p:ph type="pic" sz="quarter" idx="10" hasCustomPrompt="1"/>
          </p:nvPr>
        </p:nvSpPr>
        <p:spPr>
          <a:xfrm>
            <a:off x="14488160" y="4648200"/>
            <a:ext cx="3514725" cy="6242050"/>
          </a:xfrm>
          <a:prstGeom prst="rect">
            <a:avLst/>
          </a:prstGeom>
        </p:spPr>
        <p:txBody>
          <a:bodyPr/>
          <a:lstStyle/>
          <a:p>
            <a:r>
              <a:rPr lang="en-US" dirty="0"/>
              <a:t> </a:t>
            </a:r>
          </a:p>
        </p:txBody>
      </p:sp>
      <p:sp>
        <p:nvSpPr>
          <p:cNvPr id="5" name="Picture Placeholder 3"/>
          <p:cNvSpPr>
            <a:spLocks noGrp="1"/>
          </p:cNvSpPr>
          <p:nvPr>
            <p:ph type="pic" sz="quarter" idx="11" hasCustomPrompt="1"/>
          </p:nvPr>
        </p:nvSpPr>
        <p:spPr>
          <a:xfrm>
            <a:off x="10114280" y="4648200"/>
            <a:ext cx="3514725" cy="6242050"/>
          </a:xfrm>
          <a:prstGeom prst="rect">
            <a:avLst/>
          </a:prstGeom>
        </p:spPr>
        <p:txBody>
          <a:bodyPr/>
          <a:lstStyle/>
          <a:p>
            <a:r>
              <a:rPr lang="en-US" dirty="0"/>
              <a:t> </a:t>
            </a:r>
          </a:p>
        </p:txBody>
      </p:sp>
      <p:sp>
        <p:nvSpPr>
          <p:cNvPr id="6" name="Picture Placeholder 3"/>
          <p:cNvSpPr>
            <a:spLocks noGrp="1"/>
          </p:cNvSpPr>
          <p:nvPr>
            <p:ph type="pic" sz="quarter" idx="12" hasCustomPrompt="1"/>
          </p:nvPr>
        </p:nvSpPr>
        <p:spPr>
          <a:xfrm>
            <a:off x="5740400" y="4648200"/>
            <a:ext cx="3514725" cy="6242050"/>
          </a:xfrm>
          <a:prstGeom prst="rect">
            <a:avLst/>
          </a:prstGeom>
        </p:spPr>
        <p:txBody>
          <a:bodyPr/>
          <a:lstStyle/>
          <a:p>
            <a:r>
              <a:rPr lang="en-US" dirty="0"/>
              <a:t> </a:t>
            </a:r>
          </a:p>
        </p:txBody>
      </p:sp>
    </p:spTree>
    <p:extLst>
      <p:ext uri="{BB962C8B-B14F-4D97-AF65-F5344CB8AC3E}">
        <p14:creationId xmlns:p14="http://schemas.microsoft.com/office/powerpoint/2010/main" xmlns="" val="83260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ustom placeholder 2">
    <p:spTree>
      <p:nvGrpSpPr>
        <p:cNvPr id="1" name=""/>
        <p:cNvGrpSpPr/>
        <p:nvPr/>
      </p:nvGrpSpPr>
      <p:grpSpPr>
        <a:xfrm>
          <a:off x="0" y="0"/>
          <a:ext cx="0" cy="0"/>
          <a:chOff x="0" y="0"/>
          <a:chExt cx="0" cy="0"/>
        </a:xfrm>
      </p:grpSpPr>
      <p:sp>
        <p:nvSpPr>
          <p:cNvPr id="2" name="Rectangle 1"/>
          <p:cNvSpPr/>
          <p:nvPr userDrawn="1"/>
        </p:nvSpPr>
        <p:spPr bwMode="auto">
          <a:xfrm>
            <a:off x="0" y="0"/>
            <a:ext cx="24384000" cy="13716000"/>
          </a:xfrm>
          <a:prstGeom prst="rect">
            <a:avLst/>
          </a:prstGeom>
          <a:solidFill>
            <a:schemeClr val="tx1"/>
          </a:solidFill>
          <a:ln>
            <a:noFill/>
          </a:ln>
          <a:effectLst/>
          <a:extLst/>
        </p:spPr>
        <p:txBody>
          <a:bodyPr lIns="0" tIns="0" rIns="0" bIns="0" rtlCol="0" anchor="ctr"/>
          <a:lstStyle/>
          <a:p>
            <a:pPr algn="ctr"/>
            <a:endParaRPr lang="pl-PL" sz="4000" dirty="0">
              <a:solidFill>
                <a:srgbClr val="FFFFFF"/>
              </a:solidFill>
              <a:effectLst>
                <a:outerShdw blurRad="38100" dist="38100" dir="2700000" algn="tl">
                  <a:srgbClr val="000000"/>
                </a:outerShdw>
              </a:effectLst>
              <a:latin typeface="Aleo" panose="020F0502020204030203" pitchFamily="34" charset="0"/>
              <a:cs typeface="Arial" panose="020B0604020202020204" pitchFamily="34" charset="0"/>
            </a:endParaRPr>
          </a:p>
        </p:txBody>
      </p:sp>
      <p:sp>
        <p:nvSpPr>
          <p:cNvPr id="5" name="Picture Placeholder 4"/>
          <p:cNvSpPr>
            <a:spLocks noGrp="1"/>
          </p:cNvSpPr>
          <p:nvPr>
            <p:ph type="pic" sz="quarter" idx="10" hasCustomPrompt="1"/>
          </p:nvPr>
        </p:nvSpPr>
        <p:spPr>
          <a:xfrm>
            <a:off x="0" y="0"/>
            <a:ext cx="24384000" cy="13716000"/>
          </a:xfrm>
          <a:prstGeom prst="rect">
            <a:avLst/>
          </a:prstGeom>
        </p:spPr>
        <p:txBody>
          <a:bodyPr/>
          <a:lstStyle/>
          <a:p>
            <a:r>
              <a:rPr lang="en-US" dirty="0"/>
              <a:t> </a:t>
            </a:r>
          </a:p>
        </p:txBody>
      </p:sp>
      <p:sp>
        <p:nvSpPr>
          <p:cNvPr id="3" name="Tytuł 7"/>
          <p:cNvSpPr>
            <a:spLocks noGrp="1"/>
          </p:cNvSpPr>
          <p:nvPr>
            <p:ph type="title" hasCustomPrompt="1"/>
          </p:nvPr>
        </p:nvSpPr>
        <p:spPr>
          <a:xfrm>
            <a:off x="1318792" y="874148"/>
            <a:ext cx="10823797" cy="2923877"/>
          </a:xfrm>
          <a:prstGeom prst="rect">
            <a:avLst/>
          </a:prstGeom>
        </p:spPr>
        <p:txBody>
          <a:bodyPr wrap="none">
            <a:spAutoFit/>
          </a:bodyPr>
          <a:lstStyle>
            <a:lvl1pPr>
              <a:defRPr baseline="0">
                <a:solidFill>
                  <a:srgbClr val="FFFFFF"/>
                </a:solidFill>
              </a:defRPr>
            </a:lvl1pPr>
          </a:lstStyle>
          <a:p>
            <a:r>
              <a:rPr lang="en-US" dirty="0"/>
              <a:t>Put here your own</a:t>
            </a:r>
            <a:br>
              <a:rPr lang="en-US" dirty="0"/>
            </a:br>
            <a:r>
              <a:rPr lang="en-US" dirty="0"/>
              <a:t>picture background</a:t>
            </a:r>
          </a:p>
        </p:txBody>
      </p:sp>
    </p:spTree>
    <p:extLst>
      <p:ext uri="{BB962C8B-B14F-4D97-AF65-F5344CB8AC3E}">
        <p14:creationId xmlns:p14="http://schemas.microsoft.com/office/powerpoint/2010/main" xmlns="" val="73399144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6" name="Freeform 5"/>
          <p:cNvSpPr>
            <a:spLocks/>
          </p:cNvSpPr>
          <p:nvPr userDrawn="1"/>
        </p:nvSpPr>
        <p:spPr bwMode="auto">
          <a:xfrm>
            <a:off x="8742516" y="-14264"/>
            <a:ext cx="15641484" cy="13730264"/>
          </a:xfrm>
          <a:custGeom>
            <a:avLst/>
            <a:gdLst>
              <a:gd name="connsiteX0" fmla="*/ 15641484 w 15641484"/>
              <a:gd name="connsiteY0" fmla="*/ 0 h 13730264"/>
              <a:gd name="connsiteX1" fmla="*/ 15641484 w 15641484"/>
              <a:gd name="connsiteY1" fmla="*/ 13730264 h 13730264"/>
              <a:gd name="connsiteX2" fmla="*/ 0 w 15641484"/>
              <a:gd name="connsiteY2" fmla="*/ 13730264 h 13730264"/>
              <a:gd name="connsiteX3" fmla="*/ 6713211 w 15641484"/>
              <a:gd name="connsiteY3" fmla="*/ 14671 h 13730264"/>
            </a:gdLst>
            <a:ahLst/>
            <a:cxnLst>
              <a:cxn ang="0">
                <a:pos x="connsiteX0" y="connsiteY0"/>
              </a:cxn>
              <a:cxn ang="0">
                <a:pos x="connsiteX1" y="connsiteY1"/>
              </a:cxn>
              <a:cxn ang="0">
                <a:pos x="connsiteX2" y="connsiteY2"/>
              </a:cxn>
              <a:cxn ang="0">
                <a:pos x="connsiteX3" y="connsiteY3"/>
              </a:cxn>
            </a:cxnLst>
            <a:rect l="l" t="t" r="r" b="b"/>
            <a:pathLst>
              <a:path w="15641484" h="13730264">
                <a:moveTo>
                  <a:pt x="15641484" y="0"/>
                </a:moveTo>
                <a:lnTo>
                  <a:pt x="15641484" y="13730264"/>
                </a:lnTo>
                <a:lnTo>
                  <a:pt x="0" y="13730264"/>
                </a:lnTo>
                <a:lnTo>
                  <a:pt x="6713211" y="14671"/>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299134150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middle">
    <p:spTree>
      <p:nvGrpSpPr>
        <p:cNvPr id="1" name=""/>
        <p:cNvGrpSpPr/>
        <p:nvPr/>
      </p:nvGrpSpPr>
      <p:grpSpPr>
        <a:xfrm>
          <a:off x="0" y="0"/>
          <a:ext cx="0" cy="0"/>
          <a:chOff x="0" y="0"/>
          <a:chExt cx="0" cy="0"/>
        </a:xfrm>
      </p:grpSpPr>
      <p:sp>
        <p:nvSpPr>
          <p:cNvPr id="5" name="Freeform 4"/>
          <p:cNvSpPr>
            <a:spLocks/>
          </p:cNvSpPr>
          <p:nvPr userDrawn="1"/>
        </p:nvSpPr>
        <p:spPr bwMode="auto">
          <a:xfrm>
            <a:off x="8742516" y="-14264"/>
            <a:ext cx="15641484" cy="13730264"/>
          </a:xfrm>
          <a:custGeom>
            <a:avLst/>
            <a:gdLst>
              <a:gd name="connsiteX0" fmla="*/ 15641484 w 15641484"/>
              <a:gd name="connsiteY0" fmla="*/ 0 h 13730264"/>
              <a:gd name="connsiteX1" fmla="*/ 15641484 w 15641484"/>
              <a:gd name="connsiteY1" fmla="*/ 13730264 h 13730264"/>
              <a:gd name="connsiteX2" fmla="*/ 0 w 15641484"/>
              <a:gd name="connsiteY2" fmla="*/ 13730264 h 13730264"/>
              <a:gd name="connsiteX3" fmla="*/ 6713211 w 15641484"/>
              <a:gd name="connsiteY3" fmla="*/ 14671 h 13730264"/>
            </a:gdLst>
            <a:ahLst/>
            <a:cxnLst>
              <a:cxn ang="0">
                <a:pos x="connsiteX0" y="connsiteY0"/>
              </a:cxn>
              <a:cxn ang="0">
                <a:pos x="connsiteX1" y="connsiteY1"/>
              </a:cxn>
              <a:cxn ang="0">
                <a:pos x="connsiteX2" y="connsiteY2"/>
              </a:cxn>
              <a:cxn ang="0">
                <a:pos x="connsiteX3" y="connsiteY3"/>
              </a:cxn>
            </a:cxnLst>
            <a:rect l="l" t="t" r="r" b="b"/>
            <a:pathLst>
              <a:path w="15641484" h="13730264">
                <a:moveTo>
                  <a:pt x="15641484" y="0"/>
                </a:moveTo>
                <a:lnTo>
                  <a:pt x="15641484" y="13730264"/>
                </a:lnTo>
                <a:lnTo>
                  <a:pt x="0" y="13730264"/>
                </a:lnTo>
                <a:lnTo>
                  <a:pt x="6713211" y="14671"/>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
        <p:nvSpPr>
          <p:cNvPr id="8" name="Tytuł 7"/>
          <p:cNvSpPr>
            <a:spLocks noGrp="1"/>
          </p:cNvSpPr>
          <p:nvPr>
            <p:ph type="title" hasCustomPrompt="1"/>
          </p:nvPr>
        </p:nvSpPr>
        <p:spPr>
          <a:xfrm>
            <a:off x="6144582" y="7799555"/>
            <a:ext cx="12092408" cy="1508105"/>
          </a:xfrm>
          <a:prstGeom prst="rect">
            <a:avLst/>
          </a:prstGeom>
        </p:spPr>
        <p:txBody>
          <a:bodyPr wrap="square">
            <a:spAutoFit/>
          </a:bodyPr>
          <a:lstStyle>
            <a:lvl1pPr algn="ctr">
              <a:defRPr baseline="0">
                <a:solidFill>
                  <a:schemeClr val="tx1"/>
                </a:solidFill>
              </a:defRPr>
            </a:lvl1pPr>
          </a:lstStyle>
          <a:p>
            <a:r>
              <a:rPr lang="pl-PL" dirty="0"/>
              <a:t>Timelines &amp; Planning</a:t>
            </a:r>
            <a:endParaRPr lang="en-US" dirty="0"/>
          </a:p>
        </p:txBody>
      </p:sp>
      <p:sp>
        <p:nvSpPr>
          <p:cNvPr id="12" name="Text Placeholder 11"/>
          <p:cNvSpPr>
            <a:spLocks noGrp="1"/>
          </p:cNvSpPr>
          <p:nvPr>
            <p:ph type="body" sz="quarter" idx="10" hasCustomPrompt="1"/>
          </p:nvPr>
        </p:nvSpPr>
        <p:spPr>
          <a:xfrm>
            <a:off x="9465006" y="9321948"/>
            <a:ext cx="4838700" cy="876300"/>
          </a:xfrm>
          <a:prstGeom prst="rect">
            <a:avLst/>
          </a:prstGeom>
        </p:spPr>
        <p:txBody>
          <a:bodyPr/>
          <a:lstStyle>
            <a:lvl1pPr marL="0" marR="0" indent="0" algn="ctr" defTabSz="457200" rtl="0" eaLnBrk="1" fontAlgn="base" latinLnBrk="0" hangingPunct="0">
              <a:lnSpc>
                <a:spcPct val="100000"/>
              </a:lnSpc>
              <a:spcBef>
                <a:spcPct val="0"/>
              </a:spcBef>
              <a:spcAft>
                <a:spcPct val="0"/>
              </a:spcAft>
              <a:buClrTx/>
              <a:buSzTx/>
              <a:buFontTx/>
              <a:buNone/>
              <a:tabLst/>
              <a:defRPr sz="4400">
                <a:solidFill>
                  <a:schemeClr val="tx1"/>
                </a:solidFill>
                <a:latin typeface="Lato Regular" panose="020F0502020204030203" pitchFamily="34" charset="0"/>
              </a:defRPr>
            </a:lvl1pPr>
          </a:lstStyle>
          <a:p>
            <a:pPr marL="0" marR="0" lvl="0" indent="0" algn="l" defTabSz="457200" rtl="0" eaLnBrk="1" fontAlgn="base" latinLnBrk="0" hangingPunct="0">
              <a:lnSpc>
                <a:spcPct val="100000"/>
              </a:lnSpc>
              <a:spcBef>
                <a:spcPct val="0"/>
              </a:spcBef>
              <a:spcAft>
                <a:spcPct val="0"/>
              </a:spcAft>
              <a:buClrTx/>
              <a:buSzTx/>
              <a:buFontTx/>
              <a:buNone/>
              <a:tabLst/>
              <a:defRPr/>
            </a:pPr>
            <a:r>
              <a:rPr lang="pl-PL" sz="4400" b="0" dirty="0">
                <a:latin typeface="Lato Regular" panose="020F0502020204030203" pitchFamily="34" charset="0"/>
              </a:rPr>
              <a:t>Pitch Deck Edition</a:t>
            </a:r>
            <a:endParaRPr lang="en-US" sz="4400" b="0" dirty="0">
              <a:latin typeface="Lato Regular" panose="020F0502020204030203" pitchFamily="34" charset="0"/>
            </a:endParaRPr>
          </a:p>
        </p:txBody>
      </p:sp>
    </p:spTree>
    <p:extLst>
      <p:ext uri="{BB962C8B-B14F-4D97-AF65-F5344CB8AC3E}">
        <p14:creationId xmlns:p14="http://schemas.microsoft.com/office/powerpoint/2010/main" xmlns="" val="259341721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icon-pack-bg">
    <p:bg>
      <p:bgPr>
        <a:solidFill>
          <a:srgbClr val="7D3C65"/>
        </a:solidFill>
        <a:effectLst/>
      </p:bgPr>
    </p:bg>
    <p:spTree>
      <p:nvGrpSpPr>
        <p:cNvPr id="1" name=""/>
        <p:cNvGrpSpPr/>
        <p:nvPr/>
      </p:nvGrpSpPr>
      <p:grpSpPr>
        <a:xfrm>
          <a:off x="0" y="0"/>
          <a:ext cx="0" cy="0"/>
          <a:chOff x="0" y="0"/>
          <a:chExt cx="0" cy="0"/>
        </a:xfrm>
      </p:grpSpPr>
      <p:sp>
        <p:nvSpPr>
          <p:cNvPr id="2" name="Shape 2"/>
          <p:cNvSpPr/>
          <p:nvPr userDrawn="1"/>
        </p:nvSpPr>
        <p:spPr>
          <a:xfrm>
            <a:off x="8659680" y="-1"/>
            <a:ext cx="15724320" cy="13716001"/>
          </a:xfrm>
          <a:custGeom>
            <a:avLst/>
            <a:gdLst/>
            <a:ahLst/>
            <a:cxnLst>
              <a:cxn ang="0">
                <a:pos x="wd2" y="hd2"/>
              </a:cxn>
              <a:cxn ang="5400000">
                <a:pos x="wd2" y="hd2"/>
              </a:cxn>
              <a:cxn ang="10800000">
                <a:pos x="wd2" y="hd2"/>
              </a:cxn>
              <a:cxn ang="16200000">
                <a:pos x="wd2" y="hd2"/>
              </a:cxn>
            </a:cxnLst>
            <a:rect l="0" t="0" r="r" b="b"/>
            <a:pathLst>
              <a:path w="21600" h="21600" extrusionOk="0">
                <a:moveTo>
                  <a:pt x="9247" y="23"/>
                </a:moveTo>
                <a:lnTo>
                  <a:pt x="21530" y="0"/>
                </a:lnTo>
                <a:lnTo>
                  <a:pt x="21600" y="21600"/>
                </a:lnTo>
                <a:lnTo>
                  <a:pt x="0" y="21548"/>
                </a:lnTo>
                <a:lnTo>
                  <a:pt x="9247" y="23"/>
                </a:lnTo>
                <a:close/>
              </a:path>
            </a:pathLst>
          </a:custGeom>
          <a:solidFill>
            <a:schemeClr val="tx1">
              <a:lumMod val="75000"/>
              <a:alpha val="7000"/>
            </a:schemeClr>
          </a:solidFill>
          <a:ln w="25400" cap="flat" cmpd="sng" algn="ctr">
            <a:noFill/>
            <a:prstDash val="solid"/>
            <a:miter lim="0"/>
            <a:headEnd type="none" w="med" len="med"/>
            <a:tailEnd type="none" w="med" len="med"/>
          </a:ln>
          <a:effec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36586661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_slide">
    <p:spTree>
      <p:nvGrpSpPr>
        <p:cNvPr id="1" name=""/>
        <p:cNvGrpSpPr/>
        <p:nvPr/>
      </p:nvGrpSpPr>
      <p:grpSpPr>
        <a:xfrm>
          <a:off x="0" y="0"/>
          <a:ext cx="0" cy="0"/>
          <a:chOff x="0" y="0"/>
          <a:chExt cx="0" cy="0"/>
        </a:xfrm>
      </p:grpSpPr>
      <p:sp>
        <p:nvSpPr>
          <p:cNvPr id="6" name="Symbol zastępczy tekstu 3"/>
          <p:cNvSpPr>
            <a:spLocks noGrp="1"/>
          </p:cNvSpPr>
          <p:nvPr>
            <p:ph type="body" sz="quarter" idx="10" hasCustomPrompt="1"/>
          </p:nvPr>
        </p:nvSpPr>
        <p:spPr>
          <a:xfrm>
            <a:off x="1629045" y="7146800"/>
            <a:ext cx="7896785" cy="1080368"/>
          </a:xfrm>
          <a:prstGeom prst="rect">
            <a:avLst/>
          </a:prstGeom>
        </p:spPr>
        <p:txBody>
          <a:bodyPr>
            <a:noAutofit/>
          </a:bodyPr>
          <a:lstStyle>
            <a:lvl1pPr algn="l">
              <a:defRPr sz="4400" b="0" baseline="0">
                <a:solidFill>
                  <a:schemeClr val="tx1">
                    <a:alpha val="95000"/>
                  </a:schemeClr>
                </a:solidFill>
                <a:latin typeface="+mn-lt"/>
              </a:defRPr>
            </a:lvl1pPr>
            <a:lvl2pPr algn="ctr">
              <a:defRPr/>
            </a:lvl2pPr>
            <a:lvl3pPr algn="ctr">
              <a:defRPr/>
            </a:lvl3pPr>
            <a:lvl4pPr algn="ctr">
              <a:defRPr/>
            </a:lvl4pPr>
            <a:lvl5pPr algn="ctr">
              <a:defRPr/>
            </a:lvl5pPr>
          </a:lstStyle>
          <a:p>
            <a:pPr lvl="0"/>
            <a:r>
              <a:rPr lang="pl-PL" dirty="0"/>
              <a:t>Sample Subtitle</a:t>
            </a:r>
          </a:p>
        </p:txBody>
      </p:sp>
      <p:sp>
        <p:nvSpPr>
          <p:cNvPr id="9" name="Tytuł 8"/>
          <p:cNvSpPr>
            <a:spLocks noGrp="1"/>
          </p:cNvSpPr>
          <p:nvPr>
            <p:ph type="title" hasCustomPrompt="1"/>
          </p:nvPr>
        </p:nvSpPr>
        <p:spPr>
          <a:xfrm>
            <a:off x="1629045" y="5638695"/>
            <a:ext cx="6893234" cy="1508105"/>
          </a:xfrm>
          <a:prstGeom prst="rect">
            <a:avLst/>
          </a:prstGeom>
        </p:spPr>
        <p:txBody>
          <a:bodyPr wrap="none">
            <a:spAutoFit/>
          </a:bodyPr>
          <a:lstStyle>
            <a:lvl1pPr algn="ctr">
              <a:defRPr b="0" baseline="0">
                <a:solidFill>
                  <a:schemeClr val="tx1">
                    <a:alpha val="95000"/>
                  </a:schemeClr>
                </a:solidFill>
                <a:latin typeface="Aleo bold" panose="020F0802020204030203" pitchFamily="34" charset="0"/>
              </a:defRPr>
            </a:lvl1pPr>
          </a:lstStyle>
          <a:p>
            <a:r>
              <a:rPr lang="pl-PL" dirty="0"/>
              <a:t>Sample Title</a:t>
            </a:r>
            <a:endParaRPr lang="en-US" dirty="0"/>
          </a:p>
        </p:txBody>
      </p:sp>
      <p:sp>
        <p:nvSpPr>
          <p:cNvPr id="8" name="AutoShape 1"/>
          <p:cNvSpPr>
            <a:spLocks/>
          </p:cNvSpPr>
          <p:nvPr userDrawn="1"/>
        </p:nvSpPr>
        <p:spPr bwMode="auto">
          <a:xfrm>
            <a:off x="8659812" y="0"/>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7000"/>
            </a:schemeClr>
          </a:solidFill>
          <a:ln w="25400" cap="flat" cmpd="sng" algn="ctr">
            <a:noFill/>
            <a:prstDash val="solid"/>
            <a:miter lim="0"/>
            <a:headEnd type="none" w="med" len="med"/>
            <a:tailEnd type="none" w="med" len="med"/>
          </a:ln>
          <a:effectLst/>
          <a:ex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lvl="0" indent="0" eaLnBrk="1" latinLnBrk="0">
              <a:lnSpc>
                <a:spcPct val="100000"/>
              </a:lnSpc>
              <a:buClrTx/>
              <a:buSzTx/>
              <a:buFontTx/>
              <a:buNone/>
              <a:tabLst/>
            </a:pPr>
            <a:endParaRPr kumimoji="0" lang="en-US" b="0" i="0" u="none" strike="noStrike" cap="none" normalizeH="0" baseline="0" dirty="0">
              <a:ln>
                <a:noFill/>
              </a:ln>
              <a:effectLst/>
              <a:latin typeface="+mj-lt"/>
              <a:cs typeface="Arial" panose="020B0604020202020204" pitchFamily="34" charset="0"/>
            </a:endParaRPr>
          </a:p>
        </p:txBody>
      </p:sp>
    </p:spTree>
    <p:extLst>
      <p:ext uri="{BB962C8B-B14F-4D97-AF65-F5344CB8AC3E}">
        <p14:creationId xmlns:p14="http://schemas.microsoft.com/office/powerpoint/2010/main" xmlns="" val="5344749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custom bg 6">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1318792" y="874148"/>
            <a:ext cx="7047122" cy="1508105"/>
          </a:xfrm>
          <a:prstGeom prst="rect">
            <a:avLst/>
          </a:prstGeom>
        </p:spPr>
        <p:txBody>
          <a:bodyPr wrap="none">
            <a:spAutoFit/>
          </a:bodyPr>
          <a:lstStyle>
            <a:lvl1pPr>
              <a:defRPr b="0" spc="100" baseline="0">
                <a:solidFill>
                  <a:schemeClr val="tx1"/>
                </a:solidFill>
                <a:latin typeface="Aleo bold" panose="020F0802020204030203" pitchFamily="34" charset="0"/>
              </a:defRPr>
            </a:lvl1pPr>
          </a:lstStyle>
          <a:p>
            <a:r>
              <a:rPr lang="en-US" dirty="0"/>
              <a:t>Sample Title</a:t>
            </a:r>
          </a:p>
        </p:txBody>
      </p:sp>
      <p:sp>
        <p:nvSpPr>
          <p:cNvPr id="2" name="Rectangle 1"/>
          <p:cNvSpPr/>
          <p:nvPr userDrawn="1"/>
        </p:nvSpPr>
        <p:spPr bwMode="auto">
          <a:xfrm>
            <a:off x="0" y="5029200"/>
            <a:ext cx="24384000" cy="4523874"/>
          </a:xfrm>
          <a:prstGeom prst="rect">
            <a:avLst/>
          </a:prstGeom>
          <a:solidFill>
            <a:schemeClr val="tx1">
              <a:lumMod val="75000"/>
              <a:alpha val="7000"/>
            </a:schemeClr>
          </a:solidFill>
          <a:ln w="25400" cap="flat" cmpd="sng" algn="ctr">
            <a:noFill/>
            <a:prstDash val="solid"/>
            <a:miter lim="0"/>
            <a:headEnd type="none" w="med" len="med"/>
            <a:tailEnd type="none" w="med" len="med"/>
          </a:ln>
          <a:effectLst/>
        </p:spPr>
        <p:txBody>
          <a:bodyPr rot="0" spcFirstLastPara="0" vertOverflow="overflow" horzOverflow="overflow" vert="horz" wrap="square" lIns="50800" tIns="50800" rIns="50800" bIns="50800" numCol="1" spcCol="0" rtlCol="0" fromWordArt="0" anchor="ctr" anchorCtr="0" forceAA="0" compatLnSpc="1">
            <a:prstTxWarp prst="textNoShape">
              <a:avLst/>
            </a:prstTxWarp>
            <a:noAutofit/>
          </a:bodyPr>
          <a:lstStyle/>
          <a:p>
            <a:pPr marL="342900" marR="0" indent="0" algn="ctr" defTabSz="825500" rtl="0" eaLnBrk="1" fontAlgn="base" latinLnBrk="0" hangingPunct="0">
              <a:lnSpc>
                <a:spcPct val="100000"/>
              </a:lnSpc>
              <a:spcBef>
                <a:spcPct val="0"/>
              </a:spcBef>
              <a:spcAft>
                <a:spcPct val="0"/>
              </a:spcAft>
              <a:buClrTx/>
              <a:buSzTx/>
              <a:buFontTx/>
              <a:buNone/>
              <a:tabLst/>
            </a:pPr>
            <a:endParaRPr kumimoji="0" lang="pl-PL" sz="5600" b="0" i="0" u="none" strike="noStrike" cap="none" normalizeH="0" baseline="0" dirty="0">
              <a:ln>
                <a:noFill/>
              </a:ln>
              <a:solidFill>
                <a:srgbClr val="000000"/>
              </a:solidFill>
              <a:effectLst/>
              <a:latin typeface="+mj-lt"/>
              <a:ea typeface="Gill Sans" charset="0"/>
              <a:cs typeface="Arial" panose="020B0604020202020204" pitchFamily="34" charset="0"/>
              <a:sym typeface="Gill Sans" charset="0"/>
            </a:endParaRPr>
          </a:p>
        </p:txBody>
      </p:sp>
    </p:spTree>
    <p:extLst>
      <p:ext uri="{BB962C8B-B14F-4D97-AF65-F5344CB8AC3E}">
        <p14:creationId xmlns:p14="http://schemas.microsoft.com/office/powerpoint/2010/main" xmlns="" val="60580728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54671" y="1219200"/>
            <a:ext cx="17193336" cy="2641600"/>
          </a:xfrm>
          <a:prstGeom prst="rect">
            <a:avLst/>
          </a:prstGeom>
        </p:spPr>
        <p:txBody>
          <a:bodyPr/>
          <a:lstStyle/>
          <a:p>
            <a:r>
              <a:rPr lang="en-US"/>
              <a:t>Click to edit Master title style</a:t>
            </a:r>
            <a:endParaRPr lang="en-US" dirty="0"/>
          </a:p>
        </p:txBody>
      </p:sp>
      <p:sp>
        <p:nvSpPr>
          <p:cNvPr id="3" name="Date Placeholder 2"/>
          <p:cNvSpPr>
            <a:spLocks noGrp="1"/>
          </p:cNvSpPr>
          <p:nvPr>
            <p:ph type="dt" sz="half" idx="10"/>
          </p:nvPr>
        </p:nvSpPr>
        <p:spPr>
          <a:xfrm>
            <a:off x="14410267" y="12082727"/>
            <a:ext cx="1823877" cy="730250"/>
          </a:xfrm>
          <a:prstGeom prst="rect">
            <a:avLst/>
          </a:prstGeom>
        </p:spPr>
        <p:txBody>
          <a:bodyPr/>
          <a:lstStyle/>
          <a:p>
            <a:fld id="{B61BEF0D-F0BB-DE4B-95CE-6DB70DBA9567}" type="datetimeFigureOut">
              <a:rPr lang="en-US" dirty="0">
                <a:solidFill>
                  <a:prstClr val="black">
                    <a:tint val="75000"/>
                  </a:prstClr>
                </a:solidFill>
              </a:rPr>
              <a:pPr/>
              <a:t>11/13/2016</a:t>
            </a:fld>
            <a:endParaRPr lang="en-US" dirty="0">
              <a:solidFill>
                <a:prstClr val="black">
                  <a:tint val="75000"/>
                </a:prstClr>
              </a:solidFill>
            </a:endParaRPr>
          </a:p>
        </p:txBody>
      </p:sp>
      <p:sp>
        <p:nvSpPr>
          <p:cNvPr id="4" name="Footer Placeholder 3"/>
          <p:cNvSpPr>
            <a:spLocks noGrp="1"/>
          </p:cNvSpPr>
          <p:nvPr>
            <p:ph type="ftr" sz="quarter" idx="11"/>
          </p:nvPr>
        </p:nvSpPr>
        <p:spPr>
          <a:xfrm>
            <a:off x="1354671" y="12082727"/>
            <a:ext cx="12595224" cy="730250"/>
          </a:xfrm>
          <a:prstGeom prst="rect">
            <a:avLst/>
          </a:prstGeom>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17181328" y="12082727"/>
            <a:ext cx="1366677" cy="730250"/>
          </a:xfrm>
          <a:prstGeom prst="rect">
            <a:avLst/>
          </a:prstGeom>
        </p:spPr>
        <p:txBody>
          <a:bodyPr/>
          <a:lstStyle/>
          <a:p>
            <a:fld id="{D57F1E4F-1CFF-5643-939E-217C01CDF565}" type="slidenum">
              <a:rPr lang="en-US" dirty="0">
                <a:solidFill>
                  <a:srgbClr val="90C226"/>
                </a:solidFill>
              </a:rPr>
              <a:pPr/>
              <a:t>‹N°›</a:t>
            </a:fld>
            <a:endParaRPr lang="en-US" dirty="0">
              <a:solidFill>
                <a:srgbClr val="90C226"/>
              </a:solidFill>
            </a:endParaRPr>
          </a:p>
        </p:txBody>
      </p:sp>
    </p:spTree>
    <p:extLst>
      <p:ext uri="{BB962C8B-B14F-4D97-AF65-F5344CB8AC3E}">
        <p14:creationId xmlns:p14="http://schemas.microsoft.com/office/powerpoint/2010/main" xmlns="" val="61702620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Slide 1">
    <p:spTree>
      <p:nvGrpSpPr>
        <p:cNvPr id="1" name=""/>
        <p:cNvGrpSpPr/>
        <p:nvPr/>
      </p:nvGrpSpPr>
      <p:grpSpPr>
        <a:xfrm>
          <a:off x="0" y="0"/>
          <a:ext cx="0" cy="0"/>
          <a:chOff x="0" y="0"/>
          <a:chExt cx="0" cy="0"/>
        </a:xfrm>
      </p:grpSpPr>
      <p:cxnSp>
        <p:nvCxnSpPr>
          <p:cNvPr id="4" name="Straight Connector 3"/>
          <p:cNvCxnSpPr/>
          <p:nvPr userDrawn="1">
            <p:custDataLst>
              <p:tags r:id="rId1"/>
            </p:custDataLst>
          </p:nvPr>
        </p:nvCxnSpPr>
        <p:spPr>
          <a:xfrm>
            <a:off x="8928101" y="2273300"/>
            <a:ext cx="621029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Subtitle 2"/>
          <p:cNvSpPr>
            <a:spLocks noGrp="1"/>
          </p:cNvSpPr>
          <p:nvPr>
            <p:ph type="subTitle" idx="1"/>
          </p:nvPr>
        </p:nvSpPr>
        <p:spPr>
          <a:xfrm>
            <a:off x="1676400" y="1732762"/>
            <a:ext cx="21043392" cy="341632"/>
          </a:xfrm>
          <a:prstGeom prst="rect">
            <a:avLst/>
          </a:prstGeom>
        </p:spPr>
        <p:txBody>
          <a:bodyPr>
            <a:spAutoFit/>
          </a:bodyPr>
          <a:lstStyle>
            <a:lvl1pPr marL="0" indent="0" algn="ctr">
              <a:buNone/>
              <a:defRPr sz="1800">
                <a:latin typeface="+mj-lt"/>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dirty="0"/>
              <a:t>Click to edit Master subtitle style</a:t>
            </a:r>
          </a:p>
        </p:txBody>
      </p:sp>
      <p:sp>
        <p:nvSpPr>
          <p:cNvPr id="11" name="Title 10"/>
          <p:cNvSpPr>
            <a:spLocks noGrp="1"/>
          </p:cNvSpPr>
          <p:nvPr>
            <p:ph type="title"/>
          </p:nvPr>
        </p:nvSpPr>
        <p:spPr>
          <a:xfrm>
            <a:off x="1676400" y="947934"/>
            <a:ext cx="21031200" cy="646331"/>
          </a:xfrm>
          <a:prstGeom prst="rect">
            <a:avLst/>
          </a:prstGeom>
        </p:spPr>
        <p:txBody>
          <a:bodyPr anchor="ctr">
            <a:spAutoFit/>
          </a:bodyPr>
          <a:lstStyle>
            <a:lvl1pPr algn="ctr">
              <a:lnSpc>
                <a:spcPct val="100000"/>
              </a:lnSpc>
              <a:defRPr sz="3600" cap="all" baseline="0"/>
            </a:lvl1pPr>
          </a:lstStyle>
          <a:p>
            <a:r>
              <a:rPr lang="en-US"/>
              <a:t>Click to edit Master title style</a:t>
            </a:r>
            <a:endParaRPr lang="en-US" dirty="0"/>
          </a:p>
        </p:txBody>
      </p:sp>
      <p:sp>
        <p:nvSpPr>
          <p:cNvPr id="5" name="Date Placeholder 3"/>
          <p:cNvSpPr>
            <a:spLocks noGrp="1"/>
          </p:cNvSpPr>
          <p:nvPr>
            <p:ph type="dt" sz="half" idx="10"/>
          </p:nvPr>
        </p:nvSpPr>
        <p:spPr/>
        <p:txBody>
          <a:bodyPr/>
          <a:lstStyle>
            <a:lvl1pPr>
              <a:defRPr>
                <a:solidFill>
                  <a:prstClr val="black"/>
                </a:solidFill>
                <a:latin typeface="+mn-lt"/>
                <a:ea typeface="ＭＳ Ｐゴシック" charset="-128"/>
              </a:defRPr>
            </a:lvl1pPr>
          </a:lstStyle>
          <a:p>
            <a:pPr>
              <a:defRPr/>
            </a:pPr>
            <a:r>
              <a:rPr lang="en-US"/>
              <a:t>PRESENTER NAME</a:t>
            </a:r>
          </a:p>
        </p:txBody>
      </p:sp>
      <p:sp>
        <p:nvSpPr>
          <p:cNvPr id="6" name="Footer Placeholder 4"/>
          <p:cNvSpPr>
            <a:spLocks noGrp="1"/>
          </p:cNvSpPr>
          <p:nvPr>
            <p:ph type="ftr" sz="quarter" idx="11"/>
          </p:nvPr>
        </p:nvSpPr>
        <p:spPr/>
        <p:txBody>
          <a:bodyPr/>
          <a:lstStyle>
            <a:lvl1pPr>
              <a:defRPr>
                <a:solidFill>
                  <a:prstClr val="black"/>
                </a:solidFill>
                <a:latin typeface="+mn-lt"/>
                <a:ea typeface="ＭＳ Ｐゴシック" charset="-128"/>
              </a:defRPr>
            </a:lvl1pPr>
          </a:lstStyle>
          <a:p>
            <a:pPr>
              <a:defRPr/>
            </a:pPr>
            <a:r>
              <a:rPr lang="en-US"/>
              <a:t>COMPANY NAME</a:t>
            </a:r>
          </a:p>
        </p:txBody>
      </p:sp>
      <p:sp>
        <p:nvSpPr>
          <p:cNvPr id="7" name="Slide Number Placeholder 5"/>
          <p:cNvSpPr>
            <a:spLocks noGrp="1"/>
          </p:cNvSpPr>
          <p:nvPr>
            <p:ph type="sldNum" sz="quarter" idx="12"/>
          </p:nvPr>
        </p:nvSpPr>
        <p:spPr/>
        <p:txBody>
          <a:bodyPr/>
          <a:lstStyle>
            <a:lvl1pPr>
              <a:defRPr>
                <a:solidFill>
                  <a:srgbClr val="000000"/>
                </a:solidFill>
              </a:defRPr>
            </a:lvl1pPr>
          </a:lstStyle>
          <a:p>
            <a:fld id="{1F78CA96-47DC-454C-B700-2D782F6EB982}" type="slidenum">
              <a:rPr lang="en-US" altLang="en-US"/>
              <a:pPr/>
              <a:t>‹N°›</a:t>
            </a:fld>
            <a:r>
              <a:rPr lang="en-US" altLang="en-US"/>
              <a:t>|</a:t>
            </a:r>
          </a:p>
        </p:txBody>
      </p:sp>
    </p:spTree>
    <p:extLst>
      <p:ext uri="{BB962C8B-B14F-4D97-AF65-F5344CB8AC3E}">
        <p14:creationId xmlns:p14="http://schemas.microsoft.com/office/powerpoint/2010/main" xmlns="" val="14507719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Slide 2">
    <p:bg>
      <p:bgPr>
        <a:solidFill>
          <a:schemeClr val="tx1"/>
        </a:solidFill>
        <a:effectLst/>
      </p:bgPr>
    </p:bg>
    <p:spTree>
      <p:nvGrpSpPr>
        <p:cNvPr id="1" name=""/>
        <p:cNvGrpSpPr/>
        <p:nvPr/>
      </p:nvGrpSpPr>
      <p:grpSpPr>
        <a:xfrm>
          <a:off x="0" y="0"/>
          <a:ext cx="0" cy="0"/>
          <a:chOff x="0" y="0"/>
          <a:chExt cx="0" cy="0"/>
        </a:xfrm>
      </p:grpSpPr>
      <p:cxnSp>
        <p:nvCxnSpPr>
          <p:cNvPr id="4" name="Straight Connector 4"/>
          <p:cNvCxnSpPr/>
          <p:nvPr userDrawn="1">
            <p:custDataLst>
              <p:tags r:id="rId1"/>
            </p:custDataLst>
          </p:nvPr>
        </p:nvCxnSpPr>
        <p:spPr>
          <a:xfrm>
            <a:off x="8928101" y="2273300"/>
            <a:ext cx="621029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 name="Subtitle 2"/>
          <p:cNvSpPr>
            <a:spLocks noGrp="1"/>
          </p:cNvSpPr>
          <p:nvPr>
            <p:ph type="subTitle" idx="1"/>
          </p:nvPr>
        </p:nvSpPr>
        <p:spPr>
          <a:xfrm>
            <a:off x="1676400" y="1732762"/>
            <a:ext cx="21043392" cy="341632"/>
          </a:xfrm>
          <a:prstGeom prst="rect">
            <a:avLst/>
          </a:prstGeom>
        </p:spPr>
        <p:txBody>
          <a:bodyPr>
            <a:spAutoFit/>
          </a:bodyPr>
          <a:lstStyle>
            <a:lvl1pPr marL="0" indent="0" algn="ctr">
              <a:buNone/>
              <a:defRPr sz="1800">
                <a:solidFill>
                  <a:schemeClr val="bg1"/>
                </a:solidFill>
                <a:latin typeface="+mj-lt"/>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dirty="0"/>
              <a:t>Click to edit Master subtitle style</a:t>
            </a:r>
          </a:p>
        </p:txBody>
      </p:sp>
      <p:sp>
        <p:nvSpPr>
          <p:cNvPr id="11" name="Title 10"/>
          <p:cNvSpPr>
            <a:spLocks noGrp="1"/>
          </p:cNvSpPr>
          <p:nvPr>
            <p:ph type="title"/>
          </p:nvPr>
        </p:nvSpPr>
        <p:spPr>
          <a:xfrm>
            <a:off x="1676400" y="947934"/>
            <a:ext cx="21031200" cy="646331"/>
          </a:xfrm>
          <a:prstGeom prst="rect">
            <a:avLst/>
          </a:prstGeom>
        </p:spPr>
        <p:txBody>
          <a:bodyPr anchor="ctr">
            <a:spAutoFit/>
          </a:bodyPr>
          <a:lstStyle>
            <a:lvl1pPr algn="ctr">
              <a:lnSpc>
                <a:spcPct val="100000"/>
              </a:lnSpc>
              <a:defRPr sz="3600" cap="all" baseline="0">
                <a:solidFill>
                  <a:schemeClr val="bg1"/>
                </a:solidFill>
              </a:defRPr>
            </a:lvl1pPr>
          </a:lstStyle>
          <a:p>
            <a:r>
              <a:rPr lang="en-US" dirty="0"/>
              <a:t>Click to edit Master title style</a:t>
            </a:r>
          </a:p>
        </p:txBody>
      </p:sp>
      <p:sp>
        <p:nvSpPr>
          <p:cNvPr id="5" name="Date Placeholder 3"/>
          <p:cNvSpPr>
            <a:spLocks noGrp="1"/>
          </p:cNvSpPr>
          <p:nvPr>
            <p:ph type="dt" sz="half" idx="10"/>
          </p:nvPr>
        </p:nvSpPr>
        <p:spPr/>
        <p:txBody>
          <a:bodyPr/>
          <a:lstStyle>
            <a:lvl1pPr>
              <a:defRPr>
                <a:solidFill>
                  <a:prstClr val="white"/>
                </a:solidFill>
                <a:latin typeface="+mn-lt"/>
                <a:ea typeface="ＭＳ Ｐゴシック" charset="-128"/>
              </a:defRPr>
            </a:lvl1pPr>
          </a:lstStyle>
          <a:p>
            <a:pPr>
              <a:defRPr/>
            </a:pPr>
            <a:r>
              <a:rPr lang="en-US"/>
              <a:t>PRESENTER NAME</a:t>
            </a:r>
          </a:p>
        </p:txBody>
      </p:sp>
      <p:sp>
        <p:nvSpPr>
          <p:cNvPr id="6" name="Footer Placeholder 4"/>
          <p:cNvSpPr>
            <a:spLocks noGrp="1"/>
          </p:cNvSpPr>
          <p:nvPr>
            <p:ph type="ftr" sz="quarter" idx="11"/>
          </p:nvPr>
        </p:nvSpPr>
        <p:spPr/>
        <p:txBody>
          <a:bodyPr/>
          <a:lstStyle>
            <a:lvl1pPr>
              <a:defRPr>
                <a:solidFill>
                  <a:prstClr val="white"/>
                </a:solidFill>
                <a:latin typeface="+mn-lt"/>
                <a:ea typeface="ＭＳ Ｐゴシック" charset="-128"/>
              </a:defRPr>
            </a:lvl1pPr>
          </a:lstStyle>
          <a:p>
            <a:pPr>
              <a:defRPr/>
            </a:pPr>
            <a:r>
              <a:rPr lang="en-US"/>
              <a:t>COMPANY NAME</a:t>
            </a:r>
          </a:p>
        </p:txBody>
      </p:sp>
      <p:sp>
        <p:nvSpPr>
          <p:cNvPr id="7" name="Slide Number Placeholder 5"/>
          <p:cNvSpPr>
            <a:spLocks noGrp="1"/>
          </p:cNvSpPr>
          <p:nvPr>
            <p:ph type="sldNum" sz="quarter" idx="12"/>
          </p:nvPr>
        </p:nvSpPr>
        <p:spPr/>
        <p:txBody>
          <a:bodyPr/>
          <a:lstStyle>
            <a:lvl1pPr>
              <a:defRPr>
                <a:solidFill>
                  <a:srgbClr val="FFFFFF"/>
                </a:solidFill>
              </a:defRPr>
            </a:lvl1pPr>
          </a:lstStyle>
          <a:p>
            <a:fld id="{122CDEA6-4559-9145-B9F8-33B173ABFBA7}" type="slidenum">
              <a:rPr lang="en-US" altLang="en-US"/>
              <a:pPr/>
              <a:t>‹N°›</a:t>
            </a:fld>
            <a:r>
              <a:rPr lang="en-US" altLang="en-US"/>
              <a:t>|</a:t>
            </a:r>
          </a:p>
        </p:txBody>
      </p:sp>
    </p:spTree>
    <p:extLst>
      <p:ext uri="{BB962C8B-B14F-4D97-AF65-F5344CB8AC3E}">
        <p14:creationId xmlns:p14="http://schemas.microsoft.com/office/powerpoint/2010/main" xmlns="" val="1883336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theme" Target="../theme/theme2.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theme" Target="../theme/theme3.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97.xml"/><Relationship Id="rId1" Type="http://schemas.openxmlformats.org/officeDocument/2006/relationships/slideLayout" Target="../slideLayouts/slideLayout96.xml"/><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0" name="AutoShape 1"/>
          <p:cNvSpPr>
            <a:spLocks/>
          </p:cNvSpPr>
          <p:nvPr/>
        </p:nvSpPr>
        <p:spPr bwMode="auto">
          <a:xfrm>
            <a:off x="8724900" y="-14288"/>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9000"/>
            </a:schemeClr>
          </a:solidFill>
          <a:ln>
            <a:noFill/>
          </a:ln>
          <a:effectLst/>
          <a:extLst/>
        </p:spPr>
        <p:txBody>
          <a:bodyPr wrap="square" lIns="38100" tIns="38100" rIns="38100" bIns="38100" anchor="ctr">
            <a:noAutofit/>
          </a:bodyPr>
          <a:lstStyle/>
          <a:p>
            <a:pPr lvl="0" defTabSz="457200"/>
            <a:endParaRPr lang="en-US" sz="3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758" r:id="rId1"/>
    <p:sldLayoutId id="2147484344" r:id="rId2"/>
    <p:sldLayoutId id="2147483720" r:id="rId3"/>
    <p:sldLayoutId id="2147483733" r:id="rId4"/>
    <p:sldLayoutId id="2147483723" r:id="rId5"/>
    <p:sldLayoutId id="2147483716" r:id="rId6"/>
    <p:sldLayoutId id="2147483721" r:id="rId7"/>
    <p:sldLayoutId id="2147483722" r:id="rId8"/>
    <p:sldLayoutId id="2147483729" r:id="rId9"/>
    <p:sldLayoutId id="2147483732" r:id="rId10"/>
    <p:sldLayoutId id="2147483730" r:id="rId11"/>
    <p:sldLayoutId id="2147483731" r:id="rId12"/>
    <p:sldLayoutId id="2147483734" r:id="rId13"/>
    <p:sldLayoutId id="2147483728" r:id="rId14"/>
    <p:sldLayoutId id="2147483739" r:id="rId15"/>
    <p:sldLayoutId id="2147483740" r:id="rId16"/>
    <p:sldLayoutId id="2147483735" r:id="rId17"/>
    <p:sldLayoutId id="2147483736" r:id="rId18"/>
    <p:sldLayoutId id="2147483737" r:id="rId19"/>
    <p:sldLayoutId id="2147484339" r:id="rId20"/>
    <p:sldLayoutId id="2147484340" r:id="rId21"/>
    <p:sldLayoutId id="2147484341" r:id="rId22"/>
    <p:sldLayoutId id="2147484342" r:id="rId23"/>
    <p:sldLayoutId id="2147484343" r:id="rId24"/>
    <p:sldLayoutId id="2147485131" r:id="rId25"/>
    <p:sldLayoutId id="2147485132" r:id="rId26"/>
    <p:sldLayoutId id="2147485135" r:id="rId27"/>
    <p:sldLayoutId id="2147485136" r:id="rId28"/>
    <p:sldLayoutId id="2147485137" r:id="rId29"/>
    <p:sldLayoutId id="2147485142" r:id="rId30"/>
    <p:sldLayoutId id="2147485147" r:id="rId31"/>
    <p:sldLayoutId id="2147485159" r:id="rId32"/>
    <p:sldLayoutId id="2147484439" r:id="rId33"/>
    <p:sldLayoutId id="2147484440" r:id="rId34"/>
    <p:sldLayoutId id="2147484447" r:id="rId35"/>
    <p:sldLayoutId id="2147484448" r:id="rId36"/>
    <p:sldLayoutId id="2147484459" r:id="rId37"/>
    <p:sldLayoutId id="2147484461" r:id="rId38"/>
    <p:sldLayoutId id="2147484462" r:id="rId39"/>
    <p:sldLayoutId id="2147484465" r:id="rId40"/>
    <p:sldLayoutId id="2147484473" r:id="rId41"/>
    <p:sldLayoutId id="2147484408" r:id="rId42"/>
    <p:sldLayoutId id="2147485175" r:id="rId43"/>
    <p:sldLayoutId id="2147485176" r:id="rId44"/>
    <p:sldLayoutId id="2147485177" r:id="rId45"/>
  </p:sldLayoutIdLst>
  <p:txStyles>
    <p:titleStyle>
      <a:lvl1pPr algn="l" defTabSz="457200" rtl="0" eaLnBrk="1" fontAlgn="base" hangingPunct="1">
        <a:spcBef>
          <a:spcPct val="0"/>
        </a:spcBef>
        <a:spcAft>
          <a:spcPct val="0"/>
        </a:spcAft>
        <a:defRPr sz="9200" b="1" kern="1200">
          <a:solidFill>
            <a:srgbClr val="4D4D4D"/>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p:titleStyle>
    <p:bodyStyle>
      <a:lvl1pPr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1pPr>
      <a:lvl2pPr marL="2286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2pPr>
      <a:lvl3pPr marL="4572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3pPr>
      <a:lvl4pPr marL="6858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4pPr>
      <a:lvl5pPr marL="9144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35" name="AutoShape 1"/>
          <p:cNvSpPr>
            <a:spLocks/>
          </p:cNvSpPr>
          <p:nvPr/>
        </p:nvSpPr>
        <p:spPr bwMode="auto">
          <a:xfrm>
            <a:off x="8724900" y="-14288"/>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9000"/>
            </a:schemeClr>
          </a:solidFill>
          <a:ln>
            <a:noFill/>
          </a:ln>
          <a:effectLst/>
          <a:extLst/>
        </p:spPr>
        <p:txBody>
          <a:bodyPr wrap="square" lIns="38100" tIns="38100" rIns="38100" bIns="38100" anchor="ctr">
            <a:noAutofit/>
          </a:bodyPr>
          <a:lstStyle/>
          <a:p>
            <a:pPr lvl="0" defTabSz="457200"/>
            <a:endParaRPr lang="en-US" sz="3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Tree>
    <p:extLst>
      <p:ext uri="{BB962C8B-B14F-4D97-AF65-F5344CB8AC3E}">
        <p14:creationId xmlns:p14="http://schemas.microsoft.com/office/powerpoint/2010/main" xmlns="" val="2170851077"/>
      </p:ext>
    </p:extLst>
  </p:cSld>
  <p:clrMap bg1="lt1" tx1="dk1" bg2="lt2" tx2="dk2" accent1="accent1" accent2="accent2" accent3="accent3" accent4="accent4" accent5="accent5" accent6="accent6" hlink="hlink" folHlink="folHlink"/>
  <p:sldLayoutIdLst>
    <p:sldLayoutId id="2147483777"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 id="2147484256" r:id="rId11"/>
    <p:sldLayoutId id="2147484257" r:id="rId12"/>
    <p:sldLayoutId id="2147484258" r:id="rId13"/>
    <p:sldLayoutId id="2147484259" r:id="rId14"/>
    <p:sldLayoutId id="2147484260" r:id="rId15"/>
    <p:sldLayoutId id="2147484261" r:id="rId16"/>
    <p:sldLayoutId id="2147484262" r:id="rId17"/>
    <p:sldLayoutId id="2147484263" r:id="rId18"/>
    <p:sldLayoutId id="2147484264" r:id="rId19"/>
    <p:sldLayoutId id="2147484265" r:id="rId20"/>
    <p:sldLayoutId id="2147484266" r:id="rId21"/>
    <p:sldLayoutId id="2147484267" r:id="rId22"/>
    <p:sldLayoutId id="2147484268" r:id="rId23"/>
    <p:sldLayoutId id="2147484269" r:id="rId24"/>
    <p:sldLayoutId id="2147484529" r:id="rId25"/>
  </p:sldLayoutIdLst>
  <p:txStyles>
    <p:titleStyle>
      <a:lvl1pPr algn="l" defTabSz="457200" rtl="0" eaLnBrk="1" fontAlgn="base" hangingPunct="1">
        <a:spcBef>
          <a:spcPct val="0"/>
        </a:spcBef>
        <a:spcAft>
          <a:spcPct val="0"/>
        </a:spcAft>
        <a:defRPr sz="9200" b="1" kern="1200">
          <a:solidFill>
            <a:srgbClr val="4D4D4D"/>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p:titleStyle>
    <p:bodyStyle>
      <a:lvl1pPr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1pPr>
      <a:lvl2pPr marL="2286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2pPr>
      <a:lvl3pPr marL="4572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3pPr>
      <a:lvl4pPr marL="6858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4pPr>
      <a:lvl5pPr marL="9144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35" name="AutoShape 1"/>
          <p:cNvSpPr>
            <a:spLocks/>
          </p:cNvSpPr>
          <p:nvPr/>
        </p:nvSpPr>
        <p:spPr bwMode="auto">
          <a:xfrm>
            <a:off x="8724900" y="-14288"/>
            <a:ext cx="15724188" cy="13800138"/>
          </a:xfrm>
          <a:custGeom>
            <a:avLst/>
            <a:gdLst>
              <a:gd name="T0" fmla="*/ 7862094 w 21600"/>
              <a:gd name="T1" fmla="*/ 6900069 h 21600"/>
              <a:gd name="T2" fmla="*/ 7862094 w 21600"/>
              <a:gd name="T3" fmla="*/ 6900069 h 21600"/>
              <a:gd name="T4" fmla="*/ 7862094 w 21600"/>
              <a:gd name="T5" fmla="*/ 6900069 h 21600"/>
              <a:gd name="T6" fmla="*/ 7862094 w 21600"/>
              <a:gd name="T7" fmla="*/ 69000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9000"/>
            </a:schemeClr>
          </a:solidFill>
          <a:ln>
            <a:noFill/>
          </a:ln>
          <a:effectLst/>
          <a:extLst/>
        </p:spPr>
        <p:txBody>
          <a:bodyPr wrap="square" lIns="38100" tIns="38100" rIns="38100" bIns="38100" anchor="ctr">
            <a:noAutofit/>
          </a:bodyPr>
          <a:lstStyle/>
          <a:p>
            <a:pPr lvl="0" defTabSz="457200"/>
            <a:endParaRPr lang="en-US" sz="3000" dirty="0">
              <a:solidFill>
                <a:srgbClr val="FFFFFF"/>
              </a:solidFill>
              <a:effectLst>
                <a:outerShdw blurRad="38100" dist="38100" dir="2700000" algn="tl">
                  <a:srgbClr val="000000"/>
                </a:outerShdw>
              </a:effectLst>
              <a:latin typeface="Lato" panose="020F0502020204030203" pitchFamily="34" charset="0"/>
              <a:cs typeface="Arial" panose="020B0604020202020204" pitchFamily="34" charset="0"/>
            </a:endParaRPr>
          </a:p>
        </p:txBody>
      </p:sp>
    </p:spTree>
    <p:extLst>
      <p:ext uri="{BB962C8B-B14F-4D97-AF65-F5344CB8AC3E}">
        <p14:creationId xmlns:p14="http://schemas.microsoft.com/office/powerpoint/2010/main" xmlns="" val="519782564"/>
      </p:ext>
    </p:extLst>
  </p:cSld>
  <p:clrMap bg1="lt1" tx1="dk1" bg2="lt2" tx2="dk2" accent1="accent1" accent2="accent2" accent3="accent3" accent4="accent4" accent5="accent5" accent6="accent6" hlink="hlink" folHlink="folHlink"/>
  <p:sldLayoutIdLst>
    <p:sldLayoutId id="2147483849"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 id="2147484324" r:id="rId10"/>
    <p:sldLayoutId id="2147484325" r:id="rId11"/>
    <p:sldLayoutId id="2147484326" r:id="rId12"/>
    <p:sldLayoutId id="2147484327" r:id="rId13"/>
    <p:sldLayoutId id="2147484328" r:id="rId14"/>
    <p:sldLayoutId id="2147484329" r:id="rId15"/>
    <p:sldLayoutId id="2147484330" r:id="rId16"/>
    <p:sldLayoutId id="2147484331" r:id="rId17"/>
    <p:sldLayoutId id="2147484332" r:id="rId18"/>
    <p:sldLayoutId id="2147484333" r:id="rId19"/>
    <p:sldLayoutId id="2147484334" r:id="rId20"/>
    <p:sldLayoutId id="2147484335" r:id="rId21"/>
    <p:sldLayoutId id="2147484336" r:id="rId22"/>
    <p:sldLayoutId id="2147484337" r:id="rId23"/>
    <p:sldLayoutId id="2147484338" r:id="rId24"/>
    <p:sldLayoutId id="2147484530" r:id="rId25"/>
  </p:sldLayoutIdLst>
  <p:txStyles>
    <p:titleStyle>
      <a:lvl1pPr algn="l" defTabSz="457200" rtl="0" eaLnBrk="1" fontAlgn="base" hangingPunct="1">
        <a:spcBef>
          <a:spcPct val="0"/>
        </a:spcBef>
        <a:spcAft>
          <a:spcPct val="0"/>
        </a:spcAft>
        <a:defRPr sz="9200" b="1" kern="1200">
          <a:solidFill>
            <a:srgbClr val="4D4D4D"/>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p:titleStyle>
    <p:bodyStyle>
      <a:lvl1pPr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1pPr>
      <a:lvl2pPr marL="2286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2pPr>
      <a:lvl3pPr marL="4572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3pPr>
      <a:lvl4pPr marL="6858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4pPr>
      <a:lvl5pPr marL="914400" algn="l" defTabSz="457200" rtl="0" eaLnBrk="1" fontAlgn="base" hangingPunct="1">
        <a:spcBef>
          <a:spcPct val="0"/>
        </a:spcBef>
        <a:spcAft>
          <a:spcPct val="0"/>
        </a:spcAft>
        <a:defRPr sz="3600" b="0" kern="1200">
          <a:solidFill>
            <a:srgbClr val="4D4D4D"/>
          </a:solidFill>
          <a:latin typeface="Lato Light" panose="020F0302020204030203" pitchFamily="34" charset="0"/>
          <a:ea typeface="+mn-ea"/>
          <a:cs typeface="+mn-cs"/>
          <a:sym typeface="Helvetica"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F3F3F3"/>
            </a:gs>
            <a:gs pos="100000">
              <a:srgbClr val="F8F8F8"/>
            </a:gs>
          </a:gsLst>
          <a:lin ang="5400000" scaled="1"/>
        </a:gra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17602200" y="12712701"/>
            <a:ext cx="5486400" cy="730250"/>
          </a:xfrm>
          <a:prstGeom prst="rect">
            <a:avLst/>
          </a:prstGeom>
        </p:spPr>
        <p:txBody>
          <a:bodyPr vert="horz" lIns="91440" tIns="45720" rIns="91440" bIns="45720" rtlCol="0" anchor="ctr"/>
          <a:lstStyle>
            <a:lvl1pPr algn="r">
              <a:defRPr sz="1800">
                <a:solidFill>
                  <a:prstClr val="black">
                    <a:tint val="75000"/>
                  </a:prstClr>
                </a:solidFill>
                <a:latin typeface="Calibri" panose="020F0502020204030204" pitchFamily="34" charset="0"/>
                <a:ea typeface=""/>
                <a:cs typeface="Arial" charset="0"/>
              </a:defRPr>
            </a:lvl1pPr>
          </a:lstStyle>
          <a:p>
            <a:pPr defTabSz="914400" hangingPunct="1">
              <a:defRPr/>
            </a:pPr>
            <a:r>
              <a:rPr lang="en-US"/>
              <a:t>PRESENTER NAME</a:t>
            </a:r>
          </a:p>
        </p:txBody>
      </p:sp>
      <p:sp>
        <p:nvSpPr>
          <p:cNvPr id="5" name="Footer Placeholder 4"/>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1800">
                <a:solidFill>
                  <a:prstClr val="black">
                    <a:tint val="75000"/>
                  </a:prstClr>
                </a:solidFill>
                <a:latin typeface="Calibri" panose="020F0502020204030204" pitchFamily="34" charset="0"/>
                <a:ea typeface=""/>
                <a:cs typeface="Arial" charset="0"/>
              </a:defRPr>
            </a:lvl1pPr>
          </a:lstStyle>
          <a:p>
            <a:pPr defTabSz="914400" hangingPunct="1">
              <a:defRPr/>
            </a:pPr>
            <a:r>
              <a:rPr lang="en-US"/>
              <a:t>COMPANY NAME</a:t>
            </a:r>
          </a:p>
        </p:txBody>
      </p:sp>
      <p:sp>
        <p:nvSpPr>
          <p:cNvPr id="6" name="Slide Number Placeholder 5"/>
          <p:cNvSpPr>
            <a:spLocks noGrp="1"/>
          </p:cNvSpPr>
          <p:nvPr>
            <p:ph type="sldNum" sz="quarter" idx="4"/>
          </p:nvPr>
        </p:nvSpPr>
        <p:spPr>
          <a:xfrm>
            <a:off x="1312333" y="12712701"/>
            <a:ext cx="5486400" cy="730250"/>
          </a:xfrm>
          <a:prstGeom prst="rect">
            <a:avLst/>
          </a:prstGeom>
        </p:spPr>
        <p:txBody>
          <a:bodyPr vert="horz" wrap="square" lIns="91440" tIns="45720" rIns="91440" bIns="45720" numCol="1" anchor="ctr" anchorCtr="0" compatLnSpc="1">
            <a:prstTxWarp prst="textNoShape">
              <a:avLst/>
            </a:prstTxWarp>
          </a:bodyPr>
          <a:lstStyle>
            <a:lvl1pPr>
              <a:defRPr sz="1800">
                <a:solidFill>
                  <a:srgbClr val="898989"/>
                </a:solidFill>
                <a:latin typeface="Calibri" charset="0"/>
              </a:defRPr>
            </a:lvl1pPr>
          </a:lstStyle>
          <a:p>
            <a:pPr algn="l" defTabSz="914400" hangingPunct="1"/>
            <a:fld id="{03233896-67CA-B34D-8543-C4D8E4ED1AE0}" type="slidenum">
              <a:rPr lang="en-US" altLang="en-US" smtClean="0">
                <a:ea typeface="ＭＳ Ｐゴシック" charset="-128"/>
                <a:cs typeface=""/>
              </a:rPr>
              <a:pPr algn="l" defTabSz="914400" hangingPunct="1"/>
              <a:t>‹N°›</a:t>
            </a:fld>
            <a:r>
              <a:rPr lang="en-US" altLang="en-US">
                <a:ea typeface="ＭＳ Ｐゴシック" charset="-128"/>
                <a:cs typeface=""/>
              </a:rPr>
              <a:t>|</a:t>
            </a:r>
          </a:p>
        </p:txBody>
      </p:sp>
    </p:spTree>
    <p:custDataLst>
      <p:tags r:id="rId4"/>
    </p:custDataLst>
    <p:extLst>
      <p:ext uri="{BB962C8B-B14F-4D97-AF65-F5344CB8AC3E}">
        <p14:creationId xmlns:p14="http://schemas.microsoft.com/office/powerpoint/2010/main" xmlns="" val="1572923147"/>
      </p:ext>
    </p:extLst>
  </p:cSld>
  <p:clrMap bg1="lt1" tx1="dk1" bg2="lt2" tx2="dk2" accent1="accent1" accent2="accent2" accent3="accent3" accent4="accent4" accent5="accent5" accent6="accent6" hlink="hlink" folHlink="folHlink"/>
  <p:sldLayoutIdLst>
    <p:sldLayoutId id="2147484526" r:id="rId1"/>
    <p:sldLayoutId id="2147484527" r:id="rId2"/>
  </p:sldLayoutIdLst>
  <p:hf hdr="0"/>
  <p:txStyles>
    <p:titleStyle>
      <a:lvl1pPr algn="l" rtl="0" eaLnBrk="0" fontAlgn="base" hangingPunct="0">
        <a:lnSpc>
          <a:spcPct val="90000"/>
        </a:lnSpc>
        <a:spcBef>
          <a:spcPct val="0"/>
        </a:spcBef>
        <a:spcAft>
          <a:spcPct val="0"/>
        </a:spcAft>
        <a:defRPr sz="6600" kern="1200">
          <a:solidFill>
            <a:schemeClr val="tx1"/>
          </a:solidFill>
          <a:latin typeface="+mj-lt"/>
          <a:ea typeface="+mj-ea"/>
          <a:cs typeface="+mj-cs"/>
        </a:defRPr>
      </a:lvl1pPr>
      <a:lvl2pPr algn="l" rtl="0" eaLnBrk="0" fontAlgn="base" hangingPunct="0">
        <a:lnSpc>
          <a:spcPct val="90000"/>
        </a:lnSpc>
        <a:spcBef>
          <a:spcPct val="0"/>
        </a:spcBef>
        <a:spcAft>
          <a:spcPct val="0"/>
        </a:spcAft>
        <a:defRPr sz="6600">
          <a:solidFill>
            <a:schemeClr val="tx1"/>
          </a:solidFill>
          <a:latin typeface="Calibri" pitchFamily="34" charset="0"/>
        </a:defRPr>
      </a:lvl2pPr>
      <a:lvl3pPr algn="l" rtl="0" eaLnBrk="0" fontAlgn="base" hangingPunct="0">
        <a:lnSpc>
          <a:spcPct val="90000"/>
        </a:lnSpc>
        <a:spcBef>
          <a:spcPct val="0"/>
        </a:spcBef>
        <a:spcAft>
          <a:spcPct val="0"/>
        </a:spcAft>
        <a:defRPr sz="6600">
          <a:solidFill>
            <a:schemeClr val="tx1"/>
          </a:solidFill>
          <a:latin typeface="Calibri" pitchFamily="34" charset="0"/>
        </a:defRPr>
      </a:lvl3pPr>
      <a:lvl4pPr algn="l" rtl="0" eaLnBrk="0" fontAlgn="base" hangingPunct="0">
        <a:lnSpc>
          <a:spcPct val="90000"/>
        </a:lnSpc>
        <a:spcBef>
          <a:spcPct val="0"/>
        </a:spcBef>
        <a:spcAft>
          <a:spcPct val="0"/>
        </a:spcAft>
        <a:defRPr sz="6600">
          <a:solidFill>
            <a:schemeClr val="tx1"/>
          </a:solidFill>
          <a:latin typeface="Calibri" pitchFamily="34" charset="0"/>
        </a:defRPr>
      </a:lvl4pPr>
      <a:lvl5pPr algn="l" rtl="0" eaLnBrk="0" fontAlgn="base" hangingPunct="0">
        <a:lnSpc>
          <a:spcPct val="90000"/>
        </a:lnSpc>
        <a:spcBef>
          <a:spcPct val="0"/>
        </a:spcBef>
        <a:spcAft>
          <a:spcPct val="0"/>
        </a:spcAft>
        <a:defRPr sz="6600">
          <a:solidFill>
            <a:schemeClr val="tx1"/>
          </a:solidFill>
          <a:latin typeface="Calibri" pitchFamily="34" charset="0"/>
        </a:defRPr>
      </a:lvl5pPr>
      <a:lvl6pPr marL="685800" algn="l" rtl="0" fontAlgn="base">
        <a:lnSpc>
          <a:spcPct val="90000"/>
        </a:lnSpc>
        <a:spcBef>
          <a:spcPct val="0"/>
        </a:spcBef>
        <a:spcAft>
          <a:spcPct val="0"/>
        </a:spcAft>
        <a:defRPr sz="6600">
          <a:solidFill>
            <a:schemeClr val="tx1"/>
          </a:solidFill>
          <a:latin typeface="Calibri Light" pitchFamily="34" charset="0"/>
        </a:defRPr>
      </a:lvl6pPr>
      <a:lvl7pPr marL="1371600" algn="l" rtl="0" fontAlgn="base">
        <a:lnSpc>
          <a:spcPct val="90000"/>
        </a:lnSpc>
        <a:spcBef>
          <a:spcPct val="0"/>
        </a:spcBef>
        <a:spcAft>
          <a:spcPct val="0"/>
        </a:spcAft>
        <a:defRPr sz="6600">
          <a:solidFill>
            <a:schemeClr val="tx1"/>
          </a:solidFill>
          <a:latin typeface="Calibri Light" pitchFamily="34" charset="0"/>
        </a:defRPr>
      </a:lvl7pPr>
      <a:lvl8pPr marL="2057400" algn="l" rtl="0" fontAlgn="base">
        <a:lnSpc>
          <a:spcPct val="90000"/>
        </a:lnSpc>
        <a:spcBef>
          <a:spcPct val="0"/>
        </a:spcBef>
        <a:spcAft>
          <a:spcPct val="0"/>
        </a:spcAft>
        <a:defRPr sz="6600">
          <a:solidFill>
            <a:schemeClr val="tx1"/>
          </a:solidFill>
          <a:latin typeface="Calibri Light" pitchFamily="34" charset="0"/>
        </a:defRPr>
      </a:lvl8pPr>
      <a:lvl9pPr marL="2743200" algn="l" rtl="0" fontAlgn="base">
        <a:lnSpc>
          <a:spcPct val="90000"/>
        </a:lnSpc>
        <a:spcBef>
          <a:spcPct val="0"/>
        </a:spcBef>
        <a:spcAft>
          <a:spcPct val="0"/>
        </a:spcAft>
        <a:defRPr sz="6600">
          <a:solidFill>
            <a:schemeClr val="tx1"/>
          </a:solidFill>
          <a:latin typeface="Calibri Light" pitchFamily="34" charset="0"/>
        </a:defRPr>
      </a:lvl9pPr>
    </p:titleStyle>
    <p:bodyStyle>
      <a:lvl1pPr marL="342900" indent="-342900" algn="l" rtl="0" eaLnBrk="0" fontAlgn="base" hangingPunct="0">
        <a:lnSpc>
          <a:spcPct val="90000"/>
        </a:lnSpc>
        <a:spcBef>
          <a:spcPts val="1500"/>
        </a:spcBef>
        <a:spcAft>
          <a:spcPct val="0"/>
        </a:spcAft>
        <a:buFont typeface="Arial" charset="0"/>
        <a:buChar char="•"/>
        <a:defRPr sz="4200" kern="1200">
          <a:solidFill>
            <a:schemeClr val="tx1"/>
          </a:solidFill>
          <a:latin typeface="+mn-lt"/>
          <a:ea typeface="+mn-ea"/>
          <a:cs typeface="+mn-cs"/>
        </a:defRPr>
      </a:lvl1pPr>
      <a:lvl2pPr marL="1028700" indent="-342900" algn="l" rtl="0" eaLnBrk="0" fontAlgn="base" hangingPunct="0">
        <a:lnSpc>
          <a:spcPct val="90000"/>
        </a:lnSpc>
        <a:spcBef>
          <a:spcPts val="750"/>
        </a:spcBef>
        <a:spcAft>
          <a:spcPct val="0"/>
        </a:spcAft>
        <a:buFont typeface="Arial" charset="0"/>
        <a:buChar char="•"/>
        <a:defRPr kern="1200">
          <a:solidFill>
            <a:schemeClr val="tx1"/>
          </a:solidFill>
          <a:latin typeface="+mn-lt"/>
          <a:ea typeface="+mn-ea"/>
          <a:cs typeface="+mn-cs"/>
        </a:defRPr>
      </a:lvl2pPr>
      <a:lvl3pPr marL="1714500" indent="-342900" algn="l" rtl="0" eaLnBrk="0" fontAlgn="base" hangingPunct="0">
        <a:lnSpc>
          <a:spcPct val="90000"/>
        </a:lnSpc>
        <a:spcBef>
          <a:spcPts val="750"/>
        </a:spcBef>
        <a:spcAft>
          <a:spcPct val="0"/>
        </a:spcAft>
        <a:buFont typeface="Arial" charset="0"/>
        <a:buChar char="•"/>
        <a:defRPr sz="3000" kern="1200">
          <a:solidFill>
            <a:schemeClr val="tx1"/>
          </a:solidFill>
          <a:latin typeface="+mn-lt"/>
          <a:ea typeface="+mn-ea"/>
          <a:cs typeface="+mn-cs"/>
        </a:defRPr>
      </a:lvl3pPr>
      <a:lvl4pPr marL="2400300" indent="-342900" algn="l" rtl="0" eaLnBrk="0" fontAlgn="base" hangingPunct="0">
        <a:lnSpc>
          <a:spcPct val="90000"/>
        </a:lnSpc>
        <a:spcBef>
          <a:spcPts val="750"/>
        </a:spcBef>
        <a:spcAft>
          <a:spcPct val="0"/>
        </a:spcAft>
        <a:buFont typeface="Arial" charset="0"/>
        <a:buChar char="•"/>
        <a:defRPr kern="1200">
          <a:solidFill>
            <a:schemeClr val="tx1"/>
          </a:solidFill>
          <a:latin typeface="+mn-lt"/>
          <a:ea typeface="+mn-ea"/>
          <a:cs typeface="+mn-cs"/>
        </a:defRPr>
      </a:lvl4pPr>
      <a:lvl5pPr marL="3086100" indent="-342900" algn="l" rtl="0" eaLnBrk="0" fontAlgn="base" hangingPunct="0">
        <a:lnSpc>
          <a:spcPct val="90000"/>
        </a:lnSpc>
        <a:spcBef>
          <a:spcPts val="750"/>
        </a:spcBef>
        <a:spcAft>
          <a:spcPct val="0"/>
        </a:spcAft>
        <a:buFont typeface="Arial" charset="0"/>
        <a:buChar char="•"/>
        <a:defRPr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7.xml"/><Relationship Id="rId1" Type="http://schemas.openxmlformats.org/officeDocument/2006/relationships/slideLayout" Target="../slideLayouts/slideLayout45.xml"/><Relationship Id="rId5" Type="http://schemas.openxmlformats.org/officeDocument/2006/relationships/image" Target="../media/image31.png"/><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hyperlink" Target="mailto:fy.inglebert@praxiam.fr" TargetMode="External"/><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37.gif"/><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jpe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8.jpeg"/><Relationship Id="rId5" Type="http://schemas.microsoft.com/office/2007/relationships/hdphoto" Target="../media/hdphoto1.wdp"/><Relationship Id="rId4" Type="http://schemas.openxmlformats.org/officeDocument/2006/relationships/image" Target="../media/image17.jpeg"/></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hyperlink" Target="https://www.youtube.com/watch?v=WIVuv1KBpQo" TargetMode="External"/><Relationship Id="rId2" Type="http://schemas.openxmlformats.org/officeDocument/2006/relationships/notesSlide" Target="../notesSlides/notesSlide7.xml"/><Relationship Id="rId1" Type="http://schemas.openxmlformats.org/officeDocument/2006/relationships/slideLayout" Target="../slideLayouts/slideLayout18.xml"/><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2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1" name="AutoShape 5"/>
          <p:cNvSpPr>
            <a:spLocks/>
          </p:cNvSpPr>
          <p:nvPr/>
        </p:nvSpPr>
        <p:spPr bwMode="auto">
          <a:xfrm>
            <a:off x="1460500" y="3251200"/>
            <a:ext cx="9753600" cy="1778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l"/>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An internal auditor is an employee of the company charged with providing independent and objective evaluations of the companies financial and operational business activities, including corporate governance</a:t>
            </a:r>
            <a:endParaRPr lang="en-US" dirty="0">
              <a:solidFill>
                <a:schemeClr val="tx1"/>
              </a:solidFill>
            </a:endParaRPr>
          </a:p>
        </p:txBody>
      </p:sp>
      <p:sp>
        <p:nvSpPr>
          <p:cNvPr id="70662" name="AutoShape 6"/>
          <p:cNvSpPr>
            <a:spLocks/>
          </p:cNvSpPr>
          <p:nvPr/>
        </p:nvSpPr>
        <p:spPr bwMode="auto">
          <a:xfrm>
            <a:off x="3784600" y="6438900"/>
            <a:ext cx="6858000" cy="1778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3600" b="1" dirty="0"/>
              <a:t>Assurance</a:t>
            </a:r>
            <a:r>
              <a:rPr lang="en-US" sz="3600" dirty="0"/>
              <a:t> that the organization is operating as management intends.</a:t>
            </a:r>
            <a:endParaRPr lang="en-US" dirty="0">
              <a:solidFill>
                <a:schemeClr val="tx1"/>
              </a:solidFill>
            </a:endParaRPr>
          </a:p>
        </p:txBody>
      </p:sp>
      <p:sp>
        <p:nvSpPr>
          <p:cNvPr id="70663" name="AutoShape 7"/>
          <p:cNvSpPr>
            <a:spLocks/>
          </p:cNvSpPr>
          <p:nvPr/>
        </p:nvSpPr>
        <p:spPr bwMode="auto">
          <a:xfrm>
            <a:off x="3784600" y="8856980"/>
            <a:ext cx="6858000" cy="1778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3600" b="1" dirty="0"/>
              <a:t>Insight</a:t>
            </a:r>
            <a:r>
              <a:rPr lang="en-US" sz="3600" dirty="0"/>
              <a:t> for improving controls, processes, procedures, performance and risk management.</a:t>
            </a:r>
            <a:endParaRPr lang="en-US" dirty="0">
              <a:solidFill>
                <a:schemeClr val="tx1"/>
              </a:solidFill>
            </a:endParaRPr>
          </a:p>
        </p:txBody>
      </p:sp>
      <p:sp>
        <p:nvSpPr>
          <p:cNvPr id="70664" name="AutoShape 8"/>
          <p:cNvSpPr>
            <a:spLocks/>
          </p:cNvSpPr>
          <p:nvPr/>
        </p:nvSpPr>
        <p:spPr bwMode="auto">
          <a:xfrm>
            <a:off x="3784600" y="11069930"/>
            <a:ext cx="6858000" cy="23368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p>
            <a:endParaRPr lang="en-US" sz="3600" b="1" dirty="0"/>
          </a:p>
          <a:p>
            <a:pPr algn="l"/>
            <a:r>
              <a:rPr lang="en-US" sz="3600" b="1" dirty="0"/>
              <a:t>Objective</a:t>
            </a:r>
            <a:r>
              <a:rPr lang="en-US" sz="3600" dirty="0"/>
              <a:t> assessment of operations.</a:t>
            </a:r>
          </a:p>
          <a:p>
            <a:r>
              <a:rPr lang="en-US" sz="3600" dirty="0"/>
              <a:t/>
            </a:r>
            <a:br>
              <a:rPr lang="en-US" sz="3600" dirty="0"/>
            </a:br>
            <a:endParaRPr lang="en-US" dirty="0">
              <a:solidFill>
                <a:schemeClr val="tx1"/>
              </a:solidFill>
            </a:endParaRPr>
          </a:p>
        </p:txBody>
      </p:sp>
      <p:grpSp>
        <p:nvGrpSpPr>
          <p:cNvPr id="8" name="Group 7"/>
          <p:cNvGrpSpPr/>
          <p:nvPr/>
        </p:nvGrpSpPr>
        <p:grpSpPr>
          <a:xfrm>
            <a:off x="1454880" y="6486652"/>
            <a:ext cx="1682054" cy="1682496"/>
            <a:chOff x="1460500" y="6534404"/>
            <a:chExt cx="1682054" cy="1682496"/>
          </a:xfrm>
        </p:grpSpPr>
        <p:grpSp>
          <p:nvGrpSpPr>
            <p:cNvPr id="41" name="Group 40"/>
            <p:cNvGrpSpPr>
              <a:grpSpLocks noChangeAspect="1"/>
            </p:cNvGrpSpPr>
            <p:nvPr/>
          </p:nvGrpSpPr>
          <p:grpSpPr>
            <a:xfrm>
              <a:off x="1460500" y="6534404"/>
              <a:ext cx="1682054" cy="1682496"/>
              <a:chOff x="8945562" y="7707313"/>
              <a:chExt cx="6043613" cy="6045200"/>
            </a:xfrm>
          </p:grpSpPr>
          <p:sp>
            <p:nvSpPr>
              <p:cNvPr id="42" name="AutoShape 3"/>
              <p:cNvSpPr>
                <a:spLocks/>
              </p:cNvSpPr>
              <p:nvPr/>
            </p:nvSpPr>
            <p:spPr bwMode="auto">
              <a:xfrm>
                <a:off x="8945562" y="7707313"/>
                <a:ext cx="6043613" cy="60452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a:solidFill>
                    <a:srgbClr val="FFFFFF"/>
                  </a:solidFill>
                  <a:effectLst>
                    <a:outerShdw blurRad="38100" dist="38100" dir="2700000" algn="tl">
                      <a:srgbClr val="000000"/>
                    </a:outerShdw>
                  </a:effectLst>
                  <a:latin typeface="+mn-lt"/>
                </a:endParaRPr>
              </a:p>
            </p:txBody>
          </p:sp>
          <p:sp>
            <p:nvSpPr>
              <p:cNvPr id="43" name="Freeform 42"/>
              <p:cNvSpPr>
                <a:spLocks/>
              </p:cNvSpPr>
              <p:nvPr/>
            </p:nvSpPr>
            <p:spPr bwMode="auto">
              <a:xfrm>
                <a:off x="9959869" y="8705747"/>
                <a:ext cx="5029075" cy="4924802"/>
              </a:xfrm>
              <a:custGeom>
                <a:avLst/>
                <a:gdLst>
                  <a:gd name="connsiteX0" fmla="*/ 2061265 w 5029075"/>
                  <a:gd name="connsiteY0" fmla="*/ 0 h 4924802"/>
                  <a:gd name="connsiteX1" fmla="*/ 3362285 w 5029075"/>
                  <a:gd name="connsiteY1" fmla="*/ 462187 h 4924802"/>
                  <a:gd name="connsiteX2" fmla="*/ 3475453 w 5029075"/>
                  <a:gd name="connsiteY2" fmla="*/ 564451 h 4924802"/>
                  <a:gd name="connsiteX3" fmla="*/ 5000990 w 5029075"/>
                  <a:gd name="connsiteY3" fmla="*/ 1635358 h 4924802"/>
                  <a:gd name="connsiteX4" fmla="*/ 5015245 w 5029075"/>
                  <a:gd name="connsiteY4" fmla="*/ 1734152 h 4924802"/>
                  <a:gd name="connsiteX5" fmla="*/ 4143909 w 5029075"/>
                  <a:gd name="connsiteY5" fmla="*/ 4161136 h 4924802"/>
                  <a:gd name="connsiteX6" fmla="*/ 2867497 w 5029075"/>
                  <a:gd name="connsiteY6" fmla="*/ 4922026 h 4924802"/>
                  <a:gd name="connsiteX7" fmla="*/ 2856135 w 5029075"/>
                  <a:gd name="connsiteY7" fmla="*/ 4924802 h 4924802"/>
                  <a:gd name="connsiteX8" fmla="*/ 1363446 w 5029075"/>
                  <a:gd name="connsiteY8" fmla="*/ 3998957 h 4924802"/>
                  <a:gd name="connsiteX9" fmla="*/ 1285607 w 5029075"/>
                  <a:gd name="connsiteY9" fmla="*/ 3971726 h 4924802"/>
                  <a:gd name="connsiteX10" fmla="*/ 603673 w 5029075"/>
                  <a:gd name="connsiteY10" fmla="*/ 3518854 h 4924802"/>
                  <a:gd name="connsiteX11" fmla="*/ 603673 w 5029075"/>
                  <a:gd name="connsiteY11" fmla="*/ 603672 h 4924802"/>
                  <a:gd name="connsiteX12" fmla="*/ 2061265 w 5029075"/>
                  <a:gd name="connsiteY12" fmla="*/ 0 h 49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075" h="4924802">
                    <a:moveTo>
                      <a:pt x="2061265" y="0"/>
                    </a:moveTo>
                    <a:cubicBezTo>
                      <a:pt x="2522844" y="0"/>
                      <a:pt x="2984423" y="154062"/>
                      <a:pt x="3362285" y="462187"/>
                    </a:cubicBezTo>
                    <a:lnTo>
                      <a:pt x="3475453" y="564451"/>
                    </a:lnTo>
                    <a:lnTo>
                      <a:pt x="5000990" y="1635358"/>
                    </a:lnTo>
                    <a:lnTo>
                      <a:pt x="5015245" y="1734152"/>
                    </a:lnTo>
                    <a:cubicBezTo>
                      <a:pt x="5098229" y="2601125"/>
                      <a:pt x="4807784" y="3497086"/>
                      <a:pt x="4143909" y="4161136"/>
                    </a:cubicBezTo>
                    <a:cubicBezTo>
                      <a:pt x="3775089" y="4530053"/>
                      <a:pt x="3334711" y="4783683"/>
                      <a:pt x="2867497" y="4922026"/>
                    </a:cubicBezTo>
                    <a:lnTo>
                      <a:pt x="2856135" y="4924802"/>
                    </a:lnTo>
                    <a:lnTo>
                      <a:pt x="1363446" y="3998957"/>
                    </a:lnTo>
                    <a:lnTo>
                      <a:pt x="1285607" y="3971726"/>
                    </a:lnTo>
                    <a:cubicBezTo>
                      <a:pt x="1037468" y="3871088"/>
                      <a:pt x="804950" y="3720131"/>
                      <a:pt x="603673" y="3518854"/>
                    </a:cubicBezTo>
                    <a:cubicBezTo>
                      <a:pt x="-201224" y="2713749"/>
                      <a:pt x="-201224" y="1408778"/>
                      <a:pt x="603673" y="603672"/>
                    </a:cubicBezTo>
                    <a:cubicBezTo>
                      <a:pt x="1006226" y="201224"/>
                      <a:pt x="1533745" y="0"/>
                      <a:pt x="2061265" y="0"/>
                    </a:cubicBezTo>
                    <a:close/>
                  </a:path>
                </a:pathLst>
              </a:custGeom>
              <a:solidFill>
                <a:schemeClr val="accent3">
                  <a:lumMod val="75000"/>
                  <a:alpha val="75000"/>
                </a:schemeClr>
              </a:solidFill>
              <a:ln>
                <a:noFill/>
              </a:ln>
              <a:effectLst/>
              <a:extLst/>
            </p:spPr>
            <p:txBody>
              <a:bodyPr lIns="0" tIns="0" rIns="0" bIns="0" anchor="ctr"/>
              <a:lstStyle/>
              <a:p>
                <a:endParaRPr lang="en-US">
                  <a:latin typeface="+mn-lt"/>
                </a:endParaRPr>
              </a:p>
            </p:txBody>
          </p:sp>
          <p:sp>
            <p:nvSpPr>
              <p:cNvPr id="44" name="AutoShape 5"/>
              <p:cNvSpPr>
                <a:spLocks/>
              </p:cNvSpPr>
              <p:nvPr/>
            </p:nvSpPr>
            <p:spPr bwMode="auto">
              <a:xfrm>
                <a:off x="9882981" y="8645526"/>
                <a:ext cx="4168775" cy="416877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4"/>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a:solidFill>
                    <a:srgbClr val="FFFFFF"/>
                  </a:solidFill>
                  <a:effectLst>
                    <a:outerShdw blurRad="38100" dist="38100" dir="2700000" algn="tl">
                      <a:srgbClr val="000000"/>
                    </a:outerShdw>
                  </a:effectLst>
                  <a:latin typeface="+mn-lt"/>
                </a:endParaRPr>
              </a:p>
            </p:txBody>
          </p:sp>
        </p:grpSp>
        <p:grpSp>
          <p:nvGrpSpPr>
            <p:cNvPr id="4" name="Group 3"/>
            <p:cNvGrpSpPr/>
            <p:nvPr/>
          </p:nvGrpSpPr>
          <p:grpSpPr>
            <a:xfrm>
              <a:off x="1932434" y="7006559"/>
              <a:ext cx="738187" cy="738187"/>
              <a:chOff x="1878013" y="6945313"/>
              <a:chExt cx="738187" cy="738187"/>
            </a:xfrm>
          </p:grpSpPr>
          <p:sp>
            <p:nvSpPr>
              <p:cNvPr id="70675" name="AutoShape 19"/>
              <p:cNvSpPr>
                <a:spLocks/>
              </p:cNvSpPr>
              <p:nvPr/>
            </p:nvSpPr>
            <p:spPr bwMode="auto">
              <a:xfrm>
                <a:off x="2051050" y="7169150"/>
                <a:ext cx="393700" cy="2587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1591"/>
                    </a:moveTo>
                    <a:lnTo>
                      <a:pt x="7664" y="21599"/>
                    </a:lnTo>
                    <a:lnTo>
                      <a:pt x="21599" y="0"/>
                    </a:lnTo>
                  </a:path>
                </a:pathLst>
              </a:custGeom>
              <a:noFill/>
              <a:ln w="114300" cap="flat" cmpd="sng">
                <a:solidFill>
                  <a:srgbClr val="FFFFFF"/>
                </a:solidFill>
                <a:prstDash val="solid"/>
                <a:miter lim="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p>
                <a:endParaRPr lang="en-US" dirty="0">
                  <a:latin typeface="+mn-lt"/>
                </a:endParaRPr>
              </a:p>
            </p:txBody>
          </p:sp>
          <p:sp>
            <p:nvSpPr>
              <p:cNvPr id="70676" name="AutoShape 20"/>
              <p:cNvSpPr>
                <a:spLocks/>
              </p:cNvSpPr>
              <p:nvPr/>
            </p:nvSpPr>
            <p:spPr bwMode="auto">
              <a:xfrm>
                <a:off x="1878013" y="6945313"/>
                <a:ext cx="738187" cy="7381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noFill/>
              <a:ln w="101600" cap="flat" cmpd="sng">
                <a:solidFill>
                  <a:srgbClr val="FFFFFF"/>
                </a:solidFill>
                <a:prstDash val="solid"/>
                <a:miter lim="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C0C0C0"/>
                    </a:outerShdw>
                  </a:effectLst>
                  <a:latin typeface="+mn-lt"/>
                </a:endParaRPr>
              </a:p>
            </p:txBody>
          </p:sp>
        </p:grpSp>
      </p:grpSp>
      <p:grpSp>
        <p:nvGrpSpPr>
          <p:cNvPr id="9" name="Group 8"/>
          <p:cNvGrpSpPr/>
          <p:nvPr/>
        </p:nvGrpSpPr>
        <p:grpSpPr>
          <a:xfrm>
            <a:off x="1454880" y="8673130"/>
            <a:ext cx="1682054" cy="1682496"/>
            <a:chOff x="1554510" y="8547100"/>
            <a:chExt cx="1682054" cy="1682496"/>
          </a:xfrm>
        </p:grpSpPr>
        <p:grpSp>
          <p:nvGrpSpPr>
            <p:cNvPr id="45" name="Group 44"/>
            <p:cNvGrpSpPr>
              <a:grpSpLocks noChangeAspect="1"/>
            </p:cNvGrpSpPr>
            <p:nvPr/>
          </p:nvGrpSpPr>
          <p:grpSpPr>
            <a:xfrm>
              <a:off x="1554510" y="8547100"/>
              <a:ext cx="1682054" cy="1682496"/>
              <a:chOff x="8945562" y="7707313"/>
              <a:chExt cx="6043613" cy="6045200"/>
            </a:xfrm>
          </p:grpSpPr>
          <p:sp>
            <p:nvSpPr>
              <p:cNvPr id="46" name="AutoShape 3"/>
              <p:cNvSpPr>
                <a:spLocks/>
              </p:cNvSpPr>
              <p:nvPr/>
            </p:nvSpPr>
            <p:spPr bwMode="auto">
              <a:xfrm>
                <a:off x="8945562" y="7707313"/>
                <a:ext cx="6043613" cy="60452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a:solidFill>
                    <a:srgbClr val="FFFFFF"/>
                  </a:solidFill>
                  <a:effectLst>
                    <a:outerShdw blurRad="38100" dist="38100" dir="2700000" algn="tl">
                      <a:srgbClr val="000000"/>
                    </a:outerShdw>
                  </a:effectLst>
                  <a:latin typeface="+mn-lt"/>
                </a:endParaRPr>
              </a:p>
            </p:txBody>
          </p:sp>
          <p:sp>
            <p:nvSpPr>
              <p:cNvPr id="47" name="Freeform 46"/>
              <p:cNvSpPr>
                <a:spLocks/>
              </p:cNvSpPr>
              <p:nvPr/>
            </p:nvSpPr>
            <p:spPr bwMode="auto">
              <a:xfrm>
                <a:off x="9959869" y="8705747"/>
                <a:ext cx="5029075" cy="4924802"/>
              </a:xfrm>
              <a:custGeom>
                <a:avLst/>
                <a:gdLst>
                  <a:gd name="connsiteX0" fmla="*/ 2061265 w 5029075"/>
                  <a:gd name="connsiteY0" fmla="*/ 0 h 4924802"/>
                  <a:gd name="connsiteX1" fmla="*/ 3362285 w 5029075"/>
                  <a:gd name="connsiteY1" fmla="*/ 462187 h 4924802"/>
                  <a:gd name="connsiteX2" fmla="*/ 3475453 w 5029075"/>
                  <a:gd name="connsiteY2" fmla="*/ 564451 h 4924802"/>
                  <a:gd name="connsiteX3" fmla="*/ 5000990 w 5029075"/>
                  <a:gd name="connsiteY3" fmla="*/ 1635358 h 4924802"/>
                  <a:gd name="connsiteX4" fmla="*/ 5015245 w 5029075"/>
                  <a:gd name="connsiteY4" fmla="*/ 1734152 h 4924802"/>
                  <a:gd name="connsiteX5" fmla="*/ 4143909 w 5029075"/>
                  <a:gd name="connsiteY5" fmla="*/ 4161136 h 4924802"/>
                  <a:gd name="connsiteX6" fmla="*/ 2867497 w 5029075"/>
                  <a:gd name="connsiteY6" fmla="*/ 4922026 h 4924802"/>
                  <a:gd name="connsiteX7" fmla="*/ 2856135 w 5029075"/>
                  <a:gd name="connsiteY7" fmla="*/ 4924802 h 4924802"/>
                  <a:gd name="connsiteX8" fmla="*/ 1363446 w 5029075"/>
                  <a:gd name="connsiteY8" fmla="*/ 3998957 h 4924802"/>
                  <a:gd name="connsiteX9" fmla="*/ 1285607 w 5029075"/>
                  <a:gd name="connsiteY9" fmla="*/ 3971726 h 4924802"/>
                  <a:gd name="connsiteX10" fmla="*/ 603673 w 5029075"/>
                  <a:gd name="connsiteY10" fmla="*/ 3518854 h 4924802"/>
                  <a:gd name="connsiteX11" fmla="*/ 603673 w 5029075"/>
                  <a:gd name="connsiteY11" fmla="*/ 603672 h 4924802"/>
                  <a:gd name="connsiteX12" fmla="*/ 2061265 w 5029075"/>
                  <a:gd name="connsiteY12" fmla="*/ 0 h 49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075" h="4924802">
                    <a:moveTo>
                      <a:pt x="2061265" y="0"/>
                    </a:moveTo>
                    <a:cubicBezTo>
                      <a:pt x="2522844" y="0"/>
                      <a:pt x="2984423" y="154062"/>
                      <a:pt x="3362285" y="462187"/>
                    </a:cubicBezTo>
                    <a:lnTo>
                      <a:pt x="3475453" y="564451"/>
                    </a:lnTo>
                    <a:lnTo>
                      <a:pt x="5000990" y="1635358"/>
                    </a:lnTo>
                    <a:lnTo>
                      <a:pt x="5015245" y="1734152"/>
                    </a:lnTo>
                    <a:cubicBezTo>
                      <a:pt x="5098229" y="2601125"/>
                      <a:pt x="4807784" y="3497086"/>
                      <a:pt x="4143909" y="4161136"/>
                    </a:cubicBezTo>
                    <a:cubicBezTo>
                      <a:pt x="3775089" y="4530053"/>
                      <a:pt x="3334711" y="4783683"/>
                      <a:pt x="2867497" y="4922026"/>
                    </a:cubicBezTo>
                    <a:lnTo>
                      <a:pt x="2856135" y="4924802"/>
                    </a:lnTo>
                    <a:lnTo>
                      <a:pt x="1363446" y="3998957"/>
                    </a:lnTo>
                    <a:lnTo>
                      <a:pt x="1285607" y="3971726"/>
                    </a:lnTo>
                    <a:cubicBezTo>
                      <a:pt x="1037468" y="3871088"/>
                      <a:pt x="804950" y="3720131"/>
                      <a:pt x="603673" y="3518854"/>
                    </a:cubicBezTo>
                    <a:cubicBezTo>
                      <a:pt x="-201224" y="2713749"/>
                      <a:pt x="-201224" y="1408778"/>
                      <a:pt x="603673" y="603672"/>
                    </a:cubicBezTo>
                    <a:cubicBezTo>
                      <a:pt x="1006226" y="201224"/>
                      <a:pt x="1533745" y="0"/>
                      <a:pt x="2061265" y="0"/>
                    </a:cubicBezTo>
                    <a:close/>
                  </a:path>
                </a:pathLst>
              </a:custGeom>
              <a:solidFill>
                <a:schemeClr val="tx2">
                  <a:lumMod val="75000"/>
                  <a:alpha val="75000"/>
                </a:schemeClr>
              </a:solidFill>
              <a:ln>
                <a:noFill/>
              </a:ln>
              <a:effectLst/>
              <a:extLst/>
            </p:spPr>
            <p:txBody>
              <a:bodyPr lIns="0" tIns="0" rIns="0" bIns="0" anchor="ctr"/>
              <a:lstStyle/>
              <a:p>
                <a:endParaRPr lang="en-US">
                  <a:latin typeface="+mn-lt"/>
                </a:endParaRPr>
              </a:p>
            </p:txBody>
          </p:sp>
          <p:sp>
            <p:nvSpPr>
              <p:cNvPr id="48" name="AutoShape 5"/>
              <p:cNvSpPr>
                <a:spLocks/>
              </p:cNvSpPr>
              <p:nvPr/>
            </p:nvSpPr>
            <p:spPr bwMode="auto">
              <a:xfrm>
                <a:off x="9882981" y="8645526"/>
                <a:ext cx="4168775" cy="416877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a:solidFill>
                    <a:srgbClr val="FFFFFF"/>
                  </a:solidFill>
                  <a:effectLst>
                    <a:outerShdw blurRad="38100" dist="38100" dir="2700000" algn="tl">
                      <a:srgbClr val="000000"/>
                    </a:outerShdw>
                  </a:effectLst>
                  <a:latin typeface="+mn-lt"/>
                </a:endParaRPr>
              </a:p>
            </p:txBody>
          </p:sp>
        </p:grpSp>
        <p:grpSp>
          <p:nvGrpSpPr>
            <p:cNvPr id="6" name="Group 5"/>
            <p:cNvGrpSpPr/>
            <p:nvPr/>
          </p:nvGrpSpPr>
          <p:grpSpPr>
            <a:xfrm>
              <a:off x="2026444" y="9019255"/>
              <a:ext cx="738187" cy="738187"/>
              <a:chOff x="1878013" y="9053513"/>
              <a:chExt cx="738187" cy="738187"/>
            </a:xfrm>
          </p:grpSpPr>
          <p:sp>
            <p:nvSpPr>
              <p:cNvPr id="70677" name="AutoShape 21"/>
              <p:cNvSpPr>
                <a:spLocks/>
              </p:cNvSpPr>
              <p:nvPr/>
            </p:nvSpPr>
            <p:spPr bwMode="auto">
              <a:xfrm>
                <a:off x="2044700" y="9283700"/>
                <a:ext cx="393700" cy="2587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1591"/>
                    </a:moveTo>
                    <a:lnTo>
                      <a:pt x="7664" y="21599"/>
                    </a:lnTo>
                    <a:lnTo>
                      <a:pt x="21599" y="0"/>
                    </a:lnTo>
                  </a:path>
                </a:pathLst>
              </a:custGeom>
              <a:noFill/>
              <a:ln w="114300" cap="flat" cmpd="sng">
                <a:solidFill>
                  <a:srgbClr val="FFFFFF"/>
                </a:solidFill>
                <a:prstDash val="solid"/>
                <a:miter lim="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p>
                <a:endParaRPr lang="en-US" dirty="0">
                  <a:latin typeface="+mn-lt"/>
                </a:endParaRPr>
              </a:p>
            </p:txBody>
          </p:sp>
          <p:sp>
            <p:nvSpPr>
              <p:cNvPr id="70678" name="AutoShape 22"/>
              <p:cNvSpPr>
                <a:spLocks/>
              </p:cNvSpPr>
              <p:nvPr/>
            </p:nvSpPr>
            <p:spPr bwMode="auto">
              <a:xfrm>
                <a:off x="1878013" y="9053513"/>
                <a:ext cx="738187" cy="7381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noFill/>
              <a:ln w="101600" cap="flat" cmpd="sng">
                <a:solidFill>
                  <a:srgbClr val="FFFFFF"/>
                </a:solidFill>
                <a:prstDash val="solid"/>
                <a:miter lim="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C0C0C0"/>
                    </a:outerShdw>
                  </a:effectLst>
                  <a:latin typeface="+mn-lt"/>
                </a:endParaRPr>
              </a:p>
            </p:txBody>
          </p:sp>
        </p:grpSp>
      </p:grpSp>
      <p:grpSp>
        <p:nvGrpSpPr>
          <p:cNvPr id="10" name="Group 9"/>
          <p:cNvGrpSpPr/>
          <p:nvPr/>
        </p:nvGrpSpPr>
        <p:grpSpPr>
          <a:xfrm>
            <a:off x="1454880" y="10859607"/>
            <a:ext cx="1682054" cy="1682496"/>
            <a:chOff x="1483420" y="10822115"/>
            <a:chExt cx="1682054" cy="1682496"/>
          </a:xfrm>
        </p:grpSpPr>
        <p:grpSp>
          <p:nvGrpSpPr>
            <p:cNvPr id="49" name="Group 48"/>
            <p:cNvGrpSpPr>
              <a:grpSpLocks noChangeAspect="1"/>
            </p:cNvGrpSpPr>
            <p:nvPr/>
          </p:nvGrpSpPr>
          <p:grpSpPr>
            <a:xfrm>
              <a:off x="1483420" y="10822115"/>
              <a:ext cx="1682054" cy="1682496"/>
              <a:chOff x="8945562" y="7707313"/>
              <a:chExt cx="6043613" cy="6045200"/>
            </a:xfrm>
          </p:grpSpPr>
          <p:sp>
            <p:nvSpPr>
              <p:cNvPr id="50" name="AutoShape 3"/>
              <p:cNvSpPr>
                <a:spLocks/>
              </p:cNvSpPr>
              <p:nvPr/>
            </p:nvSpPr>
            <p:spPr bwMode="auto">
              <a:xfrm>
                <a:off x="8945562" y="7707313"/>
                <a:ext cx="6043613" cy="60452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mn-lt"/>
                </a:endParaRPr>
              </a:p>
            </p:txBody>
          </p:sp>
          <p:sp>
            <p:nvSpPr>
              <p:cNvPr id="51" name="Freeform 50"/>
              <p:cNvSpPr>
                <a:spLocks/>
              </p:cNvSpPr>
              <p:nvPr/>
            </p:nvSpPr>
            <p:spPr bwMode="auto">
              <a:xfrm>
                <a:off x="9959869" y="8705747"/>
                <a:ext cx="5029075" cy="4924802"/>
              </a:xfrm>
              <a:custGeom>
                <a:avLst/>
                <a:gdLst>
                  <a:gd name="connsiteX0" fmla="*/ 2061265 w 5029075"/>
                  <a:gd name="connsiteY0" fmla="*/ 0 h 4924802"/>
                  <a:gd name="connsiteX1" fmla="*/ 3362285 w 5029075"/>
                  <a:gd name="connsiteY1" fmla="*/ 462187 h 4924802"/>
                  <a:gd name="connsiteX2" fmla="*/ 3475453 w 5029075"/>
                  <a:gd name="connsiteY2" fmla="*/ 564451 h 4924802"/>
                  <a:gd name="connsiteX3" fmla="*/ 5000990 w 5029075"/>
                  <a:gd name="connsiteY3" fmla="*/ 1635358 h 4924802"/>
                  <a:gd name="connsiteX4" fmla="*/ 5015245 w 5029075"/>
                  <a:gd name="connsiteY4" fmla="*/ 1734152 h 4924802"/>
                  <a:gd name="connsiteX5" fmla="*/ 4143909 w 5029075"/>
                  <a:gd name="connsiteY5" fmla="*/ 4161136 h 4924802"/>
                  <a:gd name="connsiteX6" fmla="*/ 2867497 w 5029075"/>
                  <a:gd name="connsiteY6" fmla="*/ 4922026 h 4924802"/>
                  <a:gd name="connsiteX7" fmla="*/ 2856135 w 5029075"/>
                  <a:gd name="connsiteY7" fmla="*/ 4924802 h 4924802"/>
                  <a:gd name="connsiteX8" fmla="*/ 1363446 w 5029075"/>
                  <a:gd name="connsiteY8" fmla="*/ 3998957 h 4924802"/>
                  <a:gd name="connsiteX9" fmla="*/ 1285607 w 5029075"/>
                  <a:gd name="connsiteY9" fmla="*/ 3971726 h 4924802"/>
                  <a:gd name="connsiteX10" fmla="*/ 603673 w 5029075"/>
                  <a:gd name="connsiteY10" fmla="*/ 3518854 h 4924802"/>
                  <a:gd name="connsiteX11" fmla="*/ 603673 w 5029075"/>
                  <a:gd name="connsiteY11" fmla="*/ 603672 h 4924802"/>
                  <a:gd name="connsiteX12" fmla="*/ 2061265 w 5029075"/>
                  <a:gd name="connsiteY12" fmla="*/ 0 h 49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075" h="4924802">
                    <a:moveTo>
                      <a:pt x="2061265" y="0"/>
                    </a:moveTo>
                    <a:cubicBezTo>
                      <a:pt x="2522844" y="0"/>
                      <a:pt x="2984423" y="154062"/>
                      <a:pt x="3362285" y="462187"/>
                    </a:cubicBezTo>
                    <a:lnTo>
                      <a:pt x="3475453" y="564451"/>
                    </a:lnTo>
                    <a:lnTo>
                      <a:pt x="5000990" y="1635358"/>
                    </a:lnTo>
                    <a:lnTo>
                      <a:pt x="5015245" y="1734152"/>
                    </a:lnTo>
                    <a:cubicBezTo>
                      <a:pt x="5098229" y="2601125"/>
                      <a:pt x="4807784" y="3497086"/>
                      <a:pt x="4143909" y="4161136"/>
                    </a:cubicBezTo>
                    <a:cubicBezTo>
                      <a:pt x="3775089" y="4530053"/>
                      <a:pt x="3334711" y="4783683"/>
                      <a:pt x="2867497" y="4922026"/>
                    </a:cubicBezTo>
                    <a:lnTo>
                      <a:pt x="2856135" y="4924802"/>
                    </a:lnTo>
                    <a:lnTo>
                      <a:pt x="1363446" y="3998957"/>
                    </a:lnTo>
                    <a:lnTo>
                      <a:pt x="1285607" y="3971726"/>
                    </a:lnTo>
                    <a:cubicBezTo>
                      <a:pt x="1037468" y="3871088"/>
                      <a:pt x="804950" y="3720131"/>
                      <a:pt x="603673" y="3518854"/>
                    </a:cubicBezTo>
                    <a:cubicBezTo>
                      <a:pt x="-201224" y="2713749"/>
                      <a:pt x="-201224" y="1408778"/>
                      <a:pt x="603673" y="603672"/>
                    </a:cubicBezTo>
                    <a:cubicBezTo>
                      <a:pt x="1006226" y="201224"/>
                      <a:pt x="1533745" y="0"/>
                      <a:pt x="2061265" y="0"/>
                    </a:cubicBezTo>
                    <a:close/>
                  </a:path>
                </a:pathLst>
              </a:custGeom>
              <a:solidFill>
                <a:schemeClr val="accent1">
                  <a:lumMod val="75000"/>
                </a:schemeClr>
              </a:solidFill>
              <a:ln>
                <a:noFill/>
              </a:ln>
              <a:effectLst/>
              <a:extLst/>
            </p:spPr>
            <p:txBody>
              <a:bodyPr lIns="0" tIns="0" rIns="0" bIns="0" anchor="ctr"/>
              <a:lstStyle/>
              <a:p>
                <a:endParaRPr lang="en-US" dirty="0">
                  <a:latin typeface="+mn-lt"/>
                </a:endParaRPr>
              </a:p>
            </p:txBody>
          </p:sp>
          <p:sp>
            <p:nvSpPr>
              <p:cNvPr id="52" name="AutoShape 5"/>
              <p:cNvSpPr>
                <a:spLocks/>
              </p:cNvSpPr>
              <p:nvPr/>
            </p:nvSpPr>
            <p:spPr bwMode="auto">
              <a:xfrm>
                <a:off x="9882981" y="8645526"/>
                <a:ext cx="4168775" cy="416877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mn-lt"/>
                </a:endParaRPr>
              </a:p>
            </p:txBody>
          </p:sp>
        </p:grpSp>
        <p:grpSp>
          <p:nvGrpSpPr>
            <p:cNvPr id="7" name="Group 6"/>
            <p:cNvGrpSpPr/>
            <p:nvPr/>
          </p:nvGrpSpPr>
          <p:grpSpPr>
            <a:xfrm>
              <a:off x="1955354" y="11294270"/>
              <a:ext cx="738187" cy="738187"/>
              <a:chOff x="1878013" y="11174413"/>
              <a:chExt cx="738187" cy="738187"/>
            </a:xfrm>
          </p:grpSpPr>
          <p:sp>
            <p:nvSpPr>
              <p:cNvPr id="70679" name="AutoShape 23"/>
              <p:cNvSpPr>
                <a:spLocks/>
              </p:cNvSpPr>
              <p:nvPr/>
            </p:nvSpPr>
            <p:spPr bwMode="auto">
              <a:xfrm>
                <a:off x="2044700" y="11404600"/>
                <a:ext cx="393700" cy="2587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1591"/>
                    </a:moveTo>
                    <a:lnTo>
                      <a:pt x="7664" y="21599"/>
                    </a:lnTo>
                    <a:lnTo>
                      <a:pt x="21599" y="0"/>
                    </a:lnTo>
                  </a:path>
                </a:pathLst>
              </a:custGeom>
              <a:noFill/>
              <a:ln w="114300" cap="flat" cmpd="sng">
                <a:solidFill>
                  <a:srgbClr val="FFFFFF"/>
                </a:solidFill>
                <a:prstDash val="solid"/>
                <a:miter lim="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p>
                <a:endParaRPr lang="en-US" dirty="0">
                  <a:latin typeface="+mn-lt"/>
                </a:endParaRPr>
              </a:p>
            </p:txBody>
          </p:sp>
          <p:sp>
            <p:nvSpPr>
              <p:cNvPr id="70680" name="AutoShape 24"/>
              <p:cNvSpPr>
                <a:spLocks/>
              </p:cNvSpPr>
              <p:nvPr/>
            </p:nvSpPr>
            <p:spPr bwMode="auto">
              <a:xfrm>
                <a:off x="1878013" y="11174413"/>
                <a:ext cx="738187" cy="7381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noFill/>
              <a:ln w="101600" cap="flat" cmpd="sng">
                <a:solidFill>
                  <a:srgbClr val="FFFFFF"/>
                </a:solidFill>
                <a:prstDash val="solid"/>
                <a:miter lim="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C0C0C0"/>
                    </a:outerShdw>
                  </a:effectLst>
                  <a:latin typeface="+mn-lt"/>
                </a:endParaRPr>
              </a:p>
            </p:txBody>
          </p:sp>
        </p:grpSp>
      </p:grpSp>
      <p:sp>
        <p:nvSpPr>
          <p:cNvPr id="2" name="Title 1"/>
          <p:cNvSpPr>
            <a:spLocks noGrp="1"/>
          </p:cNvSpPr>
          <p:nvPr>
            <p:ph type="title"/>
          </p:nvPr>
        </p:nvSpPr>
        <p:spPr>
          <a:xfrm>
            <a:off x="1318792" y="874148"/>
            <a:ext cx="7830605" cy="1508105"/>
          </a:xfrm>
        </p:spPr>
        <p:txBody>
          <a:bodyPr/>
          <a:lstStyle/>
          <a:p>
            <a:r>
              <a:rPr lang="en-US" dirty="0">
                <a:solidFill>
                  <a:schemeClr val="tx1"/>
                </a:solidFill>
                <a:ea typeface="Aleo Regular" charset="0"/>
                <a:cs typeface="Aleo Regular" charset="0"/>
                <a:sym typeface="Aleo Regular" charset="0"/>
              </a:rPr>
              <a:t>Before we start</a:t>
            </a:r>
            <a:endParaRPr lang="en-US" dirty="0">
              <a:solidFill>
                <a:schemeClr val="tx1"/>
              </a:solidFill>
            </a:endParaRPr>
          </a:p>
        </p:txBody>
      </p:sp>
      <p:grpSp>
        <p:nvGrpSpPr>
          <p:cNvPr id="3" name="Group 2"/>
          <p:cNvGrpSpPr/>
          <p:nvPr/>
        </p:nvGrpSpPr>
        <p:grpSpPr>
          <a:xfrm>
            <a:off x="14907915" y="3251200"/>
            <a:ext cx="7476719" cy="7536421"/>
            <a:chOff x="15101879" y="-520640"/>
            <a:chExt cx="7476719" cy="7536421"/>
          </a:xfrm>
        </p:grpSpPr>
        <p:grpSp>
          <p:nvGrpSpPr>
            <p:cNvPr id="33" name="Group 32"/>
            <p:cNvGrpSpPr>
              <a:grpSpLocks noChangeAspect="1"/>
            </p:cNvGrpSpPr>
            <p:nvPr/>
          </p:nvGrpSpPr>
          <p:grpSpPr>
            <a:xfrm>
              <a:off x="16999200" y="-520640"/>
              <a:ext cx="3725488" cy="4297680"/>
              <a:chOff x="3168650" y="6642100"/>
              <a:chExt cx="2387600" cy="2754313"/>
            </a:xfrm>
          </p:grpSpPr>
          <p:sp>
            <p:nvSpPr>
              <p:cNvPr id="34" name="AutoShape 7"/>
              <p:cNvSpPr>
                <a:spLocks/>
              </p:cNvSpPr>
              <p:nvPr/>
            </p:nvSpPr>
            <p:spPr bwMode="auto">
              <a:xfrm>
                <a:off x="3168650" y="6642100"/>
                <a:ext cx="2386013" cy="2754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E69427"/>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35" name="AutoShape 8"/>
              <p:cNvSpPr>
                <a:spLocks/>
              </p:cNvSpPr>
              <p:nvPr/>
            </p:nvSpPr>
            <p:spPr bwMode="auto">
              <a:xfrm>
                <a:off x="3771900" y="7721600"/>
                <a:ext cx="1784350" cy="15827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967" y="21599"/>
                    </a:moveTo>
                    <a:lnTo>
                      <a:pt x="21599" y="13514"/>
                    </a:lnTo>
                    <a:lnTo>
                      <a:pt x="21523" y="4158"/>
                    </a:lnTo>
                    <a:lnTo>
                      <a:pt x="17141" y="0"/>
                    </a:lnTo>
                    <a:lnTo>
                      <a:pt x="0" y="12994"/>
                    </a:lnTo>
                    <a:lnTo>
                      <a:pt x="8967" y="21599"/>
                    </a:lnTo>
                    <a:close/>
                  </a:path>
                </a:pathLst>
              </a:custGeom>
              <a:solidFill>
                <a:schemeClr val="accent3">
                  <a:lumMod val="75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36" name="AutoShape 9"/>
              <p:cNvSpPr>
                <a:spLocks noChangeAspect="1"/>
              </p:cNvSpPr>
              <p:nvPr/>
            </p:nvSpPr>
            <p:spPr bwMode="auto">
              <a:xfrm>
                <a:off x="3509963" y="7035800"/>
                <a:ext cx="1716087" cy="19796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E8A556"/>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r>
                  <a:rPr lang="en-US" sz="4000" dirty="0">
                    <a:solidFill>
                      <a:srgbClr val="FFFFFF"/>
                    </a:solidFill>
                    <a:effectLst>
                      <a:outerShdw blurRad="38100" dist="38100" dir="2700000" algn="tl">
                        <a:srgbClr val="000000"/>
                      </a:outerShdw>
                    </a:effectLst>
                    <a:latin typeface="Lato" panose="020F0502020204030203" pitchFamily="34" charset="0"/>
                  </a:rPr>
                  <a:t>Assurance</a:t>
                </a:r>
              </a:p>
            </p:txBody>
          </p:sp>
        </p:grpSp>
        <p:grpSp>
          <p:nvGrpSpPr>
            <p:cNvPr id="37" name="Group 36"/>
            <p:cNvGrpSpPr>
              <a:grpSpLocks noChangeAspect="1"/>
            </p:cNvGrpSpPr>
            <p:nvPr/>
          </p:nvGrpSpPr>
          <p:grpSpPr>
            <a:xfrm>
              <a:off x="15101879" y="2698285"/>
              <a:ext cx="3723337" cy="4297680"/>
              <a:chOff x="3168650" y="3109913"/>
              <a:chExt cx="2387600" cy="2755900"/>
            </a:xfrm>
          </p:grpSpPr>
          <p:sp>
            <p:nvSpPr>
              <p:cNvPr id="38" name="AutoShape 1"/>
              <p:cNvSpPr>
                <a:spLocks/>
              </p:cNvSpPr>
              <p:nvPr/>
            </p:nvSpPr>
            <p:spPr bwMode="auto">
              <a:xfrm>
                <a:off x="3168650" y="3109913"/>
                <a:ext cx="2386013" cy="27559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5BBFB7"/>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39" name="AutoShape 2"/>
              <p:cNvSpPr>
                <a:spLocks/>
              </p:cNvSpPr>
              <p:nvPr/>
            </p:nvSpPr>
            <p:spPr bwMode="auto">
              <a:xfrm>
                <a:off x="3771900" y="4191000"/>
                <a:ext cx="1784350" cy="15827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967" y="21599"/>
                    </a:moveTo>
                    <a:lnTo>
                      <a:pt x="21599" y="13514"/>
                    </a:lnTo>
                    <a:lnTo>
                      <a:pt x="21523" y="4158"/>
                    </a:lnTo>
                    <a:lnTo>
                      <a:pt x="17141" y="0"/>
                    </a:lnTo>
                    <a:lnTo>
                      <a:pt x="0" y="12994"/>
                    </a:lnTo>
                    <a:lnTo>
                      <a:pt x="8967" y="21599"/>
                    </a:lnTo>
                    <a:close/>
                  </a:path>
                </a:pathLst>
              </a:custGeom>
              <a:solidFill>
                <a:srgbClr val="44A199"/>
              </a:solidFill>
              <a:ln>
                <a:noFill/>
              </a:ln>
              <a:effectLst/>
              <a:extLst/>
            </p:spPr>
            <p:txBody>
              <a:bodyPr lIns="0" tIns="0" rIns="0" bIns="0" anchor="ctr"/>
              <a:lstStyle/>
              <a:p>
                <a:endParaRPr lang="en-US" dirty="0">
                  <a:latin typeface="Lato" panose="020F0502020204030203" pitchFamily="34" charset="0"/>
                </a:endParaRPr>
              </a:p>
            </p:txBody>
          </p:sp>
          <p:sp>
            <p:nvSpPr>
              <p:cNvPr id="40" name="AutoShape 6"/>
              <p:cNvSpPr>
                <a:spLocks/>
              </p:cNvSpPr>
              <p:nvPr/>
            </p:nvSpPr>
            <p:spPr bwMode="auto">
              <a:xfrm>
                <a:off x="3509963" y="3530600"/>
                <a:ext cx="1716087" cy="19796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69CAC0"/>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r>
                  <a:rPr lang="en-US" sz="4000" dirty="0">
                    <a:solidFill>
                      <a:srgbClr val="FFFFFF"/>
                    </a:solidFill>
                    <a:effectLst>
                      <a:outerShdw blurRad="38100" dist="38100" dir="2700000" algn="tl">
                        <a:srgbClr val="000000"/>
                      </a:outerShdw>
                    </a:effectLst>
                    <a:latin typeface="Lato" panose="020F0502020204030203" pitchFamily="34" charset="0"/>
                  </a:rPr>
                  <a:t>Insight</a:t>
                </a:r>
              </a:p>
            </p:txBody>
          </p:sp>
        </p:grpSp>
        <p:grpSp>
          <p:nvGrpSpPr>
            <p:cNvPr id="53" name="Group 52"/>
            <p:cNvGrpSpPr>
              <a:grpSpLocks noChangeAspect="1"/>
            </p:cNvGrpSpPr>
            <p:nvPr/>
          </p:nvGrpSpPr>
          <p:grpSpPr>
            <a:xfrm>
              <a:off x="18855261" y="2718101"/>
              <a:ext cx="3723337" cy="4297680"/>
              <a:chOff x="3168650" y="3109913"/>
              <a:chExt cx="2387600" cy="2755900"/>
            </a:xfrm>
          </p:grpSpPr>
          <p:sp>
            <p:nvSpPr>
              <p:cNvPr id="54" name="AutoShape 1"/>
              <p:cNvSpPr>
                <a:spLocks/>
              </p:cNvSpPr>
              <p:nvPr/>
            </p:nvSpPr>
            <p:spPr bwMode="auto">
              <a:xfrm>
                <a:off x="3168650" y="3109913"/>
                <a:ext cx="2386013" cy="27559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1"/>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55" name="AutoShape 2"/>
              <p:cNvSpPr>
                <a:spLocks/>
              </p:cNvSpPr>
              <p:nvPr/>
            </p:nvSpPr>
            <p:spPr bwMode="auto">
              <a:xfrm>
                <a:off x="3771900" y="4191000"/>
                <a:ext cx="1784350" cy="15827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967" y="21599"/>
                    </a:moveTo>
                    <a:lnTo>
                      <a:pt x="21599" y="13514"/>
                    </a:lnTo>
                    <a:lnTo>
                      <a:pt x="21523" y="4158"/>
                    </a:lnTo>
                    <a:lnTo>
                      <a:pt x="17141" y="0"/>
                    </a:lnTo>
                    <a:lnTo>
                      <a:pt x="0" y="12994"/>
                    </a:lnTo>
                    <a:lnTo>
                      <a:pt x="8967" y="21599"/>
                    </a:lnTo>
                    <a:close/>
                  </a:path>
                </a:pathLst>
              </a:custGeom>
              <a:solidFill>
                <a:schemeClr val="accent2">
                  <a:lumMod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56" name="AutoShape 6"/>
              <p:cNvSpPr>
                <a:spLocks/>
              </p:cNvSpPr>
              <p:nvPr/>
            </p:nvSpPr>
            <p:spPr bwMode="auto">
              <a:xfrm>
                <a:off x="3509963" y="3530600"/>
                <a:ext cx="1716087" cy="19796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2"/>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r>
                  <a:rPr lang="en-US" sz="4000" dirty="0">
                    <a:solidFill>
                      <a:srgbClr val="FFFFFF"/>
                    </a:solidFill>
                    <a:effectLst>
                      <a:outerShdw blurRad="38100" dist="38100" dir="2700000" algn="tl">
                        <a:srgbClr val="000000"/>
                      </a:outerShdw>
                    </a:effectLst>
                    <a:latin typeface="Lato" panose="020F0502020204030203" pitchFamily="34" charset="0"/>
                  </a:rPr>
                  <a:t>Objectivity</a:t>
                </a:r>
              </a:p>
            </p:txBody>
          </p:sp>
        </p:grpSp>
      </p:grpSp>
      <p:sp>
        <p:nvSpPr>
          <p:cNvPr id="5" name="TextBox 4"/>
          <p:cNvSpPr txBox="1"/>
          <p:nvPr/>
        </p:nvSpPr>
        <p:spPr>
          <a:xfrm>
            <a:off x="17449518" y="6256703"/>
            <a:ext cx="6162411" cy="1015663"/>
          </a:xfrm>
          <a:prstGeom prst="rect">
            <a:avLst/>
          </a:prstGeom>
          <a:noFill/>
        </p:spPr>
        <p:txBody>
          <a:bodyPr wrap="square" rtlCol="0">
            <a:spAutoFit/>
          </a:bodyPr>
          <a:lstStyle/>
          <a:p>
            <a:pPr algn="l"/>
            <a:r>
              <a:rPr lang="en-US" sz="6000" b="1" dirty="0">
                <a:solidFill>
                  <a:schemeClr val="bg1"/>
                </a:solidFill>
                <a:latin typeface="Lato Light" panose="020F0302020204030203" pitchFamily="34" charset="0"/>
                <a:ea typeface="Lato Light" panose="020F0302020204030203" pitchFamily="34" charset="0"/>
                <a:cs typeface="Lato Light" panose="020F0302020204030203" pitchFamily="34" charset="0"/>
              </a:rPr>
              <a:t>Internal Auditing</a:t>
            </a:r>
          </a:p>
        </p:txBody>
      </p:sp>
      <p:pic>
        <p:nvPicPr>
          <p:cNvPr id="10242" name="Picture 2" descr="https://lh4.googleusercontent.com/-2Wn3cAubm3w/Tla2UzMaLDI/AAAAAAAABqE/0JIW-NyM8-c/s800/AuditorRetired8-25-11.gif"/>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2202795" y="1917547"/>
            <a:ext cx="12181205" cy="990316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0725664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0242"/>
                                        </p:tgtEl>
                                      </p:cBhvr>
                                    </p:animEffect>
                                    <p:set>
                                      <p:cBhvr>
                                        <p:cTn id="7" dur="1" fill="hold">
                                          <p:stCondLst>
                                            <p:cond delay="499"/>
                                          </p:stCondLst>
                                        </p:cTn>
                                        <p:tgtEl>
                                          <p:spTgt spid="1024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2"/>
          <p:cNvGrpSpPr>
            <a:grpSpLocks noChangeAspect="1"/>
          </p:cNvGrpSpPr>
          <p:nvPr/>
        </p:nvGrpSpPr>
        <p:grpSpPr>
          <a:xfrm>
            <a:off x="3721943" y="9250364"/>
            <a:ext cx="2368453" cy="2735262"/>
            <a:chOff x="13441865" y="7632738"/>
            <a:chExt cx="3000754" cy="3465489"/>
          </a:xfrm>
        </p:grpSpPr>
        <p:sp>
          <p:nvSpPr>
            <p:cNvPr id="44" name="AutoShape 1"/>
            <p:cNvSpPr>
              <a:spLocks/>
            </p:cNvSpPr>
            <p:nvPr/>
          </p:nvSpPr>
          <p:spPr bwMode="auto">
            <a:xfrm>
              <a:off x="13441865" y="7632738"/>
              <a:ext cx="3000754" cy="346548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599"/>
                  </a:lnTo>
                  <a:lnTo>
                    <a:pt x="0" y="16199"/>
                  </a:lnTo>
                  <a:lnTo>
                    <a:pt x="0" y="5400"/>
                  </a:lnTo>
                  <a:close/>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45" name="Freeform 44"/>
            <p:cNvSpPr>
              <a:spLocks/>
            </p:cNvSpPr>
            <p:nvPr/>
          </p:nvSpPr>
          <p:spPr bwMode="auto">
            <a:xfrm>
              <a:off x="13982014" y="8989327"/>
              <a:ext cx="2460533" cy="1993575"/>
            </a:xfrm>
            <a:custGeom>
              <a:avLst/>
              <a:gdLst>
                <a:gd name="connsiteX0" fmla="*/ 3473094 w 4275688"/>
                <a:gd name="connsiteY0" fmla="*/ 0 h 3464251"/>
                <a:gd name="connsiteX1" fmla="*/ 4275688 w 4275688"/>
                <a:gd name="connsiteY1" fmla="*/ 698308 h 3464251"/>
                <a:gd name="connsiteX2" fmla="*/ 4275572 w 4275688"/>
                <a:gd name="connsiteY2" fmla="*/ 2159151 h 3464251"/>
                <a:gd name="connsiteX3" fmla="*/ 2014990 w 4275688"/>
                <a:gd name="connsiteY3" fmla="*/ 3464251 h 3464251"/>
                <a:gd name="connsiteX4" fmla="*/ 0 w 4275688"/>
                <a:gd name="connsiteY4" fmla="*/ 1702349 h 346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5688" h="3464251">
                  <a:moveTo>
                    <a:pt x="3473094" y="0"/>
                  </a:moveTo>
                  <a:lnTo>
                    <a:pt x="4275688" y="698308"/>
                  </a:lnTo>
                  <a:lnTo>
                    <a:pt x="4275572" y="2159151"/>
                  </a:lnTo>
                  <a:lnTo>
                    <a:pt x="2014990" y="3464251"/>
                  </a:lnTo>
                  <a:lnTo>
                    <a:pt x="0" y="1702349"/>
                  </a:lnTo>
                  <a:close/>
                </a:path>
              </a:pathLst>
            </a:custGeom>
            <a:solidFill>
              <a:schemeClr val="accent6">
                <a:lumMod val="75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46" name="AutoShape 3"/>
            <p:cNvSpPr>
              <a:spLocks/>
            </p:cNvSpPr>
            <p:nvPr/>
          </p:nvSpPr>
          <p:spPr bwMode="auto">
            <a:xfrm>
              <a:off x="13668528" y="8172411"/>
              <a:ext cx="2533637" cy="238614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600"/>
                  </a:lnTo>
                  <a:lnTo>
                    <a:pt x="0" y="16199"/>
                  </a:lnTo>
                  <a:lnTo>
                    <a:pt x="0" y="5400"/>
                  </a:lnTo>
                  <a:close/>
                </a:path>
              </a:pathLst>
            </a:custGeom>
            <a:solidFill>
              <a:schemeClr val="accent6"/>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r>
                <a:rPr lang="en-US" sz="2900" dirty="0">
                  <a:solidFill>
                    <a:srgbClr val="FFFFFF"/>
                  </a:solidFill>
                  <a:effectLst>
                    <a:outerShdw blurRad="38100" dist="38100" dir="2700000" algn="tl">
                      <a:srgbClr val="000000"/>
                    </a:outerShdw>
                  </a:effectLst>
                  <a:latin typeface="Lato" panose="020F0502020204030203" pitchFamily="34" charset="0"/>
                </a:rPr>
                <a:t>Remedyne</a:t>
              </a:r>
            </a:p>
          </p:txBody>
        </p:sp>
      </p:grpSp>
      <p:grpSp>
        <p:nvGrpSpPr>
          <p:cNvPr id="6" name="Group 46"/>
          <p:cNvGrpSpPr>
            <a:grpSpLocks noChangeAspect="1"/>
          </p:cNvGrpSpPr>
          <p:nvPr/>
        </p:nvGrpSpPr>
        <p:grpSpPr>
          <a:xfrm>
            <a:off x="6409281" y="9209056"/>
            <a:ext cx="2368453" cy="2735262"/>
            <a:chOff x="13441865" y="7632738"/>
            <a:chExt cx="3000754" cy="3465489"/>
          </a:xfrm>
        </p:grpSpPr>
        <p:sp>
          <p:nvSpPr>
            <p:cNvPr id="48" name="AutoShape 1"/>
            <p:cNvSpPr>
              <a:spLocks/>
            </p:cNvSpPr>
            <p:nvPr/>
          </p:nvSpPr>
          <p:spPr bwMode="auto">
            <a:xfrm>
              <a:off x="13441865" y="7632738"/>
              <a:ext cx="3000754" cy="346548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599"/>
                  </a:lnTo>
                  <a:lnTo>
                    <a:pt x="0" y="16199"/>
                  </a:lnTo>
                  <a:lnTo>
                    <a:pt x="0" y="5400"/>
                  </a:lnTo>
                  <a:close/>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49" name="Freeform 48"/>
            <p:cNvSpPr>
              <a:spLocks/>
            </p:cNvSpPr>
            <p:nvPr/>
          </p:nvSpPr>
          <p:spPr bwMode="auto">
            <a:xfrm>
              <a:off x="13982014" y="8989327"/>
              <a:ext cx="2460533" cy="1993575"/>
            </a:xfrm>
            <a:custGeom>
              <a:avLst/>
              <a:gdLst>
                <a:gd name="connsiteX0" fmla="*/ 3473094 w 4275688"/>
                <a:gd name="connsiteY0" fmla="*/ 0 h 3464251"/>
                <a:gd name="connsiteX1" fmla="*/ 4275688 w 4275688"/>
                <a:gd name="connsiteY1" fmla="*/ 698308 h 3464251"/>
                <a:gd name="connsiteX2" fmla="*/ 4275572 w 4275688"/>
                <a:gd name="connsiteY2" fmla="*/ 2159151 h 3464251"/>
                <a:gd name="connsiteX3" fmla="*/ 2014990 w 4275688"/>
                <a:gd name="connsiteY3" fmla="*/ 3464251 h 3464251"/>
                <a:gd name="connsiteX4" fmla="*/ 0 w 4275688"/>
                <a:gd name="connsiteY4" fmla="*/ 1702349 h 346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5688" h="3464251">
                  <a:moveTo>
                    <a:pt x="3473094" y="0"/>
                  </a:moveTo>
                  <a:lnTo>
                    <a:pt x="4275688" y="698308"/>
                  </a:lnTo>
                  <a:lnTo>
                    <a:pt x="4275572" y="2159151"/>
                  </a:lnTo>
                  <a:lnTo>
                    <a:pt x="2014990" y="3464251"/>
                  </a:lnTo>
                  <a:lnTo>
                    <a:pt x="0" y="1702349"/>
                  </a:lnTo>
                  <a:close/>
                </a:path>
              </a:pathLst>
            </a:custGeom>
            <a:solidFill>
              <a:schemeClr val="accent6">
                <a:lumMod val="75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50" name="AutoShape 3"/>
            <p:cNvSpPr>
              <a:spLocks/>
            </p:cNvSpPr>
            <p:nvPr/>
          </p:nvSpPr>
          <p:spPr bwMode="auto">
            <a:xfrm>
              <a:off x="13908983" y="8172411"/>
              <a:ext cx="2066519" cy="238614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600"/>
                  </a:lnTo>
                  <a:lnTo>
                    <a:pt x="0" y="16199"/>
                  </a:lnTo>
                  <a:lnTo>
                    <a:pt x="0" y="5400"/>
                  </a:lnTo>
                  <a:close/>
                </a:path>
              </a:pathLst>
            </a:custGeom>
            <a:solidFill>
              <a:schemeClr val="accent6"/>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r>
                <a:rPr lang="en-US" sz="2900" dirty="0">
                  <a:solidFill>
                    <a:srgbClr val="FFFFFF"/>
                  </a:solidFill>
                  <a:effectLst>
                    <a:outerShdw blurRad="38100" dist="38100" dir="2700000" algn="tl">
                      <a:srgbClr val="000000"/>
                    </a:outerShdw>
                  </a:effectLst>
                  <a:latin typeface="Lato" panose="020F0502020204030203" pitchFamily="34" charset="0"/>
                </a:rPr>
                <a:t>Sensage</a:t>
              </a:r>
            </a:p>
          </p:txBody>
        </p:sp>
      </p:grpSp>
      <p:grpSp>
        <p:nvGrpSpPr>
          <p:cNvPr id="7" name="Group 38"/>
          <p:cNvGrpSpPr>
            <a:grpSpLocks noChangeAspect="1"/>
          </p:cNvGrpSpPr>
          <p:nvPr/>
        </p:nvGrpSpPr>
        <p:grpSpPr>
          <a:xfrm>
            <a:off x="5059363" y="6881019"/>
            <a:ext cx="2368453" cy="2735262"/>
            <a:chOff x="13441865" y="7632738"/>
            <a:chExt cx="3000754" cy="3465489"/>
          </a:xfrm>
        </p:grpSpPr>
        <p:sp>
          <p:nvSpPr>
            <p:cNvPr id="40" name="AutoShape 1"/>
            <p:cNvSpPr>
              <a:spLocks/>
            </p:cNvSpPr>
            <p:nvPr/>
          </p:nvSpPr>
          <p:spPr bwMode="auto">
            <a:xfrm>
              <a:off x="13441865" y="7632738"/>
              <a:ext cx="3000754" cy="346548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599"/>
                  </a:lnTo>
                  <a:lnTo>
                    <a:pt x="0" y="16199"/>
                  </a:lnTo>
                  <a:lnTo>
                    <a:pt x="0" y="5400"/>
                  </a:lnTo>
                  <a:close/>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41" name="Freeform 40"/>
            <p:cNvSpPr>
              <a:spLocks/>
            </p:cNvSpPr>
            <p:nvPr/>
          </p:nvSpPr>
          <p:spPr bwMode="auto">
            <a:xfrm>
              <a:off x="13982014" y="8989327"/>
              <a:ext cx="2460533" cy="1993575"/>
            </a:xfrm>
            <a:custGeom>
              <a:avLst/>
              <a:gdLst>
                <a:gd name="connsiteX0" fmla="*/ 3473094 w 4275688"/>
                <a:gd name="connsiteY0" fmla="*/ 0 h 3464251"/>
                <a:gd name="connsiteX1" fmla="*/ 4275688 w 4275688"/>
                <a:gd name="connsiteY1" fmla="*/ 698308 h 3464251"/>
                <a:gd name="connsiteX2" fmla="*/ 4275572 w 4275688"/>
                <a:gd name="connsiteY2" fmla="*/ 2159151 h 3464251"/>
                <a:gd name="connsiteX3" fmla="*/ 2014990 w 4275688"/>
                <a:gd name="connsiteY3" fmla="*/ 3464251 h 3464251"/>
                <a:gd name="connsiteX4" fmla="*/ 0 w 4275688"/>
                <a:gd name="connsiteY4" fmla="*/ 1702349 h 346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5688" h="3464251">
                  <a:moveTo>
                    <a:pt x="3473094" y="0"/>
                  </a:moveTo>
                  <a:lnTo>
                    <a:pt x="4275688" y="698308"/>
                  </a:lnTo>
                  <a:lnTo>
                    <a:pt x="4275572" y="2159151"/>
                  </a:lnTo>
                  <a:lnTo>
                    <a:pt x="2014990" y="3464251"/>
                  </a:lnTo>
                  <a:lnTo>
                    <a:pt x="0" y="1702349"/>
                  </a:lnTo>
                  <a:close/>
                </a:path>
              </a:pathLst>
            </a:custGeom>
            <a:solidFill>
              <a:schemeClr val="accent6">
                <a:lumMod val="75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42" name="AutoShape 3"/>
            <p:cNvSpPr>
              <a:spLocks/>
            </p:cNvSpPr>
            <p:nvPr/>
          </p:nvSpPr>
          <p:spPr bwMode="auto">
            <a:xfrm>
              <a:off x="13908983" y="8172411"/>
              <a:ext cx="2066519" cy="238614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600"/>
                  </a:lnTo>
                  <a:lnTo>
                    <a:pt x="0" y="16199"/>
                  </a:lnTo>
                  <a:lnTo>
                    <a:pt x="0" y="5400"/>
                  </a:lnTo>
                  <a:close/>
                </a:path>
              </a:pathLst>
            </a:custGeom>
            <a:solidFill>
              <a:schemeClr val="accent6"/>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r>
                <a:rPr lang="en-US" sz="3900" dirty="0">
                  <a:solidFill>
                    <a:srgbClr val="FFFFFF"/>
                  </a:solidFill>
                  <a:effectLst>
                    <a:outerShdw blurRad="38100" dist="38100" dir="2700000" algn="tl">
                      <a:srgbClr val="000000"/>
                    </a:outerShdw>
                  </a:effectLst>
                  <a:latin typeface="Lato" panose="020F0502020204030203" pitchFamily="34" charset="0"/>
                </a:rPr>
                <a:t>ACL</a:t>
              </a:r>
            </a:p>
          </p:txBody>
        </p:sp>
      </p:grpSp>
      <p:grpSp>
        <p:nvGrpSpPr>
          <p:cNvPr id="8" name="Group 4"/>
          <p:cNvGrpSpPr/>
          <p:nvPr/>
        </p:nvGrpSpPr>
        <p:grpSpPr>
          <a:xfrm>
            <a:off x="14319250" y="9525000"/>
            <a:ext cx="2387600" cy="2754313"/>
            <a:chOff x="14319250" y="9525000"/>
            <a:chExt cx="2387600" cy="2754313"/>
          </a:xfrm>
        </p:grpSpPr>
        <p:sp>
          <p:nvSpPr>
            <p:cNvPr id="79883" name="AutoShape 11"/>
            <p:cNvSpPr>
              <a:spLocks/>
            </p:cNvSpPr>
            <p:nvPr/>
          </p:nvSpPr>
          <p:spPr bwMode="auto">
            <a:xfrm>
              <a:off x="14319250" y="9525000"/>
              <a:ext cx="2386013" cy="2754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9884" name="AutoShape 12"/>
            <p:cNvSpPr>
              <a:spLocks/>
            </p:cNvSpPr>
            <p:nvPr/>
          </p:nvSpPr>
          <p:spPr bwMode="auto">
            <a:xfrm>
              <a:off x="14922500" y="10604500"/>
              <a:ext cx="1784350" cy="15827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967" y="21599"/>
                  </a:moveTo>
                  <a:lnTo>
                    <a:pt x="21599" y="13514"/>
                  </a:lnTo>
                  <a:lnTo>
                    <a:pt x="21523" y="4158"/>
                  </a:lnTo>
                  <a:lnTo>
                    <a:pt x="17141" y="0"/>
                  </a:lnTo>
                  <a:lnTo>
                    <a:pt x="0" y="12994"/>
                  </a:lnTo>
                  <a:lnTo>
                    <a:pt x="8967" y="21599"/>
                  </a:lnTo>
                  <a:close/>
                </a:path>
              </a:pathLst>
            </a:custGeom>
            <a:solidFill>
              <a:schemeClr val="accent3">
                <a:lumMod val="75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79885" name="AutoShape 13"/>
            <p:cNvSpPr>
              <a:spLocks/>
            </p:cNvSpPr>
            <p:nvPr/>
          </p:nvSpPr>
          <p:spPr bwMode="auto">
            <a:xfrm>
              <a:off x="14660563" y="9918700"/>
              <a:ext cx="1716087" cy="19796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4"/>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r>
                <a:rPr lang="en-US" sz="4000" dirty="0">
                  <a:solidFill>
                    <a:srgbClr val="FFFFFF"/>
                  </a:solidFill>
                  <a:effectLst>
                    <a:outerShdw blurRad="38100" dist="38100" dir="2700000" algn="tl">
                      <a:srgbClr val="000000"/>
                    </a:outerShdw>
                  </a:effectLst>
                  <a:latin typeface="Lato" panose="020F0502020204030203" pitchFamily="34" charset="0"/>
                </a:rPr>
                <a:t>SAS</a:t>
              </a:r>
            </a:p>
          </p:txBody>
        </p:sp>
      </p:grpSp>
      <p:grpSp>
        <p:nvGrpSpPr>
          <p:cNvPr id="9" name="Group 8"/>
          <p:cNvGrpSpPr/>
          <p:nvPr/>
        </p:nvGrpSpPr>
        <p:grpSpPr>
          <a:xfrm>
            <a:off x="17011650" y="9525000"/>
            <a:ext cx="2387600" cy="2754313"/>
            <a:chOff x="17011650" y="9525000"/>
            <a:chExt cx="2387600" cy="2754313"/>
          </a:xfrm>
        </p:grpSpPr>
        <p:sp>
          <p:nvSpPr>
            <p:cNvPr id="79886" name="AutoShape 14"/>
            <p:cNvSpPr>
              <a:spLocks/>
            </p:cNvSpPr>
            <p:nvPr/>
          </p:nvSpPr>
          <p:spPr bwMode="auto">
            <a:xfrm>
              <a:off x="17011650" y="9525000"/>
              <a:ext cx="2386013" cy="2754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9887" name="AutoShape 15"/>
            <p:cNvSpPr>
              <a:spLocks/>
            </p:cNvSpPr>
            <p:nvPr/>
          </p:nvSpPr>
          <p:spPr bwMode="auto">
            <a:xfrm>
              <a:off x="17614900" y="10604500"/>
              <a:ext cx="1784350" cy="15827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967" y="21599"/>
                  </a:moveTo>
                  <a:lnTo>
                    <a:pt x="21599" y="13514"/>
                  </a:lnTo>
                  <a:lnTo>
                    <a:pt x="21523" y="4158"/>
                  </a:lnTo>
                  <a:lnTo>
                    <a:pt x="17141" y="0"/>
                  </a:lnTo>
                  <a:lnTo>
                    <a:pt x="0" y="12994"/>
                  </a:lnTo>
                  <a:lnTo>
                    <a:pt x="8967" y="21599"/>
                  </a:lnTo>
                  <a:close/>
                </a:path>
              </a:pathLst>
            </a:custGeom>
            <a:solidFill>
              <a:schemeClr val="accent3">
                <a:lumMod val="75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79888" name="AutoShape 16"/>
            <p:cNvSpPr>
              <a:spLocks/>
            </p:cNvSpPr>
            <p:nvPr/>
          </p:nvSpPr>
          <p:spPr bwMode="auto">
            <a:xfrm>
              <a:off x="17327563" y="9918700"/>
              <a:ext cx="1716087" cy="19796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4"/>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r>
                <a:rPr lang="en-US" sz="4000" dirty="0">
                  <a:solidFill>
                    <a:srgbClr val="FFFFFF"/>
                  </a:solidFill>
                  <a:effectLst>
                    <a:outerShdw blurRad="38100" dist="38100" dir="2700000" algn="tl">
                      <a:srgbClr val="000000"/>
                    </a:outerShdw>
                  </a:effectLst>
                  <a:latin typeface="Lato" panose="020F0502020204030203" pitchFamily="34" charset="0"/>
                </a:rPr>
                <a:t>Sage</a:t>
              </a:r>
            </a:p>
          </p:txBody>
        </p:sp>
      </p:grpSp>
      <p:grpSp>
        <p:nvGrpSpPr>
          <p:cNvPr id="10" name="Group 7"/>
          <p:cNvGrpSpPr/>
          <p:nvPr/>
        </p:nvGrpSpPr>
        <p:grpSpPr>
          <a:xfrm>
            <a:off x="19716750" y="9537700"/>
            <a:ext cx="2387600" cy="2754313"/>
            <a:chOff x="19716750" y="9537700"/>
            <a:chExt cx="2387600" cy="2754313"/>
          </a:xfrm>
        </p:grpSpPr>
        <p:sp>
          <p:nvSpPr>
            <p:cNvPr id="79889" name="AutoShape 17"/>
            <p:cNvSpPr>
              <a:spLocks/>
            </p:cNvSpPr>
            <p:nvPr/>
          </p:nvSpPr>
          <p:spPr bwMode="auto">
            <a:xfrm>
              <a:off x="19716750" y="9537700"/>
              <a:ext cx="2386013" cy="2754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9890" name="AutoShape 18"/>
            <p:cNvSpPr>
              <a:spLocks/>
            </p:cNvSpPr>
            <p:nvPr/>
          </p:nvSpPr>
          <p:spPr bwMode="auto">
            <a:xfrm>
              <a:off x="20320000" y="10617200"/>
              <a:ext cx="1784350" cy="15827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967" y="21599"/>
                  </a:moveTo>
                  <a:lnTo>
                    <a:pt x="21599" y="13514"/>
                  </a:lnTo>
                  <a:lnTo>
                    <a:pt x="21523" y="4158"/>
                  </a:lnTo>
                  <a:lnTo>
                    <a:pt x="17141" y="0"/>
                  </a:lnTo>
                  <a:lnTo>
                    <a:pt x="0" y="12994"/>
                  </a:lnTo>
                  <a:lnTo>
                    <a:pt x="8967" y="21599"/>
                  </a:lnTo>
                  <a:close/>
                </a:path>
              </a:pathLst>
            </a:custGeom>
            <a:solidFill>
              <a:schemeClr val="accent3">
                <a:lumMod val="75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79891" name="AutoShape 19"/>
            <p:cNvSpPr>
              <a:spLocks/>
            </p:cNvSpPr>
            <p:nvPr/>
          </p:nvSpPr>
          <p:spPr bwMode="auto">
            <a:xfrm>
              <a:off x="20058063" y="9931400"/>
              <a:ext cx="1716087" cy="19796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4"/>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r>
                <a:rPr lang="en-US" sz="4000" dirty="0">
                  <a:solidFill>
                    <a:srgbClr val="FFFFFF"/>
                  </a:solidFill>
                  <a:effectLst>
                    <a:outerShdw blurRad="38100" dist="38100" dir="2700000" algn="tl">
                      <a:srgbClr val="000000"/>
                    </a:outerShdw>
                  </a:effectLst>
                  <a:latin typeface="Lato" panose="020F0502020204030203" pitchFamily="34" charset="0"/>
                </a:rPr>
                <a:t>Oracle</a:t>
              </a:r>
            </a:p>
          </p:txBody>
        </p:sp>
      </p:grpSp>
      <p:grpSp>
        <p:nvGrpSpPr>
          <p:cNvPr id="11" name="Group 6"/>
          <p:cNvGrpSpPr/>
          <p:nvPr/>
        </p:nvGrpSpPr>
        <p:grpSpPr>
          <a:xfrm>
            <a:off x="18294350" y="7150100"/>
            <a:ext cx="2387600" cy="2754313"/>
            <a:chOff x="18294350" y="7150100"/>
            <a:chExt cx="2387600" cy="2754313"/>
          </a:xfrm>
        </p:grpSpPr>
        <p:sp>
          <p:nvSpPr>
            <p:cNvPr id="79892" name="AutoShape 20"/>
            <p:cNvSpPr>
              <a:spLocks/>
            </p:cNvSpPr>
            <p:nvPr/>
          </p:nvSpPr>
          <p:spPr bwMode="auto">
            <a:xfrm>
              <a:off x="18294350" y="7150100"/>
              <a:ext cx="2386013" cy="2754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9893" name="AutoShape 21"/>
            <p:cNvSpPr>
              <a:spLocks/>
            </p:cNvSpPr>
            <p:nvPr/>
          </p:nvSpPr>
          <p:spPr bwMode="auto">
            <a:xfrm>
              <a:off x="18897600" y="8229600"/>
              <a:ext cx="1784350" cy="15827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967" y="21599"/>
                  </a:moveTo>
                  <a:lnTo>
                    <a:pt x="21599" y="13514"/>
                  </a:lnTo>
                  <a:lnTo>
                    <a:pt x="21523" y="4158"/>
                  </a:lnTo>
                  <a:lnTo>
                    <a:pt x="17141" y="0"/>
                  </a:lnTo>
                  <a:lnTo>
                    <a:pt x="0" y="12994"/>
                  </a:lnTo>
                  <a:lnTo>
                    <a:pt x="8967" y="21599"/>
                  </a:lnTo>
                  <a:close/>
                </a:path>
              </a:pathLst>
            </a:custGeom>
            <a:solidFill>
              <a:schemeClr val="accent3">
                <a:lumMod val="75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79894" name="AutoShape 22"/>
            <p:cNvSpPr>
              <a:spLocks/>
            </p:cNvSpPr>
            <p:nvPr/>
          </p:nvSpPr>
          <p:spPr bwMode="auto">
            <a:xfrm>
              <a:off x="18635663" y="7543800"/>
              <a:ext cx="1716087" cy="19796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4"/>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r>
                <a:rPr lang="en-US" sz="4000" dirty="0">
                  <a:solidFill>
                    <a:srgbClr val="FFFFFF"/>
                  </a:solidFill>
                  <a:effectLst>
                    <a:outerShdw blurRad="38100" dist="38100" dir="2700000" algn="tl">
                      <a:srgbClr val="000000"/>
                    </a:outerShdw>
                  </a:effectLst>
                  <a:latin typeface="Lato" panose="020F0502020204030203" pitchFamily="34" charset="0"/>
                </a:rPr>
                <a:t>SAP</a:t>
              </a:r>
            </a:p>
          </p:txBody>
        </p:sp>
      </p:grpSp>
      <p:grpSp>
        <p:nvGrpSpPr>
          <p:cNvPr id="12" name="Group 5"/>
          <p:cNvGrpSpPr/>
          <p:nvPr/>
        </p:nvGrpSpPr>
        <p:grpSpPr>
          <a:xfrm>
            <a:off x="15601950" y="7239000"/>
            <a:ext cx="2387600" cy="2754313"/>
            <a:chOff x="15601950" y="7239000"/>
            <a:chExt cx="2387600" cy="2754313"/>
          </a:xfrm>
        </p:grpSpPr>
        <p:sp>
          <p:nvSpPr>
            <p:cNvPr id="79895" name="AutoShape 23"/>
            <p:cNvSpPr>
              <a:spLocks/>
            </p:cNvSpPr>
            <p:nvPr/>
          </p:nvSpPr>
          <p:spPr bwMode="auto">
            <a:xfrm>
              <a:off x="15601950" y="7239000"/>
              <a:ext cx="2386013" cy="2754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9896" name="AutoShape 24"/>
            <p:cNvSpPr>
              <a:spLocks/>
            </p:cNvSpPr>
            <p:nvPr/>
          </p:nvSpPr>
          <p:spPr bwMode="auto">
            <a:xfrm>
              <a:off x="16205200" y="8318500"/>
              <a:ext cx="1784350" cy="15827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967" y="21599"/>
                  </a:moveTo>
                  <a:lnTo>
                    <a:pt x="21599" y="13514"/>
                  </a:lnTo>
                  <a:lnTo>
                    <a:pt x="21523" y="4158"/>
                  </a:lnTo>
                  <a:lnTo>
                    <a:pt x="17141" y="0"/>
                  </a:lnTo>
                  <a:lnTo>
                    <a:pt x="0" y="12994"/>
                  </a:lnTo>
                  <a:lnTo>
                    <a:pt x="8967" y="21599"/>
                  </a:lnTo>
                  <a:close/>
                </a:path>
              </a:pathLst>
            </a:custGeom>
            <a:solidFill>
              <a:schemeClr val="accent3">
                <a:lumMod val="75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79897" name="AutoShape 25"/>
            <p:cNvSpPr>
              <a:spLocks/>
            </p:cNvSpPr>
            <p:nvPr/>
          </p:nvSpPr>
          <p:spPr bwMode="auto">
            <a:xfrm>
              <a:off x="15943263" y="7632700"/>
              <a:ext cx="1716087" cy="19796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4"/>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r>
                <a:rPr lang="en-US" sz="4000" dirty="0">
                  <a:solidFill>
                    <a:srgbClr val="FFFFFF"/>
                  </a:solidFill>
                  <a:effectLst>
                    <a:outerShdw blurRad="38100" dist="38100" dir="2700000" algn="tl">
                      <a:srgbClr val="000000"/>
                    </a:outerShdw>
                  </a:effectLst>
                  <a:latin typeface="Lato" panose="020F0502020204030203" pitchFamily="34" charset="0"/>
                </a:rPr>
                <a:t>Big 4</a:t>
              </a:r>
            </a:p>
          </p:txBody>
        </p:sp>
      </p:grpSp>
      <p:sp>
        <p:nvSpPr>
          <p:cNvPr id="79899" name="AutoShape 27"/>
          <p:cNvSpPr>
            <a:spLocks/>
          </p:cNvSpPr>
          <p:nvPr/>
        </p:nvSpPr>
        <p:spPr bwMode="auto">
          <a:xfrm>
            <a:off x="2817813" y="3721100"/>
            <a:ext cx="6883400" cy="762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400" b="1" dirty="0">
                <a:solidFill>
                  <a:schemeClr val="tx1"/>
                </a:solidFill>
                <a:latin typeface="Aleo" panose="020F0502020204030203" pitchFamily="34" charset="0"/>
                <a:sym typeface="Aleo Regular" charset="0"/>
              </a:rPr>
              <a:t>High Threat Competitors</a:t>
            </a:r>
            <a:endParaRPr lang="en-US" dirty="0">
              <a:solidFill>
                <a:schemeClr val="tx1"/>
              </a:solidFill>
              <a:latin typeface="Lato" panose="020F0502020204030203" pitchFamily="34" charset="0"/>
            </a:endParaRPr>
          </a:p>
        </p:txBody>
      </p:sp>
      <p:sp>
        <p:nvSpPr>
          <p:cNvPr id="79900" name="AutoShape 28"/>
          <p:cNvSpPr>
            <a:spLocks/>
          </p:cNvSpPr>
          <p:nvPr/>
        </p:nvSpPr>
        <p:spPr bwMode="auto">
          <a:xfrm>
            <a:off x="2476500" y="4724400"/>
            <a:ext cx="7277100" cy="1219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Mid-Size providers in North America and  Western Europe</a:t>
            </a:r>
            <a:endParaRPr lang="en-US" dirty="0">
              <a:solidFill>
                <a:schemeClr val="tx1"/>
              </a:solidFill>
              <a:latin typeface="Lato" panose="020F0502020204030203" pitchFamily="34" charset="0"/>
            </a:endParaRPr>
          </a:p>
        </p:txBody>
      </p:sp>
      <p:sp>
        <p:nvSpPr>
          <p:cNvPr id="79901" name="AutoShape 29"/>
          <p:cNvSpPr>
            <a:spLocks/>
          </p:cNvSpPr>
          <p:nvPr/>
        </p:nvSpPr>
        <p:spPr bwMode="auto">
          <a:xfrm>
            <a:off x="14706600" y="3366655"/>
            <a:ext cx="6883400" cy="111644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400" b="1" dirty="0">
                <a:solidFill>
                  <a:schemeClr val="tx1"/>
                </a:solidFill>
                <a:latin typeface="Aleo" panose="020F0502020204030203" pitchFamily="34" charset="0"/>
                <a:ea typeface="Aleo Regular" charset="0"/>
                <a:cs typeface="Aleo Regular" charset="0"/>
                <a:sym typeface="Aleo Regular" charset="0"/>
              </a:rPr>
              <a:t>Low Threat Competitors</a:t>
            </a:r>
            <a:endParaRPr lang="en-US" dirty="0">
              <a:solidFill>
                <a:schemeClr val="tx1"/>
              </a:solidFill>
              <a:latin typeface="Lato" panose="020F0502020204030203" pitchFamily="34" charset="0"/>
            </a:endParaRPr>
          </a:p>
        </p:txBody>
      </p:sp>
      <p:sp>
        <p:nvSpPr>
          <p:cNvPr id="79902" name="AutoShape 30"/>
          <p:cNvSpPr>
            <a:spLocks/>
          </p:cNvSpPr>
          <p:nvPr/>
        </p:nvSpPr>
        <p:spPr bwMode="auto">
          <a:xfrm>
            <a:off x="14655800" y="4724400"/>
            <a:ext cx="7277100" cy="1219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Aleo Regular" charset="0"/>
              </a:rPr>
              <a:t>Big 4  &amp; BI software companies operating globally</a:t>
            </a:r>
            <a:endPar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endParaRPr>
          </a:p>
        </p:txBody>
      </p:sp>
      <p:sp>
        <p:nvSpPr>
          <p:cNvPr id="2" name="Title 1"/>
          <p:cNvSpPr>
            <a:spLocks noGrp="1"/>
          </p:cNvSpPr>
          <p:nvPr>
            <p:ph type="title"/>
          </p:nvPr>
        </p:nvSpPr>
        <p:spPr>
          <a:xfrm>
            <a:off x="1318792" y="874148"/>
            <a:ext cx="10766089" cy="1508105"/>
          </a:xfrm>
        </p:spPr>
        <p:txBody>
          <a:bodyPr/>
          <a:lstStyle/>
          <a:p>
            <a:r>
              <a:rPr lang="en-US" dirty="0">
                <a:ea typeface="Aleo Regular" charset="0"/>
                <a:cs typeface="Aleo Regular" charset="0"/>
                <a:sym typeface="Aleo Regular" charset="0"/>
              </a:rPr>
              <a:t>Competitors analysis</a:t>
            </a:r>
            <a:endParaRPr lang="en-US" dirty="0"/>
          </a:p>
        </p:txBody>
      </p:sp>
      <p:sp>
        <p:nvSpPr>
          <p:cNvPr id="3" name="AutoShape 4" descr="Image result for remedyn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4" descr="Image result for oracl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xmlns="" val="169141352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6"/>
          <p:cNvGraphicFramePr>
            <a:graphicFrameLocks noChangeAspect="1"/>
          </p:cNvGraphicFramePr>
          <p:nvPr>
            <p:extLst/>
          </p:nvPr>
        </p:nvGraphicFramePr>
        <p:xfrm>
          <a:off x="1318792" y="2600326"/>
          <a:ext cx="21331658" cy="9477374"/>
        </p:xfrm>
        <a:graphic>
          <a:graphicData uri="http://schemas.openxmlformats.org/drawingml/2006/chart">
            <c:chart xmlns:c="http://schemas.openxmlformats.org/drawingml/2006/chart" xmlns:r="http://schemas.openxmlformats.org/officeDocument/2006/relationships" r:id="rId3"/>
          </a:graphicData>
        </a:graphic>
      </p:graphicFrame>
      <p:grpSp>
        <p:nvGrpSpPr>
          <p:cNvPr id="11" name="Groupe 10"/>
          <p:cNvGrpSpPr/>
          <p:nvPr/>
        </p:nvGrpSpPr>
        <p:grpSpPr>
          <a:xfrm>
            <a:off x="4813300" y="12393613"/>
            <a:ext cx="2501900" cy="660400"/>
            <a:chOff x="4813300" y="12393613"/>
            <a:chExt cx="2501900" cy="660400"/>
          </a:xfrm>
        </p:grpSpPr>
        <p:sp>
          <p:nvSpPr>
            <p:cNvPr id="100354" name="AutoShape 2"/>
            <p:cNvSpPr>
              <a:spLocks/>
            </p:cNvSpPr>
            <p:nvPr/>
          </p:nvSpPr>
          <p:spPr bwMode="auto">
            <a:xfrm>
              <a:off x="5511801" y="12393613"/>
              <a:ext cx="1803399" cy="660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3600" dirty="0">
                  <a:solidFill>
                    <a:schemeClr val="tx1"/>
                  </a:solidFill>
                  <a:latin typeface="Lato Light" panose="020F0302020204030203" pitchFamily="34" charset="0"/>
                  <a:sym typeface="Lato Light" panose="020F0302020204030203" pitchFamily="34" charset="0"/>
                </a:rPr>
                <a:t>ACL</a:t>
              </a:r>
              <a:endParaRPr lang="en-US" dirty="0">
                <a:solidFill>
                  <a:schemeClr val="tx1"/>
                </a:solidFill>
                <a:latin typeface="Lato" panose="020F0502020204030203" pitchFamily="34" charset="0"/>
              </a:endParaRPr>
            </a:p>
          </p:txBody>
        </p:sp>
        <p:sp>
          <p:nvSpPr>
            <p:cNvPr id="100355" name="AutoShape 3"/>
            <p:cNvSpPr>
              <a:spLocks/>
            </p:cNvSpPr>
            <p:nvPr/>
          </p:nvSpPr>
          <p:spPr bwMode="auto">
            <a:xfrm>
              <a:off x="4813300" y="12560300"/>
              <a:ext cx="330200" cy="3302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rgbClr val="FFFDFF"/>
            </a:solidFill>
            <a:ln w="101600" cap="flat" cmpd="sng">
              <a:solidFill>
                <a:schemeClr val="accent3"/>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C0C0C0"/>
                  </a:outerShdw>
                </a:effectLst>
                <a:latin typeface="Lato" panose="020F0502020204030203" pitchFamily="34" charset="0"/>
              </a:endParaRPr>
            </a:p>
          </p:txBody>
        </p:sp>
      </p:grpSp>
      <p:grpSp>
        <p:nvGrpSpPr>
          <p:cNvPr id="10" name="Groupe 9"/>
          <p:cNvGrpSpPr/>
          <p:nvPr/>
        </p:nvGrpSpPr>
        <p:grpSpPr>
          <a:xfrm>
            <a:off x="10801350" y="12393613"/>
            <a:ext cx="2634542" cy="660400"/>
            <a:chOff x="10801350" y="12393613"/>
            <a:chExt cx="2634542" cy="660400"/>
          </a:xfrm>
        </p:grpSpPr>
        <p:sp>
          <p:nvSpPr>
            <p:cNvPr id="100356" name="AutoShape 4"/>
            <p:cNvSpPr>
              <a:spLocks/>
            </p:cNvSpPr>
            <p:nvPr/>
          </p:nvSpPr>
          <p:spPr bwMode="auto">
            <a:xfrm>
              <a:off x="11734493" y="12393613"/>
              <a:ext cx="1701399" cy="660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3600" dirty="0">
                  <a:solidFill>
                    <a:schemeClr val="tx1"/>
                  </a:solidFill>
                  <a:latin typeface="Lato Light" panose="020F0302020204030203" pitchFamily="34" charset="0"/>
                  <a:sym typeface="Lato Light" panose="020F0302020204030203" pitchFamily="34" charset="0"/>
                </a:rPr>
                <a:t>Big 4</a:t>
              </a:r>
              <a:endParaRPr lang="en-US" dirty="0">
                <a:solidFill>
                  <a:schemeClr val="tx1"/>
                </a:solidFill>
                <a:latin typeface="Lato" panose="020F0502020204030203" pitchFamily="34" charset="0"/>
              </a:endParaRPr>
            </a:p>
          </p:txBody>
        </p:sp>
        <p:sp>
          <p:nvSpPr>
            <p:cNvPr id="100357" name="AutoShape 5"/>
            <p:cNvSpPr>
              <a:spLocks/>
            </p:cNvSpPr>
            <p:nvPr/>
          </p:nvSpPr>
          <p:spPr bwMode="auto">
            <a:xfrm>
              <a:off x="10801350" y="12560300"/>
              <a:ext cx="330200" cy="3302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rgbClr val="FFFDFF"/>
            </a:solidFill>
            <a:ln w="101600" cap="flat" cmpd="sng">
              <a:solidFill>
                <a:schemeClr val="accent5"/>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C0C0C0"/>
                  </a:outerShdw>
                </a:effectLst>
                <a:latin typeface="Lato" panose="020F0502020204030203" pitchFamily="34" charset="0"/>
              </a:endParaRPr>
            </a:p>
          </p:txBody>
        </p:sp>
      </p:grpSp>
      <p:sp>
        <p:nvSpPr>
          <p:cNvPr id="2" name="Title 1"/>
          <p:cNvSpPr>
            <a:spLocks noGrp="1"/>
          </p:cNvSpPr>
          <p:nvPr>
            <p:ph type="title"/>
          </p:nvPr>
        </p:nvSpPr>
        <p:spPr>
          <a:xfrm>
            <a:off x="1318792" y="874148"/>
            <a:ext cx="14136627" cy="1508105"/>
          </a:xfrm>
        </p:spPr>
        <p:txBody>
          <a:bodyPr/>
          <a:lstStyle/>
          <a:p>
            <a:r>
              <a:rPr lang="en-US" dirty="0">
                <a:ea typeface="Aleo Regular" charset="0"/>
                <a:cs typeface="Aleo Regular" charset="0"/>
                <a:sym typeface="Aleo Regular" charset="0"/>
              </a:rPr>
              <a:t>Value Curve – the CFO vision</a:t>
            </a:r>
            <a:endParaRPr lang="en-US" dirty="0"/>
          </a:p>
        </p:txBody>
      </p:sp>
      <p:grpSp>
        <p:nvGrpSpPr>
          <p:cNvPr id="12" name="Groupe 11"/>
          <p:cNvGrpSpPr/>
          <p:nvPr/>
        </p:nvGrpSpPr>
        <p:grpSpPr>
          <a:xfrm>
            <a:off x="17055793" y="12393613"/>
            <a:ext cx="3188007" cy="660400"/>
            <a:chOff x="17055793" y="12393613"/>
            <a:chExt cx="3188007" cy="660400"/>
          </a:xfrm>
        </p:grpSpPr>
        <p:sp>
          <p:nvSpPr>
            <p:cNvPr id="30" name="AutoShape 5"/>
            <p:cNvSpPr>
              <a:spLocks/>
            </p:cNvSpPr>
            <p:nvPr/>
          </p:nvSpPr>
          <p:spPr bwMode="auto">
            <a:xfrm>
              <a:off x="17055793" y="12560300"/>
              <a:ext cx="330200" cy="3302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rgbClr val="FFFDFF"/>
            </a:solidFill>
            <a:ln w="101600" cap="flat" cmpd="sng">
              <a:solidFill>
                <a:schemeClr val="bg2">
                  <a:lumMod val="75000"/>
                </a:schemeClr>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C0C0C0"/>
                  </a:outerShdw>
                </a:effectLst>
                <a:latin typeface="Lato" panose="020F0502020204030203" pitchFamily="34" charset="0"/>
              </a:endParaRPr>
            </a:p>
          </p:txBody>
        </p:sp>
        <p:sp>
          <p:nvSpPr>
            <p:cNvPr id="31" name="AutoShape 4"/>
            <p:cNvSpPr>
              <a:spLocks/>
            </p:cNvSpPr>
            <p:nvPr/>
          </p:nvSpPr>
          <p:spPr bwMode="auto">
            <a:xfrm>
              <a:off x="17881293" y="12393613"/>
              <a:ext cx="2362507" cy="660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3600" dirty="0">
                  <a:solidFill>
                    <a:schemeClr val="tx1"/>
                  </a:solidFill>
                  <a:latin typeface="Lato Light" panose="020F0302020204030203" pitchFamily="34" charset="0"/>
                  <a:sym typeface="Lato Light" panose="020F0302020204030203" pitchFamily="34" charset="0"/>
                </a:rPr>
                <a:t>Eye2scan</a:t>
              </a:r>
              <a:endParaRPr lang="en-US" dirty="0">
                <a:solidFill>
                  <a:schemeClr val="tx1"/>
                </a:solidFill>
                <a:latin typeface="Lato" panose="020F0502020204030203" pitchFamily="34" charset="0"/>
              </a:endParaRPr>
            </a:p>
          </p:txBody>
        </p:sp>
      </p:grpSp>
    </p:spTree>
    <p:extLst>
      <p:ext uri="{BB962C8B-B14F-4D97-AF65-F5344CB8AC3E}">
        <p14:creationId xmlns:p14="http://schemas.microsoft.com/office/powerpoint/2010/main" xmlns="" val="195979819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graphicEl>
                                              <a:chart seriesIdx="0" categoryIdx="-4" bldStep="series"/>
                                            </p:graphicEl>
                                          </p:spTgt>
                                        </p:tgtEl>
                                        <p:attrNameLst>
                                          <p:attrName>style.visibility</p:attrName>
                                        </p:attrNameLst>
                                      </p:cBhvr>
                                      <p:to>
                                        <p:strVal val="visible"/>
                                      </p:to>
                                    </p:set>
                                    <p:animEffect transition="in" filter="fade">
                                      <p:cBhvr>
                                        <p:cTn id="7" dur="1000"/>
                                        <p:tgtEl>
                                          <p:spTgt spid="18">
                                            <p:graphicEl>
                                              <a:chart seriesIdx="0" categoryIdx="-4" bldStep="series"/>
                                            </p:graphic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8">
                                            <p:graphicEl>
                                              <a:chart seriesIdx="1" categoryIdx="-4" bldStep="series"/>
                                            </p:graphicEl>
                                          </p:spTgt>
                                        </p:tgtEl>
                                        <p:attrNameLst>
                                          <p:attrName>style.visibility</p:attrName>
                                        </p:attrNameLst>
                                      </p:cBhvr>
                                      <p:to>
                                        <p:strVal val="visible"/>
                                      </p:to>
                                    </p:set>
                                    <p:animEffect transition="in" filter="fade">
                                      <p:cBhvr>
                                        <p:cTn id="14" dur="1000"/>
                                        <p:tgtEl>
                                          <p:spTgt spid="18">
                                            <p:graphicEl>
                                              <a:chart seriesIdx="1" categoryIdx="-4" bldStep="series"/>
                                            </p:graphicEl>
                                          </p:spTgt>
                                        </p:tgtEl>
                                      </p:cBhvr>
                                    </p:animEffec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8">
                                            <p:graphicEl>
                                              <a:chart seriesIdx="2" categoryIdx="-4" bldStep="series"/>
                                            </p:graphicEl>
                                          </p:spTgt>
                                        </p:tgtEl>
                                        <p:attrNameLst>
                                          <p:attrName>style.visibility</p:attrName>
                                        </p:attrNameLst>
                                      </p:cBhvr>
                                      <p:to>
                                        <p:strVal val="visible"/>
                                      </p:to>
                                    </p:set>
                                    <p:animEffect transition="in" filter="fade">
                                      <p:cBhvr>
                                        <p:cTn id="21" dur="1000"/>
                                        <p:tgtEl>
                                          <p:spTgt spid="18">
                                            <p:graphicEl>
                                              <a:chart seriesIdx="2" categoryIdx="-4" bldStep="series"/>
                                            </p:graphic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8" grpId="0">
        <p:bldSub>
          <a:bldChart bld="series"/>
        </p:bldSub>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575353" y="3203416"/>
            <a:ext cx="2937740" cy="2837448"/>
            <a:chOff x="4316413" y="3541713"/>
            <a:chExt cx="1676400" cy="1677987"/>
          </a:xfrm>
        </p:grpSpPr>
        <p:sp>
          <p:nvSpPr>
            <p:cNvPr id="78849" name="AutoShape 1"/>
            <p:cNvSpPr>
              <a:spLocks/>
            </p:cNvSpPr>
            <p:nvPr/>
          </p:nvSpPr>
          <p:spPr bwMode="auto">
            <a:xfrm>
              <a:off x="4316413" y="3541713"/>
              <a:ext cx="1676400" cy="16779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8853" name="AutoShape 5"/>
            <p:cNvSpPr>
              <a:spLocks/>
            </p:cNvSpPr>
            <p:nvPr/>
          </p:nvSpPr>
          <p:spPr bwMode="auto">
            <a:xfrm>
              <a:off x="4978400" y="3987800"/>
              <a:ext cx="1009650" cy="1192213"/>
            </a:xfrm>
            <a:custGeom>
              <a:avLst/>
              <a:gdLst>
                <a:gd name="T0" fmla="*/ 10255 w 20511"/>
                <a:gd name="T1" fmla="*/ 10800 h 21600"/>
                <a:gd name="T2" fmla="*/ 10255 w 20511"/>
                <a:gd name="T3" fmla="*/ 10800 h 21600"/>
                <a:gd name="T4" fmla="*/ 10255 w 20511"/>
                <a:gd name="T5" fmla="*/ 10800 h 21600"/>
                <a:gd name="T6" fmla="*/ 10255 w 20511"/>
                <a:gd name="T7" fmla="*/ 10800 h 21600"/>
              </a:gdLst>
              <a:ahLst/>
              <a:cxnLst>
                <a:cxn ang="0">
                  <a:pos x="T0" y="T1"/>
                </a:cxn>
                <a:cxn ang="0">
                  <a:pos x="T2" y="T3"/>
                </a:cxn>
                <a:cxn ang="0">
                  <a:pos x="T4" y="T5"/>
                </a:cxn>
                <a:cxn ang="0">
                  <a:pos x="T6" y="T7"/>
                </a:cxn>
              </a:cxnLst>
              <a:rect l="0" t="0" r="r" b="b"/>
              <a:pathLst>
                <a:path w="20511" h="21600">
                  <a:moveTo>
                    <a:pt x="0" y="17019"/>
                  </a:moveTo>
                  <a:lnTo>
                    <a:pt x="8317" y="21600"/>
                  </a:lnTo>
                  <a:cubicBezTo>
                    <a:pt x="8317" y="21600"/>
                    <a:pt x="21600" y="18552"/>
                    <a:pt x="20439" y="5212"/>
                  </a:cubicBezTo>
                  <a:lnTo>
                    <a:pt x="12207" y="0"/>
                  </a:lnTo>
                  <a:lnTo>
                    <a:pt x="0" y="17019"/>
                  </a:lnTo>
                  <a:close/>
                </a:path>
              </a:pathLst>
            </a:custGeom>
            <a:solidFill>
              <a:schemeClr val="tx2">
                <a:lumMod val="75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78854" name="AutoShape 6"/>
            <p:cNvSpPr>
              <a:spLocks/>
            </p:cNvSpPr>
            <p:nvPr/>
          </p:nvSpPr>
          <p:spPr bwMode="auto">
            <a:xfrm>
              <a:off x="4570413" y="3795713"/>
              <a:ext cx="1157287" cy="1157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bg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8855" name="AutoShape 7"/>
            <p:cNvSpPr>
              <a:spLocks/>
            </p:cNvSpPr>
            <p:nvPr/>
          </p:nvSpPr>
          <p:spPr bwMode="auto">
            <a:xfrm>
              <a:off x="4656138" y="4102100"/>
              <a:ext cx="998537" cy="5588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3800" b="1" dirty="0">
                  <a:solidFill>
                    <a:srgbClr val="FFFFFF"/>
                  </a:solidFill>
                  <a:latin typeface="Lato Regular" charset="0"/>
                  <a:ea typeface="Lato Regular" charset="0"/>
                  <a:cs typeface="Lato Regular" charset="0"/>
                  <a:sym typeface="Lato Regular" charset="0"/>
                </a:rPr>
                <a:t>New</a:t>
              </a:r>
              <a:endParaRPr lang="en-US" sz="3800" dirty="0">
                <a:latin typeface="Lato" panose="020F0502020204030203" pitchFamily="34" charset="0"/>
              </a:endParaRPr>
            </a:p>
          </p:txBody>
        </p:sp>
      </p:grpSp>
      <p:grpSp>
        <p:nvGrpSpPr>
          <p:cNvPr id="3" name="Group 2"/>
          <p:cNvGrpSpPr/>
          <p:nvPr/>
        </p:nvGrpSpPr>
        <p:grpSpPr>
          <a:xfrm>
            <a:off x="3548798" y="7669794"/>
            <a:ext cx="2990849" cy="3060701"/>
            <a:chOff x="4316413" y="8139113"/>
            <a:chExt cx="1676400" cy="1677987"/>
          </a:xfrm>
        </p:grpSpPr>
        <p:sp>
          <p:nvSpPr>
            <p:cNvPr id="78850" name="AutoShape 2"/>
            <p:cNvSpPr>
              <a:spLocks/>
            </p:cNvSpPr>
            <p:nvPr/>
          </p:nvSpPr>
          <p:spPr bwMode="auto">
            <a:xfrm>
              <a:off x="4316413" y="8139113"/>
              <a:ext cx="1676400" cy="16779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lumMod val="60000"/>
                <a:lumOff val="40000"/>
              </a:schemeClr>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8851" name="AutoShape 3"/>
            <p:cNvSpPr>
              <a:spLocks/>
            </p:cNvSpPr>
            <p:nvPr/>
          </p:nvSpPr>
          <p:spPr bwMode="auto">
            <a:xfrm>
              <a:off x="4978400" y="8588375"/>
              <a:ext cx="1009650" cy="1192213"/>
            </a:xfrm>
            <a:custGeom>
              <a:avLst/>
              <a:gdLst>
                <a:gd name="T0" fmla="*/ 10255 w 20511"/>
                <a:gd name="T1" fmla="*/ 10800 h 21600"/>
                <a:gd name="T2" fmla="*/ 10255 w 20511"/>
                <a:gd name="T3" fmla="*/ 10800 h 21600"/>
                <a:gd name="T4" fmla="*/ 10255 w 20511"/>
                <a:gd name="T5" fmla="*/ 10800 h 21600"/>
                <a:gd name="T6" fmla="*/ 10255 w 20511"/>
                <a:gd name="T7" fmla="*/ 10800 h 21600"/>
              </a:gdLst>
              <a:ahLst/>
              <a:cxnLst>
                <a:cxn ang="0">
                  <a:pos x="T0" y="T1"/>
                </a:cxn>
                <a:cxn ang="0">
                  <a:pos x="T2" y="T3"/>
                </a:cxn>
                <a:cxn ang="0">
                  <a:pos x="T4" y="T5"/>
                </a:cxn>
                <a:cxn ang="0">
                  <a:pos x="T6" y="T7"/>
                </a:cxn>
              </a:cxnLst>
              <a:rect l="0" t="0" r="r" b="b"/>
              <a:pathLst>
                <a:path w="20511" h="21600">
                  <a:moveTo>
                    <a:pt x="0" y="17019"/>
                  </a:moveTo>
                  <a:lnTo>
                    <a:pt x="8317" y="21600"/>
                  </a:lnTo>
                  <a:cubicBezTo>
                    <a:pt x="8317" y="21600"/>
                    <a:pt x="21600" y="18552"/>
                    <a:pt x="20439" y="5212"/>
                  </a:cubicBezTo>
                  <a:lnTo>
                    <a:pt x="12207" y="0"/>
                  </a:lnTo>
                  <a:lnTo>
                    <a:pt x="0" y="17019"/>
                  </a:lnTo>
                  <a:close/>
                </a:path>
              </a:pathLst>
            </a:custGeom>
            <a:solidFill>
              <a:schemeClr val="accent2">
                <a:lumMod val="50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78852" name="AutoShape 4"/>
            <p:cNvSpPr>
              <a:spLocks/>
            </p:cNvSpPr>
            <p:nvPr/>
          </p:nvSpPr>
          <p:spPr bwMode="auto">
            <a:xfrm>
              <a:off x="4570413" y="8393113"/>
              <a:ext cx="1157287" cy="1157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2">
                <a:lumMod val="60000"/>
                <a:lumOff val="40000"/>
              </a:schemeClr>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8856" name="AutoShape 8"/>
            <p:cNvSpPr>
              <a:spLocks/>
            </p:cNvSpPr>
            <p:nvPr/>
          </p:nvSpPr>
          <p:spPr bwMode="auto">
            <a:xfrm>
              <a:off x="4562327" y="8698706"/>
              <a:ext cx="1143090" cy="5588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3800" b="1" dirty="0">
                  <a:solidFill>
                    <a:srgbClr val="FFFFFF"/>
                  </a:solidFill>
                  <a:latin typeface="Lato Regular" charset="0"/>
                  <a:ea typeface="Lato Regular" charset="0"/>
                  <a:cs typeface="Lato Regular" charset="0"/>
                  <a:sym typeface="Lato Regular" charset="0"/>
                </a:rPr>
                <a:t>Backlog</a:t>
              </a:r>
              <a:endParaRPr lang="en-US" sz="3800" dirty="0">
                <a:latin typeface="Lato" panose="020F0502020204030203" pitchFamily="34" charset="0"/>
              </a:endParaRPr>
            </a:p>
          </p:txBody>
        </p:sp>
      </p:grpSp>
      <p:sp>
        <p:nvSpPr>
          <p:cNvPr id="78857" name="AutoShape 9"/>
          <p:cNvSpPr>
            <a:spLocks/>
          </p:cNvSpPr>
          <p:nvPr/>
        </p:nvSpPr>
        <p:spPr bwMode="auto">
          <a:xfrm>
            <a:off x="1272216" y="6055917"/>
            <a:ext cx="7554888" cy="1219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r>
              <a:rPr lang="en-US" sz="32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0.05% of European market in 5 years</a:t>
            </a:r>
          </a:p>
          <a:p>
            <a:endParaRPr lang="en-US" sz="3200" dirty="0" smtClean="0">
              <a:solidFill>
                <a:schemeClr val="tx1"/>
              </a:solidFill>
              <a:latin typeface="Lato Light" panose="020F0302020204030203" pitchFamily="34" charset="0"/>
              <a:sym typeface="Lato Light" panose="020F0302020204030203" pitchFamily="34" charset="0"/>
            </a:endParaRPr>
          </a:p>
          <a:p>
            <a:r>
              <a:rPr lang="en-US" sz="3200" dirty="0" smtClean="0">
                <a:solidFill>
                  <a:schemeClr val="tx1"/>
                </a:solidFill>
                <a:latin typeface="Lato Light" panose="020F0302020204030203" pitchFamily="34" charset="0"/>
                <a:sym typeface="Lato Light" panose="020F0302020204030203" pitchFamily="34" charset="0"/>
              </a:rPr>
              <a:t>Prospects/Sales </a:t>
            </a:r>
            <a:r>
              <a:rPr lang="en-US" sz="3200" dirty="0">
                <a:solidFill>
                  <a:schemeClr val="tx1"/>
                </a:solidFill>
                <a:latin typeface="Lato Light" panose="020F0302020204030203" pitchFamily="34" charset="0"/>
                <a:sym typeface="Lato Light" panose="020F0302020204030203" pitchFamily="34" charset="0"/>
              </a:rPr>
              <a:t>ratio: 10%</a:t>
            </a:r>
            <a:endParaRPr lang="en-US" sz="3200" dirty="0">
              <a:solidFill>
                <a:schemeClr val="tx1"/>
              </a:solidFill>
              <a:latin typeface="Lato" panose="020F0502020204030203" pitchFamily="34" charset="0"/>
            </a:endParaRPr>
          </a:p>
        </p:txBody>
      </p:sp>
      <p:sp>
        <p:nvSpPr>
          <p:cNvPr id="78858" name="AutoShape 10"/>
          <p:cNvSpPr>
            <a:spLocks/>
          </p:cNvSpPr>
          <p:nvPr/>
        </p:nvSpPr>
        <p:spPr bwMode="auto">
          <a:xfrm>
            <a:off x="2067344" y="10931742"/>
            <a:ext cx="5863756" cy="49859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r>
              <a:rPr lang="en-US" sz="32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3 year </a:t>
            </a:r>
            <a:r>
              <a:rPr lang="en-US" sz="32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subscription contracts </a:t>
            </a:r>
            <a:endParaRPr lang="en-US" sz="3200" dirty="0">
              <a:solidFill>
                <a:schemeClr val="tx1"/>
              </a:solidFill>
              <a:latin typeface="Lato" panose="020F0502020204030203" pitchFamily="34" charset="0"/>
            </a:endParaRPr>
          </a:p>
        </p:txBody>
      </p:sp>
      <p:graphicFrame>
        <p:nvGraphicFramePr>
          <p:cNvPr id="14" name="Object 12"/>
          <p:cNvGraphicFramePr>
            <a:graphicFrameLocks noChangeAspect="1"/>
          </p:cNvGraphicFramePr>
          <p:nvPr>
            <p:extLst>
              <p:ext uri="{D42A27DB-BD31-4B8C-83A1-F6EECF244321}">
                <p14:modId xmlns:p14="http://schemas.microsoft.com/office/powerpoint/2010/main" xmlns="" val="3419769853"/>
              </p:ext>
            </p:extLst>
          </p:nvPr>
        </p:nvGraphicFramePr>
        <p:xfrm>
          <a:off x="9383688" y="3155960"/>
          <a:ext cx="12600012" cy="891380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1318792" y="874148"/>
            <a:ext cx="7009868" cy="1508105"/>
          </a:xfrm>
        </p:spPr>
        <p:txBody>
          <a:bodyPr/>
          <a:lstStyle/>
          <a:p>
            <a:r>
              <a:rPr lang="en-US" dirty="0">
                <a:ea typeface="Aleo Regular" charset="0"/>
                <a:cs typeface="Aleo Regular" charset="0"/>
                <a:sym typeface="Aleo Regular" charset="0"/>
              </a:rPr>
              <a:t>Sales forecast</a:t>
            </a:r>
            <a:endParaRPr lang="en-US" dirty="0"/>
          </a:p>
        </p:txBody>
      </p:sp>
    </p:spTree>
    <p:extLst>
      <p:ext uri="{BB962C8B-B14F-4D97-AF65-F5344CB8AC3E}">
        <p14:creationId xmlns:p14="http://schemas.microsoft.com/office/powerpoint/2010/main" xmlns="" val="278507147"/>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Title 1"/>
          <p:cNvSpPr txBox="1">
            <a:spLocks/>
          </p:cNvSpPr>
          <p:nvPr/>
        </p:nvSpPr>
        <p:spPr>
          <a:xfrm>
            <a:off x="-22361" y="58677"/>
            <a:ext cx="24035300" cy="1508105"/>
          </a:xfrm>
          <a:prstGeom prst="rect">
            <a:avLst/>
          </a:prstGeom>
        </p:spPr>
        <p:txBody>
          <a:bodyPr/>
          <a:lstStyle>
            <a:lvl1pPr algn="l" defTabSz="457200" rtl="0" eaLnBrk="1" fontAlgn="base" hangingPunct="1">
              <a:spcBef>
                <a:spcPct val="0"/>
              </a:spcBef>
              <a:spcAft>
                <a:spcPct val="0"/>
              </a:spcAft>
              <a:defRPr sz="9200" b="1" kern="1200">
                <a:solidFill>
                  <a:srgbClr val="4D4D4D"/>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r>
              <a:rPr lang="en-US" dirty="0">
                <a:ea typeface="Aleo Regular" charset="0"/>
                <a:cs typeface="Aleo Regular" charset="0"/>
                <a:sym typeface="Aleo Regular" charset="0"/>
              </a:rPr>
              <a:t>Sales </a:t>
            </a:r>
            <a:r>
              <a:rPr lang="en-US" dirty="0" smtClean="0">
                <a:ea typeface="Aleo Regular" charset="0"/>
                <a:cs typeface="Aleo Regular" charset="0"/>
                <a:sym typeface="Aleo Regular" charset="0"/>
              </a:rPr>
              <a:t>Pipeline </a:t>
            </a:r>
            <a:r>
              <a:rPr lang="en-US" sz="6000" i="1" dirty="0" smtClean="0">
                <a:ea typeface="Aleo Regular" charset="0"/>
                <a:cs typeface="Aleo Regular" charset="0"/>
                <a:sym typeface="Aleo Regular" charset="0"/>
              </a:rPr>
              <a:t>– 8 months market trial</a:t>
            </a:r>
            <a:endParaRPr lang="en-US" i="1" dirty="0"/>
          </a:p>
        </p:txBody>
      </p:sp>
      <p:sp>
        <p:nvSpPr>
          <p:cNvPr id="91" name="AutoShape 9"/>
          <p:cNvSpPr>
            <a:spLocks/>
          </p:cNvSpPr>
          <p:nvPr/>
        </p:nvSpPr>
        <p:spPr bwMode="auto">
          <a:xfrm>
            <a:off x="566048" y="1792521"/>
            <a:ext cx="16374707" cy="176622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l"/>
            <a:r>
              <a:rPr lang="en-US" sz="44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70 qualified contacts </a:t>
            </a:r>
            <a:r>
              <a:rPr lang="en-US" sz="44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resulted in </a:t>
            </a:r>
            <a:r>
              <a:rPr lang="en-US" sz="4400" b="1" dirty="0" smtClean="0">
                <a:solidFill>
                  <a:srgbClr val="E7A556"/>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28%</a:t>
            </a:r>
            <a:r>
              <a:rPr lang="en-US" sz="44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 immediate sales leads</a:t>
            </a:r>
          </a:p>
          <a:p>
            <a:pPr algn="l"/>
            <a:r>
              <a:rPr lang="en-US" sz="44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and </a:t>
            </a:r>
            <a:r>
              <a:rPr lang="en-US" sz="4400" b="1" dirty="0" smtClean="0">
                <a:solidFill>
                  <a:srgbClr val="E8A556"/>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46%</a:t>
            </a:r>
            <a:r>
              <a:rPr lang="en-US" sz="44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 potential sales lead</a:t>
            </a:r>
            <a:endParaRPr lang="en-US" sz="4400" dirty="0">
              <a:solidFill>
                <a:schemeClr val="tx1"/>
              </a:solidFill>
              <a:latin typeface="Lato" panose="020F0502020204030203" pitchFamily="34" charset="0"/>
            </a:endParaRPr>
          </a:p>
        </p:txBody>
      </p:sp>
      <p:graphicFrame>
        <p:nvGraphicFramePr>
          <p:cNvPr id="28" name="Diagram 27"/>
          <p:cNvGraphicFramePr/>
          <p:nvPr>
            <p:extLst>
              <p:ext uri="{D42A27DB-BD31-4B8C-83A1-F6EECF244321}">
                <p14:modId xmlns:p14="http://schemas.microsoft.com/office/powerpoint/2010/main" xmlns="" val="183987968"/>
              </p:ext>
            </p:extLst>
          </p:nvPr>
        </p:nvGraphicFramePr>
        <p:xfrm>
          <a:off x="3084334" y="23060"/>
          <a:ext cx="21299666" cy="151298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2" name="Oval 48"/>
          <p:cNvSpPr/>
          <p:nvPr/>
        </p:nvSpPr>
        <p:spPr>
          <a:xfrm>
            <a:off x="17887457" y="6890066"/>
            <a:ext cx="1682124" cy="1634305"/>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fr-FR" sz="1800" b="1" dirty="0" err="1" smtClean="0">
                <a:solidFill>
                  <a:schemeClr val="bg1"/>
                </a:solidFill>
              </a:rPr>
              <a:t>Dillinger</a:t>
            </a:r>
            <a:endParaRPr lang="en-US" sz="2000" b="1" dirty="0">
              <a:solidFill>
                <a:schemeClr val="bg1"/>
              </a:solidFill>
            </a:endParaRPr>
          </a:p>
        </p:txBody>
      </p:sp>
      <p:sp>
        <p:nvSpPr>
          <p:cNvPr id="96" name="Oval 49"/>
          <p:cNvSpPr/>
          <p:nvPr/>
        </p:nvSpPr>
        <p:spPr>
          <a:xfrm>
            <a:off x="16637436" y="4454487"/>
            <a:ext cx="1582737" cy="155178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fr-FR" sz="1800" b="1" dirty="0">
                <a:solidFill>
                  <a:schemeClr val="bg1"/>
                </a:solidFill>
              </a:rPr>
              <a:t>Soufflet</a:t>
            </a:r>
            <a:endParaRPr lang="en-US" sz="1800" b="1" dirty="0">
              <a:solidFill>
                <a:schemeClr val="bg1"/>
              </a:solidFill>
            </a:endParaRPr>
          </a:p>
        </p:txBody>
      </p:sp>
      <p:sp>
        <p:nvSpPr>
          <p:cNvPr id="102" name="Oval 84"/>
          <p:cNvSpPr/>
          <p:nvPr/>
        </p:nvSpPr>
        <p:spPr>
          <a:xfrm>
            <a:off x="10414306" y="9334584"/>
            <a:ext cx="1545166" cy="1410253"/>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fr-FR" sz="1900" b="1" dirty="0" err="1" smtClean="0">
                <a:solidFill>
                  <a:srgbClr val="FFFFFF"/>
                </a:solidFill>
              </a:rPr>
              <a:t>Maped</a:t>
            </a:r>
            <a:endParaRPr lang="en-US" sz="1900" b="1" dirty="0">
              <a:solidFill>
                <a:srgbClr val="FFFFFF"/>
              </a:solidFill>
            </a:endParaRPr>
          </a:p>
        </p:txBody>
      </p:sp>
      <p:sp>
        <p:nvSpPr>
          <p:cNvPr id="104" name="Oval 94"/>
          <p:cNvSpPr/>
          <p:nvPr/>
        </p:nvSpPr>
        <p:spPr>
          <a:xfrm>
            <a:off x="13551760" y="9422564"/>
            <a:ext cx="1570952" cy="1527224"/>
          </a:xfrm>
          <a:prstGeom prst="ellipse">
            <a:avLst/>
          </a:prstGeom>
          <a:gradFill>
            <a:gsLst>
              <a:gs pos="0">
                <a:schemeClr val="lt2">
                  <a:tint val="93000"/>
                  <a:satMod val="150000"/>
                  <a:shade val="98000"/>
                  <a:lumMod val="102000"/>
                </a:schemeClr>
              </a:gs>
              <a:gs pos="50000">
                <a:schemeClr val="lt2">
                  <a:tint val="98000"/>
                  <a:satMod val="130000"/>
                  <a:shade val="90000"/>
                  <a:lumMod val="103000"/>
                </a:schemeClr>
              </a:gs>
              <a:gs pos="100000">
                <a:schemeClr val="lt2">
                  <a:shade val="63000"/>
                  <a:satMod val="120000"/>
                </a:schemeClr>
              </a:gs>
            </a:gsLst>
            <a:lin ang="5400000" scaled="0"/>
          </a:gra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smtClean="0">
                <a:solidFill>
                  <a:schemeClr val="bg1">
                    <a:lumMod val="25000"/>
                  </a:schemeClr>
                </a:solidFill>
              </a:rPr>
              <a:t>Bricorama.</a:t>
            </a:r>
            <a:endParaRPr lang="en-US" sz="2000" b="1" dirty="0">
              <a:solidFill>
                <a:schemeClr val="bg1">
                  <a:lumMod val="25000"/>
                </a:schemeClr>
              </a:solidFill>
            </a:endParaRPr>
          </a:p>
        </p:txBody>
      </p:sp>
      <p:sp>
        <p:nvSpPr>
          <p:cNvPr id="110" name="Oval 108"/>
          <p:cNvSpPr>
            <a:spLocks/>
          </p:cNvSpPr>
          <p:nvPr/>
        </p:nvSpPr>
        <p:spPr>
          <a:xfrm>
            <a:off x="16483561" y="2952063"/>
            <a:ext cx="1872000" cy="1872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900" b="1" dirty="0">
              <a:solidFill>
                <a:schemeClr val="bg1"/>
              </a:solidFill>
            </a:endParaRPr>
          </a:p>
        </p:txBody>
      </p:sp>
      <p:sp>
        <p:nvSpPr>
          <p:cNvPr id="111" name="Oval 114"/>
          <p:cNvSpPr>
            <a:spLocks noChangeAspect="1"/>
          </p:cNvSpPr>
          <p:nvPr/>
        </p:nvSpPr>
        <p:spPr>
          <a:xfrm>
            <a:off x="19883742" y="9049011"/>
            <a:ext cx="1692112" cy="167762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fr-FR" sz="1800" b="1" dirty="0" err="1">
                <a:solidFill>
                  <a:schemeClr val="bg1"/>
                </a:solidFill>
              </a:rPr>
              <a:t>Faurecia</a:t>
            </a:r>
            <a:endParaRPr lang="en-US" sz="1800" b="1" dirty="0">
              <a:solidFill>
                <a:schemeClr val="bg1"/>
              </a:solidFill>
            </a:endParaRPr>
          </a:p>
        </p:txBody>
      </p:sp>
      <p:sp>
        <p:nvSpPr>
          <p:cNvPr id="15" name="Oval 58"/>
          <p:cNvSpPr/>
          <p:nvPr/>
        </p:nvSpPr>
        <p:spPr>
          <a:xfrm>
            <a:off x="6686736" y="11999119"/>
            <a:ext cx="1512000" cy="1512000"/>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r>
              <a:rPr lang="fr-FR" sz="1800" b="1" dirty="0">
                <a:solidFill>
                  <a:schemeClr val="bg1">
                    <a:lumMod val="25000"/>
                  </a:schemeClr>
                </a:solidFill>
              </a:rPr>
              <a:t>Pierre Fabre</a:t>
            </a:r>
            <a:endParaRPr lang="en-US" sz="1800" b="1" dirty="0">
              <a:solidFill>
                <a:schemeClr val="bg1">
                  <a:lumMod val="25000"/>
                </a:schemeClr>
              </a:solidFill>
            </a:endParaRPr>
          </a:p>
        </p:txBody>
      </p:sp>
      <p:sp>
        <p:nvSpPr>
          <p:cNvPr id="16" name="Oval 59"/>
          <p:cNvSpPr>
            <a:spLocks noChangeAspect="1"/>
          </p:cNvSpPr>
          <p:nvPr/>
        </p:nvSpPr>
        <p:spPr>
          <a:xfrm>
            <a:off x="11144058" y="8283142"/>
            <a:ext cx="1630828" cy="1497389"/>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r>
              <a:rPr lang="fr-FR" sz="1800" b="1" dirty="0" smtClean="0">
                <a:solidFill>
                  <a:srgbClr val="FFFFFF"/>
                </a:solidFill>
              </a:rPr>
              <a:t>Saint </a:t>
            </a:r>
            <a:r>
              <a:rPr lang="fr-FR" sz="1800" b="1" dirty="0" err="1" smtClean="0">
                <a:solidFill>
                  <a:srgbClr val="FFFFFF"/>
                </a:solidFill>
              </a:rPr>
              <a:t>Gobain</a:t>
            </a:r>
            <a:endParaRPr lang="fr-FR" sz="1800" b="1" dirty="0" smtClean="0">
              <a:solidFill>
                <a:srgbClr val="FFFFFF"/>
              </a:solidFill>
            </a:endParaRPr>
          </a:p>
          <a:p>
            <a:endParaRPr lang="en-US" sz="1800" b="1" dirty="0">
              <a:solidFill>
                <a:srgbClr val="FFFFFF"/>
              </a:solidFill>
            </a:endParaRPr>
          </a:p>
        </p:txBody>
      </p:sp>
      <p:sp>
        <p:nvSpPr>
          <p:cNvPr id="17" name="Oval 60"/>
          <p:cNvSpPr/>
          <p:nvPr/>
        </p:nvSpPr>
        <p:spPr>
          <a:xfrm>
            <a:off x="17304584" y="5881208"/>
            <a:ext cx="1372762" cy="1356086"/>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r>
              <a:rPr lang="fr-FR" sz="1800" b="1" dirty="0">
                <a:solidFill>
                  <a:schemeClr val="bg1"/>
                </a:solidFill>
              </a:rPr>
              <a:t>Maïs Adour</a:t>
            </a:r>
            <a:endParaRPr lang="en-US" sz="1800" b="1" dirty="0">
              <a:solidFill>
                <a:schemeClr val="bg1"/>
              </a:solidFill>
            </a:endParaRPr>
          </a:p>
        </p:txBody>
      </p:sp>
      <p:sp>
        <p:nvSpPr>
          <p:cNvPr id="18" name="Oval 71"/>
          <p:cNvSpPr/>
          <p:nvPr/>
        </p:nvSpPr>
        <p:spPr>
          <a:xfrm>
            <a:off x="20147982" y="7531147"/>
            <a:ext cx="1497082" cy="1420943"/>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r>
              <a:rPr lang="fr-FR" sz="1800" b="1" dirty="0" err="1">
                <a:solidFill>
                  <a:schemeClr val="bg1"/>
                </a:solidFill>
              </a:rPr>
              <a:t>Seb</a:t>
            </a:r>
            <a:endParaRPr lang="en-US" sz="1800" b="1" dirty="0">
              <a:solidFill>
                <a:schemeClr val="bg1"/>
              </a:solidFill>
            </a:endParaRPr>
          </a:p>
        </p:txBody>
      </p:sp>
      <p:sp>
        <p:nvSpPr>
          <p:cNvPr id="41" name="Oval 119"/>
          <p:cNvSpPr>
            <a:spLocks noChangeAspect="1"/>
          </p:cNvSpPr>
          <p:nvPr/>
        </p:nvSpPr>
        <p:spPr>
          <a:xfrm>
            <a:off x="8431912" y="11977296"/>
            <a:ext cx="1512000" cy="1512000"/>
          </a:xfrm>
          <a:prstGeom prst="ellipse">
            <a:avLst/>
          </a:prstGeom>
          <a:ln/>
        </p:spPr>
        <p:style>
          <a:lnRef idx="1">
            <a:schemeClr val="accent2"/>
          </a:lnRef>
          <a:fillRef idx="2">
            <a:schemeClr val="accent2"/>
          </a:fillRef>
          <a:effectRef idx="1">
            <a:schemeClr val="accent2"/>
          </a:effectRef>
          <a:fontRef idx="minor">
            <a:schemeClr val="dk1"/>
          </a:fontRef>
        </p:style>
        <p:txBody>
          <a:bodyPr rtlCol="0" anchor="ctr"/>
          <a:lstStyle/>
          <a:p>
            <a:r>
              <a:rPr lang="fr-FR" sz="2000" b="1" dirty="0" err="1" smtClean="0">
                <a:solidFill>
                  <a:schemeClr val="bg1">
                    <a:lumMod val="25000"/>
                  </a:schemeClr>
                </a:solidFill>
              </a:rPr>
              <a:t>Picwic</a:t>
            </a:r>
            <a:endParaRPr lang="en-US" sz="2000" b="1" dirty="0">
              <a:solidFill>
                <a:schemeClr val="bg1">
                  <a:lumMod val="25000"/>
                </a:schemeClr>
              </a:solidFill>
            </a:endParaRPr>
          </a:p>
        </p:txBody>
      </p:sp>
      <p:sp>
        <p:nvSpPr>
          <p:cNvPr id="42" name="Oval 129"/>
          <p:cNvSpPr>
            <a:spLocks noChangeAspect="1"/>
          </p:cNvSpPr>
          <p:nvPr/>
        </p:nvSpPr>
        <p:spPr>
          <a:xfrm>
            <a:off x="11959472" y="7155717"/>
            <a:ext cx="1636613" cy="1593326"/>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r>
              <a:rPr lang="fr-FR" sz="1800" b="1" dirty="0" err="1">
                <a:solidFill>
                  <a:srgbClr val="FFFFFF"/>
                </a:solidFill>
              </a:rPr>
              <a:t>Novacap</a:t>
            </a:r>
            <a:endParaRPr lang="en-US" sz="2000" b="1" dirty="0">
              <a:solidFill>
                <a:srgbClr val="FFFFFF"/>
              </a:solidFill>
            </a:endParaRPr>
          </a:p>
        </p:txBody>
      </p:sp>
      <p:sp>
        <p:nvSpPr>
          <p:cNvPr id="44" name="Oval 136"/>
          <p:cNvSpPr>
            <a:spLocks noChangeAspect="1"/>
          </p:cNvSpPr>
          <p:nvPr/>
        </p:nvSpPr>
        <p:spPr>
          <a:xfrm>
            <a:off x="12482887" y="4990915"/>
            <a:ext cx="1503128" cy="140533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r>
              <a:rPr lang="fr-FR" sz="2000" b="1" dirty="0" err="1">
                <a:solidFill>
                  <a:srgbClr val="FFFFFF"/>
                </a:solidFill>
              </a:rPr>
              <a:t>Mylan</a:t>
            </a:r>
            <a:endParaRPr lang="en-US" sz="2000" b="1" dirty="0">
              <a:solidFill>
                <a:srgbClr val="FFFFFF"/>
              </a:solidFill>
            </a:endParaRPr>
          </a:p>
        </p:txBody>
      </p:sp>
      <p:cxnSp>
        <p:nvCxnSpPr>
          <p:cNvPr id="51" name="Straight Connector 19"/>
          <p:cNvCxnSpPr/>
          <p:nvPr/>
        </p:nvCxnSpPr>
        <p:spPr>
          <a:xfrm flipH="1">
            <a:off x="13596085" y="3929992"/>
            <a:ext cx="1" cy="8806291"/>
          </a:xfrm>
          <a:prstGeom prst="line">
            <a:avLst/>
          </a:prstGeom>
          <a:ln w="31750" cap="rnd">
            <a:solidFill>
              <a:schemeClr val="tx1">
                <a:lumMod val="50000"/>
                <a:lumOff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54" name="Oval 141"/>
          <p:cNvSpPr>
            <a:spLocks noChangeAspect="1"/>
          </p:cNvSpPr>
          <p:nvPr/>
        </p:nvSpPr>
        <p:spPr>
          <a:xfrm>
            <a:off x="5466035" y="9960429"/>
            <a:ext cx="1657921" cy="1657921"/>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r>
              <a:rPr lang="fr-FR" sz="1600" b="1" dirty="0" smtClean="0">
                <a:solidFill>
                  <a:schemeClr val="bg1"/>
                </a:solidFill>
              </a:rPr>
              <a:t>FINAREO</a:t>
            </a:r>
            <a:endParaRPr lang="en-US" sz="1600" b="1" dirty="0">
              <a:solidFill>
                <a:schemeClr val="bg1"/>
              </a:solidFill>
            </a:endParaRPr>
          </a:p>
        </p:txBody>
      </p:sp>
      <p:sp>
        <p:nvSpPr>
          <p:cNvPr id="55" name="Oval 142"/>
          <p:cNvSpPr>
            <a:spLocks noChangeAspect="1"/>
          </p:cNvSpPr>
          <p:nvPr/>
        </p:nvSpPr>
        <p:spPr>
          <a:xfrm>
            <a:off x="9382655" y="8518248"/>
            <a:ext cx="1385773" cy="137160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r>
              <a:rPr lang="fr-FR" sz="1800" b="1" dirty="0">
                <a:solidFill>
                  <a:schemeClr val="bg1"/>
                </a:solidFill>
              </a:rPr>
              <a:t>Berner</a:t>
            </a:r>
            <a:endParaRPr lang="en-US" sz="1800" b="1" dirty="0">
              <a:solidFill>
                <a:schemeClr val="bg1"/>
              </a:solidFill>
            </a:endParaRPr>
          </a:p>
        </p:txBody>
      </p:sp>
      <p:sp>
        <p:nvSpPr>
          <p:cNvPr id="56" name="Oval 141"/>
          <p:cNvSpPr>
            <a:spLocks noChangeAspect="1"/>
          </p:cNvSpPr>
          <p:nvPr/>
        </p:nvSpPr>
        <p:spPr>
          <a:xfrm>
            <a:off x="3515767" y="9920029"/>
            <a:ext cx="1672142" cy="1672142"/>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r>
              <a:rPr lang="fr-FR" sz="1600" b="1" dirty="0" smtClean="0">
                <a:solidFill>
                  <a:schemeClr val="bg1"/>
                </a:solidFill>
              </a:rPr>
              <a:t>TISSOT</a:t>
            </a:r>
            <a:endParaRPr lang="en-US" sz="1800" b="1" dirty="0">
              <a:solidFill>
                <a:schemeClr val="bg1"/>
              </a:solidFill>
            </a:endParaRPr>
          </a:p>
        </p:txBody>
      </p:sp>
      <p:cxnSp>
        <p:nvCxnSpPr>
          <p:cNvPr id="63" name="Straight Connector 19"/>
          <p:cNvCxnSpPr/>
          <p:nvPr/>
        </p:nvCxnSpPr>
        <p:spPr>
          <a:xfrm>
            <a:off x="17248817" y="509581"/>
            <a:ext cx="0" cy="12226702"/>
          </a:xfrm>
          <a:prstGeom prst="line">
            <a:avLst/>
          </a:prstGeom>
          <a:ln w="31750" cap="rnd">
            <a:solidFill>
              <a:schemeClr val="tx1">
                <a:lumMod val="50000"/>
                <a:lumOff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53" name="Oval 48"/>
          <p:cNvSpPr/>
          <p:nvPr/>
        </p:nvSpPr>
        <p:spPr>
          <a:xfrm>
            <a:off x="13783656" y="3859720"/>
            <a:ext cx="1682124" cy="1634305"/>
          </a:xfrm>
          <a:prstGeom prst="ellipse">
            <a:avLst/>
          </a:prstGeom>
          <a:gradFill>
            <a:gsLst>
              <a:gs pos="0">
                <a:schemeClr val="lt2">
                  <a:tint val="93000"/>
                  <a:satMod val="150000"/>
                  <a:shade val="98000"/>
                  <a:lumMod val="102000"/>
                </a:schemeClr>
              </a:gs>
              <a:gs pos="50000">
                <a:schemeClr val="lt2">
                  <a:tint val="98000"/>
                  <a:satMod val="130000"/>
                  <a:shade val="90000"/>
                  <a:lumMod val="103000"/>
                </a:schemeClr>
              </a:gs>
              <a:gs pos="100000">
                <a:schemeClr val="lt2">
                  <a:shade val="63000"/>
                  <a:satMod val="120000"/>
                </a:schemeClr>
              </a:gs>
            </a:gsLst>
            <a:lin ang="5400000" scaled="0"/>
          </a:gra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dirty="0" err="1" smtClean="0">
                <a:solidFill>
                  <a:schemeClr val="bg1">
                    <a:lumMod val="25000"/>
                  </a:schemeClr>
                </a:solidFill>
              </a:rPr>
              <a:t>Anovo</a:t>
            </a:r>
            <a:endParaRPr lang="en-US" sz="2000" b="1" dirty="0">
              <a:solidFill>
                <a:schemeClr val="bg1">
                  <a:lumMod val="25000"/>
                </a:schemeClr>
              </a:solidFill>
            </a:endParaRPr>
          </a:p>
        </p:txBody>
      </p:sp>
      <p:sp>
        <p:nvSpPr>
          <p:cNvPr id="64" name="Oval 48"/>
          <p:cNvSpPr/>
          <p:nvPr/>
        </p:nvSpPr>
        <p:spPr>
          <a:xfrm>
            <a:off x="15165260" y="6151246"/>
            <a:ext cx="1682124" cy="1634305"/>
          </a:xfrm>
          <a:prstGeom prst="ellipse">
            <a:avLst/>
          </a:prstGeom>
          <a:gradFill>
            <a:gsLst>
              <a:gs pos="0">
                <a:schemeClr val="lt2">
                  <a:tint val="93000"/>
                  <a:satMod val="150000"/>
                  <a:shade val="98000"/>
                  <a:lumMod val="102000"/>
                </a:schemeClr>
              </a:gs>
              <a:gs pos="50000">
                <a:schemeClr val="lt2">
                  <a:tint val="98000"/>
                  <a:satMod val="130000"/>
                  <a:shade val="90000"/>
                  <a:lumMod val="103000"/>
                </a:schemeClr>
              </a:gs>
              <a:gs pos="100000">
                <a:schemeClr val="lt2">
                  <a:shade val="63000"/>
                  <a:satMod val="120000"/>
                </a:schemeClr>
              </a:gs>
            </a:gsLst>
            <a:lin ang="5400000" scaled="0"/>
          </a:gra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dirty="0" err="1" smtClean="0">
                <a:solidFill>
                  <a:schemeClr val="bg1">
                    <a:lumMod val="25000"/>
                  </a:schemeClr>
                </a:solidFill>
              </a:rPr>
              <a:t>Allibert</a:t>
            </a:r>
            <a:endParaRPr lang="en-US" sz="2000" b="1" dirty="0">
              <a:solidFill>
                <a:schemeClr val="bg1">
                  <a:lumMod val="25000"/>
                </a:schemeClr>
              </a:solidFill>
            </a:endParaRPr>
          </a:p>
        </p:txBody>
      </p:sp>
      <p:sp>
        <p:nvSpPr>
          <p:cNvPr id="65" name="Oval 48"/>
          <p:cNvSpPr/>
          <p:nvPr/>
        </p:nvSpPr>
        <p:spPr>
          <a:xfrm>
            <a:off x="13692113" y="7666160"/>
            <a:ext cx="1682124" cy="1634305"/>
          </a:xfrm>
          <a:prstGeom prst="ellipse">
            <a:avLst/>
          </a:prstGeom>
          <a:gradFill>
            <a:gsLst>
              <a:gs pos="0">
                <a:schemeClr val="lt2">
                  <a:tint val="93000"/>
                  <a:satMod val="150000"/>
                  <a:shade val="98000"/>
                  <a:lumMod val="102000"/>
                </a:schemeClr>
              </a:gs>
              <a:gs pos="50000">
                <a:schemeClr val="lt2">
                  <a:tint val="98000"/>
                  <a:satMod val="130000"/>
                  <a:shade val="90000"/>
                  <a:lumMod val="103000"/>
                </a:schemeClr>
              </a:gs>
              <a:gs pos="100000">
                <a:schemeClr val="lt2">
                  <a:shade val="63000"/>
                  <a:satMod val="120000"/>
                </a:schemeClr>
              </a:gs>
            </a:gsLst>
            <a:lin ang="5400000" scaled="0"/>
          </a:gra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dirty="0" err="1" smtClean="0">
                <a:solidFill>
                  <a:schemeClr val="bg1">
                    <a:lumMod val="25000"/>
                  </a:schemeClr>
                </a:solidFill>
              </a:rPr>
              <a:t>Couedic</a:t>
            </a:r>
            <a:r>
              <a:rPr lang="fr-FR" sz="1800" b="1" dirty="0" smtClean="0">
                <a:solidFill>
                  <a:schemeClr val="bg1">
                    <a:lumMod val="25000"/>
                  </a:schemeClr>
                </a:solidFill>
              </a:rPr>
              <a:t> </a:t>
            </a:r>
            <a:r>
              <a:rPr lang="fr-FR" sz="1800" b="1" dirty="0" err="1" smtClean="0">
                <a:solidFill>
                  <a:schemeClr val="bg1">
                    <a:lumMod val="25000"/>
                  </a:schemeClr>
                </a:solidFill>
              </a:rPr>
              <a:t>Madore</a:t>
            </a:r>
            <a:endParaRPr lang="en-US" sz="2000" b="1" dirty="0">
              <a:solidFill>
                <a:schemeClr val="bg1">
                  <a:lumMod val="25000"/>
                </a:schemeClr>
              </a:solidFill>
            </a:endParaRPr>
          </a:p>
        </p:txBody>
      </p:sp>
      <p:sp>
        <p:nvSpPr>
          <p:cNvPr id="52" name="Oval 48"/>
          <p:cNvSpPr/>
          <p:nvPr/>
        </p:nvSpPr>
        <p:spPr>
          <a:xfrm>
            <a:off x="11661691" y="5952719"/>
            <a:ext cx="1682124" cy="1634305"/>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fr-FR" sz="1800" b="1" dirty="0" err="1" smtClean="0">
                <a:solidFill>
                  <a:srgbClr val="FFFFFF"/>
                </a:solidFill>
              </a:rPr>
              <a:t>Fenwick</a:t>
            </a:r>
            <a:endParaRPr lang="en-US" sz="2000" b="1" dirty="0">
              <a:solidFill>
                <a:srgbClr val="FFFFFF"/>
              </a:solidFill>
            </a:endParaRPr>
          </a:p>
        </p:txBody>
      </p:sp>
      <p:sp>
        <p:nvSpPr>
          <p:cNvPr id="66" name="Oval 48"/>
          <p:cNvSpPr/>
          <p:nvPr/>
        </p:nvSpPr>
        <p:spPr>
          <a:xfrm>
            <a:off x="15398415" y="9400793"/>
            <a:ext cx="1682124" cy="1634305"/>
          </a:xfrm>
          <a:prstGeom prst="ellipse">
            <a:avLst/>
          </a:prstGeom>
          <a:gradFill>
            <a:gsLst>
              <a:gs pos="0">
                <a:schemeClr val="lt2">
                  <a:tint val="93000"/>
                  <a:satMod val="150000"/>
                  <a:shade val="98000"/>
                  <a:lumMod val="102000"/>
                </a:schemeClr>
              </a:gs>
              <a:gs pos="50000">
                <a:schemeClr val="lt2">
                  <a:tint val="98000"/>
                  <a:satMod val="130000"/>
                  <a:shade val="90000"/>
                  <a:lumMod val="103000"/>
                </a:schemeClr>
              </a:gs>
              <a:gs pos="100000">
                <a:schemeClr val="lt2">
                  <a:shade val="63000"/>
                  <a:satMod val="120000"/>
                </a:schemeClr>
              </a:gs>
            </a:gsLst>
            <a:lin ang="5400000" scaled="0"/>
          </a:gra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dirty="0" smtClean="0">
                <a:solidFill>
                  <a:schemeClr val="bg1">
                    <a:lumMod val="25000"/>
                  </a:schemeClr>
                </a:solidFill>
              </a:rPr>
              <a:t>Dassault Falcon Service</a:t>
            </a:r>
            <a:endParaRPr lang="en-US" sz="2000" b="1" dirty="0">
              <a:solidFill>
                <a:schemeClr val="bg1">
                  <a:lumMod val="25000"/>
                </a:schemeClr>
              </a:solidFill>
            </a:endParaRPr>
          </a:p>
        </p:txBody>
      </p:sp>
      <p:sp>
        <p:nvSpPr>
          <p:cNvPr id="67" name="Oval 58"/>
          <p:cNvSpPr/>
          <p:nvPr/>
        </p:nvSpPr>
        <p:spPr>
          <a:xfrm>
            <a:off x="15143489" y="7661069"/>
            <a:ext cx="1660130" cy="1668243"/>
          </a:xfrm>
          <a:prstGeom prst="ellipse">
            <a:avLst/>
          </a:prstGeom>
          <a:gradFill>
            <a:gsLst>
              <a:gs pos="0">
                <a:schemeClr val="lt2">
                  <a:tint val="93000"/>
                  <a:satMod val="150000"/>
                  <a:shade val="98000"/>
                  <a:lumMod val="102000"/>
                </a:schemeClr>
              </a:gs>
              <a:gs pos="50000">
                <a:schemeClr val="lt2">
                  <a:tint val="98000"/>
                  <a:satMod val="130000"/>
                  <a:shade val="90000"/>
                  <a:lumMod val="103000"/>
                </a:schemeClr>
              </a:gs>
              <a:gs pos="100000">
                <a:schemeClr val="lt2">
                  <a:shade val="63000"/>
                  <a:satMod val="120000"/>
                </a:schemeClr>
              </a:gs>
            </a:gsLst>
            <a:lin ang="5400000" scaled="0"/>
          </a:gra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b="1" dirty="0" smtClean="0">
                <a:solidFill>
                  <a:schemeClr val="bg1">
                    <a:lumMod val="25000"/>
                  </a:schemeClr>
                </a:solidFill>
              </a:rPr>
              <a:t>Bio Mérieux</a:t>
            </a:r>
            <a:endParaRPr lang="en-US" sz="1800" b="1" dirty="0">
              <a:solidFill>
                <a:schemeClr val="bg1">
                  <a:lumMod val="25000"/>
                </a:schemeClr>
              </a:solidFill>
            </a:endParaRPr>
          </a:p>
        </p:txBody>
      </p:sp>
      <p:sp>
        <p:nvSpPr>
          <p:cNvPr id="68" name="Oval 58"/>
          <p:cNvSpPr/>
          <p:nvPr/>
        </p:nvSpPr>
        <p:spPr>
          <a:xfrm>
            <a:off x="14936933" y="2754425"/>
            <a:ext cx="1660130" cy="1668243"/>
          </a:xfrm>
          <a:prstGeom prst="ellipse">
            <a:avLst/>
          </a:prstGeom>
          <a:gradFill>
            <a:gsLst>
              <a:gs pos="0">
                <a:schemeClr val="lt2">
                  <a:tint val="93000"/>
                  <a:satMod val="150000"/>
                  <a:shade val="98000"/>
                  <a:lumMod val="102000"/>
                </a:schemeClr>
              </a:gs>
              <a:gs pos="50000">
                <a:schemeClr val="lt2">
                  <a:tint val="98000"/>
                  <a:satMod val="130000"/>
                  <a:shade val="90000"/>
                  <a:lumMod val="103000"/>
                </a:schemeClr>
              </a:gs>
              <a:gs pos="100000">
                <a:schemeClr val="lt2">
                  <a:shade val="63000"/>
                  <a:satMod val="120000"/>
                </a:schemeClr>
              </a:gs>
            </a:gsLst>
            <a:lin ang="5400000" scaled="0"/>
          </a:gra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b="1" dirty="0" err="1" smtClean="0">
                <a:solidFill>
                  <a:schemeClr val="bg1">
                    <a:lumMod val="25000"/>
                  </a:schemeClr>
                </a:solidFill>
              </a:rPr>
              <a:t>Preci</a:t>
            </a:r>
            <a:r>
              <a:rPr lang="fr-FR" sz="1800" b="1" dirty="0" smtClean="0">
                <a:solidFill>
                  <a:schemeClr val="bg1">
                    <a:lumMod val="25000"/>
                  </a:schemeClr>
                </a:solidFill>
              </a:rPr>
              <a:t> </a:t>
            </a:r>
            <a:r>
              <a:rPr lang="fr-FR" sz="1800" b="1" dirty="0" err="1" smtClean="0">
                <a:solidFill>
                  <a:schemeClr val="bg1">
                    <a:lumMod val="25000"/>
                  </a:schemeClr>
                </a:solidFill>
              </a:rPr>
              <a:t>Dip</a:t>
            </a:r>
            <a:r>
              <a:rPr lang="fr-FR" sz="1800" b="1" dirty="0" smtClean="0">
                <a:solidFill>
                  <a:schemeClr val="bg1">
                    <a:lumMod val="25000"/>
                  </a:schemeClr>
                </a:solidFill>
              </a:rPr>
              <a:t> (CH)</a:t>
            </a:r>
            <a:endParaRPr lang="en-US" sz="1800" b="1" dirty="0">
              <a:solidFill>
                <a:schemeClr val="bg1">
                  <a:lumMod val="25000"/>
                </a:schemeClr>
              </a:solidFill>
            </a:endParaRPr>
          </a:p>
        </p:txBody>
      </p:sp>
      <p:sp>
        <p:nvSpPr>
          <p:cNvPr id="70" name="Oval 58"/>
          <p:cNvSpPr/>
          <p:nvPr/>
        </p:nvSpPr>
        <p:spPr>
          <a:xfrm>
            <a:off x="14936933" y="4754247"/>
            <a:ext cx="1660130" cy="1668243"/>
          </a:xfrm>
          <a:prstGeom prst="ellipse">
            <a:avLst/>
          </a:prstGeom>
          <a:gradFill>
            <a:gsLst>
              <a:gs pos="0">
                <a:schemeClr val="lt2">
                  <a:tint val="93000"/>
                  <a:satMod val="150000"/>
                  <a:shade val="98000"/>
                  <a:lumMod val="102000"/>
                </a:schemeClr>
              </a:gs>
              <a:gs pos="50000">
                <a:schemeClr val="lt2">
                  <a:tint val="98000"/>
                  <a:satMod val="130000"/>
                  <a:shade val="90000"/>
                  <a:lumMod val="103000"/>
                </a:schemeClr>
              </a:gs>
              <a:gs pos="100000">
                <a:schemeClr val="lt2">
                  <a:shade val="63000"/>
                  <a:satMod val="120000"/>
                </a:schemeClr>
              </a:gs>
            </a:gsLst>
            <a:lin ang="5400000" scaled="0"/>
          </a:gra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b="1" dirty="0" err="1" smtClean="0">
                <a:solidFill>
                  <a:schemeClr val="bg1">
                    <a:lumMod val="25000"/>
                  </a:schemeClr>
                </a:solidFill>
              </a:rPr>
              <a:t>Manutan</a:t>
            </a:r>
            <a:endParaRPr lang="en-US" sz="1800" b="1" dirty="0">
              <a:solidFill>
                <a:schemeClr val="bg1">
                  <a:lumMod val="25000"/>
                </a:schemeClr>
              </a:solidFill>
            </a:endParaRPr>
          </a:p>
        </p:txBody>
      </p:sp>
      <p:sp>
        <p:nvSpPr>
          <p:cNvPr id="71" name="Oval 58"/>
          <p:cNvSpPr/>
          <p:nvPr/>
        </p:nvSpPr>
        <p:spPr>
          <a:xfrm>
            <a:off x="13507968" y="6273594"/>
            <a:ext cx="2050414" cy="1764245"/>
          </a:xfrm>
          <a:prstGeom prst="ellipse">
            <a:avLst/>
          </a:prstGeom>
          <a:gradFill>
            <a:gsLst>
              <a:gs pos="0">
                <a:schemeClr val="lt2">
                  <a:tint val="93000"/>
                  <a:satMod val="150000"/>
                  <a:shade val="98000"/>
                  <a:lumMod val="102000"/>
                </a:schemeClr>
              </a:gs>
              <a:gs pos="50000">
                <a:schemeClr val="lt2">
                  <a:tint val="98000"/>
                  <a:satMod val="130000"/>
                  <a:shade val="90000"/>
                  <a:lumMod val="103000"/>
                </a:schemeClr>
              </a:gs>
              <a:gs pos="100000">
                <a:schemeClr val="lt2">
                  <a:shade val="63000"/>
                  <a:satMod val="120000"/>
                </a:schemeClr>
              </a:gs>
            </a:gsLst>
            <a:lin ang="5400000" scaled="0"/>
          </a:gra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b="1" dirty="0" smtClean="0">
                <a:solidFill>
                  <a:schemeClr val="bg1">
                    <a:lumMod val="25000"/>
                  </a:schemeClr>
                </a:solidFill>
              </a:rPr>
              <a:t>Mr Bricolage</a:t>
            </a:r>
            <a:endParaRPr lang="en-US" sz="1800" b="1" dirty="0">
              <a:solidFill>
                <a:schemeClr val="bg1">
                  <a:lumMod val="25000"/>
                </a:schemeClr>
              </a:solidFill>
            </a:endParaRPr>
          </a:p>
        </p:txBody>
      </p:sp>
      <p:sp>
        <p:nvSpPr>
          <p:cNvPr id="73" name="Oval 114"/>
          <p:cNvSpPr>
            <a:spLocks noChangeAspect="1"/>
          </p:cNvSpPr>
          <p:nvPr/>
        </p:nvSpPr>
        <p:spPr>
          <a:xfrm>
            <a:off x="18432290" y="8099156"/>
            <a:ext cx="1795889" cy="1780509"/>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fr-FR" sz="1800" b="1" dirty="0" smtClean="0">
                <a:solidFill>
                  <a:schemeClr val="bg1"/>
                </a:solidFill>
              </a:rPr>
              <a:t>SODIAAL</a:t>
            </a:r>
            <a:endParaRPr lang="en-US" sz="1800" b="1" dirty="0">
              <a:solidFill>
                <a:schemeClr val="bg1"/>
              </a:solidFill>
            </a:endParaRPr>
          </a:p>
        </p:txBody>
      </p:sp>
      <p:sp>
        <p:nvSpPr>
          <p:cNvPr id="43" name="Oval 132"/>
          <p:cNvSpPr>
            <a:spLocks noChangeAspect="1"/>
          </p:cNvSpPr>
          <p:nvPr/>
        </p:nvSpPr>
        <p:spPr>
          <a:xfrm>
            <a:off x="10224616" y="7351279"/>
            <a:ext cx="1575102" cy="1410253"/>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r>
              <a:rPr lang="fr-FR" sz="2000" b="1" dirty="0">
                <a:solidFill>
                  <a:srgbClr val="FFFFFF"/>
                </a:solidFill>
              </a:rPr>
              <a:t>Lotus </a:t>
            </a:r>
            <a:r>
              <a:rPr lang="fr-FR" sz="1800" b="1" dirty="0" err="1">
                <a:solidFill>
                  <a:srgbClr val="FFFFFF"/>
                </a:solidFill>
              </a:rPr>
              <a:t>bakeries</a:t>
            </a:r>
            <a:endParaRPr lang="en-US" sz="2000" b="1" dirty="0">
              <a:solidFill>
                <a:srgbClr val="FFFFFF"/>
              </a:solidFill>
            </a:endParaRPr>
          </a:p>
        </p:txBody>
      </p:sp>
      <p:sp>
        <p:nvSpPr>
          <p:cNvPr id="74" name="Title 1"/>
          <p:cNvSpPr txBox="1">
            <a:spLocks/>
          </p:cNvSpPr>
          <p:nvPr/>
        </p:nvSpPr>
        <p:spPr>
          <a:xfrm>
            <a:off x="566048" y="9206376"/>
            <a:ext cx="4250837" cy="754053"/>
          </a:xfrm>
          <a:prstGeom prst="rect">
            <a:avLst/>
          </a:prstGeom>
        </p:spPr>
        <p:txBody>
          <a:bodyPr/>
          <a:lstStyle>
            <a:lvl1pPr algn="l" defTabSz="457200" rtl="0" eaLnBrk="1" fontAlgn="base" hangingPunct="1">
              <a:spcBef>
                <a:spcPct val="0"/>
              </a:spcBef>
              <a:spcAft>
                <a:spcPct val="0"/>
              </a:spcAft>
              <a:defRPr sz="9200" b="1" kern="1200">
                <a:solidFill>
                  <a:srgbClr val="4D4D4D"/>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r>
              <a:rPr lang="en-US" sz="3600" b="0" u="sng"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Aleo Regular" charset="0"/>
              </a:rPr>
              <a:t>Customers</a:t>
            </a:r>
            <a:r>
              <a:rPr lang="en-US" sz="3600" b="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Aleo Regular" charset="0"/>
              </a:rPr>
              <a:t> </a:t>
            </a:r>
            <a:r>
              <a:rPr lang="en-US" sz="3600" b="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Aleo Regular" charset="0"/>
              </a:rPr>
              <a:t>:</a:t>
            </a:r>
            <a:endParaRPr lang="en-US" sz="3600" b="0" dirty="0">
              <a:solidFill>
                <a:schemeClr val="tx1"/>
              </a:solidFill>
              <a:latin typeface="Lato Light" panose="020F0302020204030203" pitchFamily="34" charset="0"/>
              <a:ea typeface="Lato Light" panose="020F0302020204030203" pitchFamily="34" charset="0"/>
              <a:cs typeface="Lato Light" panose="020F0302020204030203" pitchFamily="34" charset="0"/>
            </a:endParaRPr>
          </a:p>
        </p:txBody>
      </p:sp>
      <p:sp>
        <p:nvSpPr>
          <p:cNvPr id="75" name="Title 1"/>
          <p:cNvSpPr txBox="1">
            <a:spLocks/>
          </p:cNvSpPr>
          <p:nvPr/>
        </p:nvSpPr>
        <p:spPr>
          <a:xfrm>
            <a:off x="116785" y="12336391"/>
            <a:ext cx="8081951" cy="754053"/>
          </a:xfrm>
          <a:prstGeom prst="rect">
            <a:avLst/>
          </a:prstGeom>
        </p:spPr>
        <p:txBody>
          <a:bodyPr/>
          <a:lstStyle>
            <a:lvl1pPr algn="l" defTabSz="457200" rtl="0" eaLnBrk="1" fontAlgn="base" hangingPunct="1">
              <a:spcBef>
                <a:spcPct val="0"/>
              </a:spcBef>
              <a:spcAft>
                <a:spcPct val="0"/>
              </a:spcAft>
              <a:defRPr sz="9200" b="1" kern="1200">
                <a:solidFill>
                  <a:srgbClr val="4D4D4D"/>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r>
              <a:rPr lang="en-US" sz="3600" b="0" u="sng"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Aleo Regular" charset="0"/>
              </a:rPr>
              <a:t>Partnerships for next modules</a:t>
            </a:r>
            <a:r>
              <a:rPr lang="en-US" sz="3600" b="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Aleo Regular" charset="0"/>
              </a:rPr>
              <a:t>:</a:t>
            </a:r>
            <a:endParaRPr lang="en-US" sz="3600" b="0" u="sng"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Gill Sans" charset="0"/>
            </a:endParaRPr>
          </a:p>
        </p:txBody>
      </p:sp>
      <p:sp>
        <p:nvSpPr>
          <p:cNvPr id="69" name="Oval 58"/>
          <p:cNvSpPr/>
          <p:nvPr/>
        </p:nvSpPr>
        <p:spPr>
          <a:xfrm>
            <a:off x="13714107" y="5230377"/>
            <a:ext cx="1660130" cy="1668243"/>
          </a:xfrm>
          <a:prstGeom prst="ellipse">
            <a:avLst/>
          </a:prstGeom>
          <a:gradFill>
            <a:gsLst>
              <a:gs pos="0">
                <a:schemeClr val="lt2">
                  <a:tint val="93000"/>
                  <a:satMod val="150000"/>
                  <a:shade val="98000"/>
                  <a:lumMod val="102000"/>
                </a:schemeClr>
              </a:gs>
              <a:gs pos="50000">
                <a:schemeClr val="lt2">
                  <a:tint val="98000"/>
                  <a:satMod val="130000"/>
                  <a:shade val="90000"/>
                  <a:lumMod val="103000"/>
                </a:schemeClr>
              </a:gs>
              <a:gs pos="100000">
                <a:schemeClr val="lt2">
                  <a:shade val="63000"/>
                  <a:satMod val="120000"/>
                </a:schemeClr>
              </a:gs>
            </a:gsLst>
            <a:lin ang="5400000" scaled="0"/>
          </a:gra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b="1" dirty="0" smtClean="0">
                <a:solidFill>
                  <a:schemeClr val="bg1">
                    <a:lumMod val="25000"/>
                  </a:schemeClr>
                </a:solidFill>
              </a:rPr>
              <a:t>Valeo</a:t>
            </a:r>
            <a:endParaRPr lang="en-US" sz="1800" b="1" dirty="0">
              <a:solidFill>
                <a:schemeClr val="bg1">
                  <a:lumMod val="25000"/>
                </a:schemeClr>
              </a:solidFill>
            </a:endParaRPr>
          </a:p>
        </p:txBody>
      </p:sp>
      <p:sp>
        <p:nvSpPr>
          <p:cNvPr id="98" name="Oval 50"/>
          <p:cNvSpPr/>
          <p:nvPr/>
        </p:nvSpPr>
        <p:spPr>
          <a:xfrm>
            <a:off x="14576717" y="8783081"/>
            <a:ext cx="1402700" cy="1388452"/>
          </a:xfrm>
          <a:prstGeom prst="ellipse">
            <a:avLst/>
          </a:prstGeom>
          <a:gradFill>
            <a:gsLst>
              <a:gs pos="0">
                <a:schemeClr val="lt2">
                  <a:tint val="93000"/>
                  <a:satMod val="150000"/>
                  <a:shade val="98000"/>
                  <a:lumMod val="102000"/>
                </a:schemeClr>
              </a:gs>
              <a:gs pos="50000">
                <a:schemeClr val="lt2">
                  <a:tint val="98000"/>
                  <a:satMod val="130000"/>
                  <a:shade val="90000"/>
                  <a:lumMod val="103000"/>
                </a:schemeClr>
              </a:gs>
              <a:gs pos="100000">
                <a:schemeClr val="lt2">
                  <a:shade val="63000"/>
                  <a:satMod val="120000"/>
                </a:schemeClr>
              </a:gs>
            </a:gsLst>
            <a:lin ang="5400000" scaled="0"/>
          </a:gradFill>
          <a:ln w="12700">
            <a:no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smtClean="0">
                <a:solidFill>
                  <a:schemeClr val="bg1">
                    <a:lumMod val="25000"/>
                  </a:schemeClr>
                </a:solidFill>
              </a:rPr>
              <a:t>Etam </a:t>
            </a:r>
            <a:endParaRPr lang="en-US" sz="2000" b="1" dirty="0">
              <a:solidFill>
                <a:schemeClr val="bg1">
                  <a:lumMod val="25000"/>
                </a:schemeClr>
              </a:solidFill>
            </a:endParaRPr>
          </a:p>
        </p:txBody>
      </p:sp>
      <p:sp>
        <p:nvSpPr>
          <p:cNvPr id="77" name="Title 1"/>
          <p:cNvSpPr txBox="1">
            <a:spLocks/>
          </p:cNvSpPr>
          <p:nvPr/>
        </p:nvSpPr>
        <p:spPr>
          <a:xfrm>
            <a:off x="17408937" y="11648815"/>
            <a:ext cx="5103172" cy="754053"/>
          </a:xfrm>
          <a:prstGeom prst="rect">
            <a:avLst/>
          </a:prstGeom>
        </p:spPr>
        <p:txBody>
          <a:bodyPr/>
          <a:lstStyle>
            <a:lvl1pPr algn="l" defTabSz="457200" rtl="0" eaLnBrk="1" fontAlgn="base" hangingPunct="1">
              <a:spcBef>
                <a:spcPct val="0"/>
              </a:spcBef>
              <a:spcAft>
                <a:spcPct val="0"/>
              </a:spcAft>
              <a:defRPr sz="9200" b="1" kern="1200">
                <a:solidFill>
                  <a:srgbClr val="4D4D4D"/>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pPr algn="ctr"/>
            <a:r>
              <a:rPr lang="en-US" sz="3600" b="0" dirty="0" err="1" smtClean="0">
                <a:ea typeface="Aleo Regular" charset="0"/>
                <a:cs typeface="Aleo Regular" charset="0"/>
                <a:sym typeface="Aleo Regular" charset="0"/>
              </a:rPr>
              <a:t>Qualifed</a:t>
            </a:r>
            <a:r>
              <a:rPr lang="en-US" sz="3600" b="0" dirty="0" smtClean="0">
                <a:ea typeface="Aleo Regular" charset="0"/>
                <a:cs typeface="Aleo Regular" charset="0"/>
                <a:sym typeface="Aleo Regular" charset="0"/>
              </a:rPr>
              <a:t> SAP accounts</a:t>
            </a:r>
          </a:p>
          <a:p>
            <a:pPr algn="ctr"/>
            <a:r>
              <a:rPr lang="en-US" sz="3600" b="0" dirty="0" smtClean="0">
                <a:ea typeface="Aleo Regular" charset="0"/>
                <a:cs typeface="Aleo Regular" charset="0"/>
                <a:sym typeface="Aleo Regular" charset="0"/>
              </a:rPr>
              <a:t>reached (ongoing)</a:t>
            </a:r>
            <a:endParaRPr lang="en-US" sz="3600" b="0" dirty="0"/>
          </a:p>
        </p:txBody>
      </p:sp>
      <p:sp>
        <p:nvSpPr>
          <p:cNvPr id="78" name="Title 1"/>
          <p:cNvSpPr txBox="1">
            <a:spLocks/>
          </p:cNvSpPr>
          <p:nvPr/>
        </p:nvSpPr>
        <p:spPr>
          <a:xfrm>
            <a:off x="13574315" y="11671680"/>
            <a:ext cx="3652731" cy="1064603"/>
          </a:xfrm>
          <a:prstGeom prst="rect">
            <a:avLst/>
          </a:prstGeom>
        </p:spPr>
        <p:txBody>
          <a:bodyPr/>
          <a:lstStyle>
            <a:lvl1pPr algn="l" defTabSz="457200" rtl="0" eaLnBrk="1" fontAlgn="base" hangingPunct="1">
              <a:spcBef>
                <a:spcPct val="0"/>
              </a:spcBef>
              <a:spcAft>
                <a:spcPct val="0"/>
              </a:spcAft>
              <a:defRPr sz="9200" b="1" kern="1200">
                <a:solidFill>
                  <a:srgbClr val="4D4D4D"/>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pPr algn="ctr"/>
            <a:r>
              <a:rPr lang="en-US" sz="3600" b="0" dirty="0" smtClean="0">
                <a:sym typeface="Aleo Regular" charset="0"/>
              </a:rPr>
              <a:t>Sales Leads </a:t>
            </a:r>
            <a:endParaRPr lang="en-US" sz="3600" b="0" dirty="0"/>
          </a:p>
        </p:txBody>
      </p:sp>
      <p:sp>
        <p:nvSpPr>
          <p:cNvPr id="79" name="Title 1"/>
          <p:cNvSpPr txBox="1">
            <a:spLocks/>
          </p:cNvSpPr>
          <p:nvPr/>
        </p:nvSpPr>
        <p:spPr>
          <a:xfrm>
            <a:off x="9426448" y="11648815"/>
            <a:ext cx="4125312" cy="1064603"/>
          </a:xfrm>
          <a:prstGeom prst="rect">
            <a:avLst/>
          </a:prstGeom>
        </p:spPr>
        <p:txBody>
          <a:bodyPr/>
          <a:lstStyle>
            <a:lvl1pPr algn="l" defTabSz="457200" rtl="0" eaLnBrk="1" fontAlgn="base" hangingPunct="1">
              <a:spcBef>
                <a:spcPct val="0"/>
              </a:spcBef>
              <a:spcAft>
                <a:spcPct val="0"/>
              </a:spcAft>
              <a:defRPr sz="9200" b="1" kern="1200">
                <a:solidFill>
                  <a:srgbClr val="4D4D4D"/>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pPr algn="ctr"/>
            <a:r>
              <a:rPr lang="en-US" sz="3600" b="0" dirty="0" smtClean="0">
                <a:ea typeface="Aleo Regular" charset="0"/>
                <a:cs typeface="Aleo Regular" charset="0"/>
                <a:sym typeface="Aleo Regular" charset="0"/>
              </a:rPr>
              <a:t>Proposals</a:t>
            </a:r>
            <a:endParaRPr lang="en-US" sz="3600" b="0" dirty="0"/>
          </a:p>
        </p:txBody>
      </p:sp>
      <p:sp>
        <p:nvSpPr>
          <p:cNvPr id="76" name="Title 1"/>
          <p:cNvSpPr txBox="1">
            <a:spLocks/>
          </p:cNvSpPr>
          <p:nvPr/>
        </p:nvSpPr>
        <p:spPr>
          <a:xfrm>
            <a:off x="2043045" y="4989993"/>
            <a:ext cx="8812470" cy="1064603"/>
          </a:xfrm>
          <a:prstGeom prst="rect">
            <a:avLst/>
          </a:prstGeom>
        </p:spPr>
        <p:txBody>
          <a:bodyPr/>
          <a:lstStyle>
            <a:lvl1pPr algn="l" defTabSz="457200" rtl="0" eaLnBrk="1" fontAlgn="base" hangingPunct="1">
              <a:spcBef>
                <a:spcPct val="0"/>
              </a:spcBef>
              <a:spcAft>
                <a:spcPct val="0"/>
              </a:spcAft>
              <a:defRPr sz="9200" b="1" kern="1200">
                <a:solidFill>
                  <a:srgbClr val="4D4D4D"/>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endParaRPr lang="en-US" sz="3200" b="0" dirty="0"/>
          </a:p>
        </p:txBody>
      </p:sp>
      <p:sp>
        <p:nvSpPr>
          <p:cNvPr id="80" name="Title 1"/>
          <p:cNvSpPr txBox="1">
            <a:spLocks/>
          </p:cNvSpPr>
          <p:nvPr/>
        </p:nvSpPr>
        <p:spPr>
          <a:xfrm>
            <a:off x="2043045" y="5086643"/>
            <a:ext cx="8812470" cy="1064603"/>
          </a:xfrm>
          <a:prstGeom prst="rect">
            <a:avLst/>
          </a:prstGeom>
        </p:spPr>
        <p:txBody>
          <a:bodyPr/>
          <a:lstStyle>
            <a:lvl1pPr algn="l" defTabSz="457200" rtl="0" eaLnBrk="1" fontAlgn="base" hangingPunct="1">
              <a:spcBef>
                <a:spcPct val="0"/>
              </a:spcBef>
              <a:spcAft>
                <a:spcPct val="0"/>
              </a:spcAft>
              <a:defRPr sz="9200" b="1" kern="1200">
                <a:solidFill>
                  <a:srgbClr val="4D4D4D"/>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endParaRPr lang="en-US" sz="3200" b="0" dirty="0">
              <a:ea typeface="Aleo Regular" charset="0"/>
              <a:cs typeface="Aleo Regular" charset="0"/>
              <a:sym typeface="Aleo Regular" charset="0"/>
            </a:endParaRPr>
          </a:p>
          <a:p>
            <a:endParaRPr lang="en-US" sz="3200" b="0" dirty="0"/>
          </a:p>
        </p:txBody>
      </p:sp>
      <p:sp>
        <p:nvSpPr>
          <p:cNvPr id="81" name="Oval 114"/>
          <p:cNvSpPr>
            <a:spLocks noChangeAspect="1"/>
          </p:cNvSpPr>
          <p:nvPr/>
        </p:nvSpPr>
        <p:spPr>
          <a:xfrm>
            <a:off x="18833927" y="5076217"/>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800" b="1" dirty="0" smtClean="0">
                <a:solidFill>
                  <a:schemeClr val="bg1"/>
                </a:solidFill>
              </a:rPr>
              <a:t>MGI </a:t>
            </a:r>
            <a:r>
              <a:rPr lang="en-US" sz="1800" b="1" dirty="0" err="1" smtClean="0">
                <a:solidFill>
                  <a:schemeClr val="bg1"/>
                </a:solidFill>
              </a:rPr>
              <a:t>Coutier</a:t>
            </a:r>
            <a:endParaRPr lang="en-US" sz="1800" b="1" dirty="0">
              <a:solidFill>
                <a:schemeClr val="bg1"/>
              </a:solidFill>
            </a:endParaRPr>
          </a:p>
        </p:txBody>
      </p:sp>
      <p:sp>
        <p:nvSpPr>
          <p:cNvPr id="82" name="Oval 114"/>
          <p:cNvSpPr>
            <a:spLocks noChangeAspect="1"/>
          </p:cNvSpPr>
          <p:nvPr/>
        </p:nvSpPr>
        <p:spPr>
          <a:xfrm>
            <a:off x="17688216" y="3372647"/>
            <a:ext cx="2009301" cy="1992093"/>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800" b="1" dirty="0" err="1" smtClean="0">
                <a:solidFill>
                  <a:schemeClr val="bg1"/>
                </a:solidFill>
              </a:rPr>
              <a:t>Richemont</a:t>
            </a:r>
            <a:endParaRPr lang="en-US" sz="1800" b="1" dirty="0">
              <a:solidFill>
                <a:schemeClr val="bg1"/>
              </a:solidFill>
            </a:endParaRPr>
          </a:p>
        </p:txBody>
      </p:sp>
      <p:sp>
        <p:nvSpPr>
          <p:cNvPr id="88" name="Oval 114"/>
          <p:cNvSpPr>
            <a:spLocks noChangeAspect="1"/>
          </p:cNvSpPr>
          <p:nvPr/>
        </p:nvSpPr>
        <p:spPr>
          <a:xfrm>
            <a:off x="20226390" y="6989584"/>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89" name="Oval 114"/>
          <p:cNvSpPr>
            <a:spLocks noChangeAspect="1"/>
          </p:cNvSpPr>
          <p:nvPr/>
        </p:nvSpPr>
        <p:spPr>
          <a:xfrm>
            <a:off x="19086598" y="6424197"/>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800" b="1" dirty="0" smtClean="0">
                <a:solidFill>
                  <a:schemeClr val="bg1"/>
                </a:solidFill>
              </a:rPr>
              <a:t>Arc International</a:t>
            </a:r>
            <a:endParaRPr lang="en-US" sz="1800" b="1" dirty="0">
              <a:solidFill>
                <a:schemeClr val="bg1"/>
              </a:solidFill>
            </a:endParaRPr>
          </a:p>
        </p:txBody>
      </p:sp>
      <p:sp>
        <p:nvSpPr>
          <p:cNvPr id="93" name="Oval 114"/>
          <p:cNvSpPr>
            <a:spLocks noChangeAspect="1"/>
          </p:cNvSpPr>
          <p:nvPr/>
        </p:nvSpPr>
        <p:spPr>
          <a:xfrm>
            <a:off x="21354939" y="8426808"/>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94" name="Oval 114"/>
          <p:cNvSpPr>
            <a:spLocks noChangeAspect="1"/>
          </p:cNvSpPr>
          <p:nvPr/>
        </p:nvSpPr>
        <p:spPr>
          <a:xfrm>
            <a:off x="21064516" y="6531353"/>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95" name="Oval 114"/>
          <p:cNvSpPr>
            <a:spLocks noChangeAspect="1"/>
          </p:cNvSpPr>
          <p:nvPr/>
        </p:nvSpPr>
        <p:spPr>
          <a:xfrm>
            <a:off x="20477760" y="5547888"/>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97" name="Oval 114"/>
          <p:cNvSpPr>
            <a:spLocks noChangeAspect="1"/>
          </p:cNvSpPr>
          <p:nvPr/>
        </p:nvSpPr>
        <p:spPr>
          <a:xfrm>
            <a:off x="20630160" y="3225710"/>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99" name="Oval 114"/>
          <p:cNvSpPr>
            <a:spLocks noChangeAspect="1"/>
          </p:cNvSpPr>
          <p:nvPr/>
        </p:nvSpPr>
        <p:spPr>
          <a:xfrm>
            <a:off x="18372656" y="2336183"/>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100" name="Oval 114"/>
          <p:cNvSpPr>
            <a:spLocks noChangeAspect="1"/>
          </p:cNvSpPr>
          <p:nvPr/>
        </p:nvSpPr>
        <p:spPr>
          <a:xfrm>
            <a:off x="20136336" y="4369479"/>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101" name="Oval 114"/>
          <p:cNvSpPr>
            <a:spLocks noChangeAspect="1"/>
          </p:cNvSpPr>
          <p:nvPr/>
        </p:nvSpPr>
        <p:spPr>
          <a:xfrm>
            <a:off x="21575854" y="4594597"/>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103" name="Oval 114"/>
          <p:cNvSpPr>
            <a:spLocks noChangeAspect="1"/>
          </p:cNvSpPr>
          <p:nvPr/>
        </p:nvSpPr>
        <p:spPr>
          <a:xfrm>
            <a:off x="18833927" y="2641127"/>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800" b="1" dirty="0" smtClean="0">
                <a:solidFill>
                  <a:schemeClr val="bg1"/>
                </a:solidFill>
              </a:rPr>
              <a:t>Omega</a:t>
            </a:r>
            <a:endParaRPr lang="en-US" sz="1800" b="1" dirty="0">
              <a:solidFill>
                <a:schemeClr val="bg1"/>
              </a:solidFill>
            </a:endParaRPr>
          </a:p>
        </p:txBody>
      </p:sp>
      <p:sp>
        <p:nvSpPr>
          <p:cNvPr id="105" name="Oval 114"/>
          <p:cNvSpPr>
            <a:spLocks noChangeAspect="1"/>
          </p:cNvSpPr>
          <p:nvPr/>
        </p:nvSpPr>
        <p:spPr>
          <a:xfrm>
            <a:off x="21699653" y="5690970"/>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106" name="Oval 114"/>
          <p:cNvSpPr>
            <a:spLocks noChangeAspect="1"/>
          </p:cNvSpPr>
          <p:nvPr/>
        </p:nvSpPr>
        <p:spPr>
          <a:xfrm>
            <a:off x="21739959" y="7233333"/>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107" name="Oval 114"/>
          <p:cNvSpPr>
            <a:spLocks noChangeAspect="1"/>
          </p:cNvSpPr>
          <p:nvPr/>
        </p:nvSpPr>
        <p:spPr>
          <a:xfrm>
            <a:off x="19654365" y="3558745"/>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108" name="Oval 114"/>
          <p:cNvSpPr>
            <a:spLocks noChangeAspect="1"/>
          </p:cNvSpPr>
          <p:nvPr/>
        </p:nvSpPr>
        <p:spPr>
          <a:xfrm>
            <a:off x="19537155" y="1807531"/>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109" name="Oval 114"/>
          <p:cNvSpPr>
            <a:spLocks noChangeAspect="1"/>
          </p:cNvSpPr>
          <p:nvPr/>
        </p:nvSpPr>
        <p:spPr>
          <a:xfrm>
            <a:off x="10884261" y="6539256"/>
            <a:ext cx="1187221" cy="1177053"/>
          </a:xfrm>
          <a:prstGeom prst="ellipse">
            <a:avLst/>
          </a:prstGeom>
          <a:solidFill>
            <a:schemeClr val="accent6"/>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800" b="1" dirty="0" err="1" smtClean="0">
                <a:solidFill>
                  <a:schemeClr val="bg1"/>
                </a:solidFill>
              </a:rPr>
              <a:t>Tigf</a:t>
            </a:r>
            <a:endParaRPr lang="en-US" sz="1800" b="1" dirty="0">
              <a:solidFill>
                <a:schemeClr val="bg1"/>
              </a:solidFill>
            </a:endParaRPr>
          </a:p>
        </p:txBody>
      </p:sp>
      <p:sp>
        <p:nvSpPr>
          <p:cNvPr id="113" name="Oval 114"/>
          <p:cNvSpPr>
            <a:spLocks noChangeAspect="1"/>
          </p:cNvSpPr>
          <p:nvPr/>
        </p:nvSpPr>
        <p:spPr>
          <a:xfrm>
            <a:off x="18916526" y="971776"/>
            <a:ext cx="1475678" cy="146304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800" b="1" dirty="0">
              <a:solidFill>
                <a:schemeClr val="bg1"/>
              </a:solidFill>
            </a:endParaRPr>
          </a:p>
        </p:txBody>
      </p:sp>
      <p:sp>
        <p:nvSpPr>
          <p:cNvPr id="114" name="Oval 114"/>
          <p:cNvSpPr>
            <a:spLocks noChangeAspect="1"/>
          </p:cNvSpPr>
          <p:nvPr/>
        </p:nvSpPr>
        <p:spPr>
          <a:xfrm>
            <a:off x="12423030" y="8218425"/>
            <a:ext cx="1475678" cy="1463040"/>
          </a:xfrm>
          <a:prstGeom prst="ellipse">
            <a:avLst/>
          </a:prstGeom>
          <a:solidFill>
            <a:schemeClr val="accent6"/>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800" b="1" dirty="0" smtClean="0">
                <a:solidFill>
                  <a:schemeClr val="bg1"/>
                </a:solidFill>
              </a:rPr>
              <a:t>Tag </a:t>
            </a:r>
            <a:r>
              <a:rPr lang="en-US" sz="1800" b="1" dirty="0" err="1" smtClean="0">
                <a:solidFill>
                  <a:schemeClr val="bg1"/>
                </a:solidFill>
              </a:rPr>
              <a:t>Heuer</a:t>
            </a:r>
            <a:endParaRPr lang="en-US" sz="1800" b="1" dirty="0">
              <a:solidFill>
                <a:schemeClr val="bg1"/>
              </a:solidFill>
            </a:endParaRPr>
          </a:p>
        </p:txBody>
      </p:sp>
      <p:sp>
        <p:nvSpPr>
          <p:cNvPr id="84" name="AutoShape 9"/>
          <p:cNvSpPr>
            <a:spLocks/>
          </p:cNvSpPr>
          <p:nvPr/>
        </p:nvSpPr>
        <p:spPr bwMode="auto">
          <a:xfrm>
            <a:off x="566048" y="3625076"/>
            <a:ext cx="16374707" cy="103909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l"/>
            <a:r>
              <a:rPr lang="en-US" sz="44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Sales leads meetings hold (16) </a:t>
            </a:r>
            <a:r>
              <a:rPr lang="en-US" sz="44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resulted </a:t>
            </a:r>
            <a:r>
              <a:rPr lang="en-US" sz="44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in </a:t>
            </a:r>
            <a:r>
              <a:rPr lang="en-US" sz="4400" b="1" dirty="0" smtClean="0">
                <a:solidFill>
                  <a:srgbClr val="E8A556"/>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75%</a:t>
            </a:r>
            <a:r>
              <a:rPr lang="en-US" sz="44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 </a:t>
            </a:r>
          </a:p>
          <a:p>
            <a:pPr algn="l"/>
            <a:r>
              <a:rPr lang="en-US" sz="44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proposals</a:t>
            </a:r>
            <a:endParaRPr lang="en-US" sz="4400" dirty="0">
              <a:solidFill>
                <a:schemeClr val="tx1"/>
              </a:solidFill>
              <a:latin typeface="Lato" panose="020F0502020204030203" pitchFamily="34" charset="0"/>
            </a:endParaRPr>
          </a:p>
        </p:txBody>
      </p:sp>
      <p:sp>
        <p:nvSpPr>
          <p:cNvPr id="85" name="Oval 59"/>
          <p:cNvSpPr>
            <a:spLocks noChangeAspect="1"/>
          </p:cNvSpPr>
          <p:nvPr/>
        </p:nvSpPr>
        <p:spPr>
          <a:xfrm>
            <a:off x="11874853" y="9292001"/>
            <a:ext cx="1630828" cy="1497389"/>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r>
              <a:rPr lang="fr-FR" sz="1600" b="1" dirty="0" smtClean="0">
                <a:solidFill>
                  <a:srgbClr val="FFFFFF"/>
                </a:solidFill>
              </a:rPr>
              <a:t>Roquette</a:t>
            </a:r>
            <a:endParaRPr lang="fr-FR" sz="1800" b="1" dirty="0" smtClean="0">
              <a:solidFill>
                <a:srgbClr val="FFFFFF"/>
              </a:solidFill>
            </a:endParaRPr>
          </a:p>
          <a:p>
            <a:endParaRPr lang="en-US" sz="1800" b="1" dirty="0">
              <a:solidFill>
                <a:srgbClr val="FFFFFF"/>
              </a:solidFill>
            </a:endParaRPr>
          </a:p>
        </p:txBody>
      </p:sp>
      <p:sp>
        <p:nvSpPr>
          <p:cNvPr id="86" name="AutoShape 9"/>
          <p:cNvSpPr>
            <a:spLocks/>
          </p:cNvSpPr>
          <p:nvPr/>
        </p:nvSpPr>
        <p:spPr bwMode="auto">
          <a:xfrm>
            <a:off x="566048" y="5562009"/>
            <a:ext cx="16374707" cy="178927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l"/>
            <a:r>
              <a:rPr lang="en-US" sz="44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So far, 12 proposals resulted in</a:t>
            </a:r>
          </a:p>
          <a:p>
            <a:pPr marL="571500" indent="-571500" algn="l">
              <a:buFontTx/>
              <a:buChar char="-"/>
            </a:pPr>
            <a:r>
              <a:rPr lang="en-US" sz="3600" b="1" dirty="0" smtClean="0">
                <a:solidFill>
                  <a:srgbClr val="E8A556"/>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2 Go</a:t>
            </a:r>
          </a:p>
          <a:p>
            <a:pPr marL="571500" indent="-571500" algn="l">
              <a:buFontTx/>
              <a:buChar char="-"/>
            </a:pPr>
            <a:r>
              <a:rPr lang="en-US" sz="3600" b="1" dirty="0" smtClean="0">
                <a:solidFill>
                  <a:srgbClr val="E8A556"/>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3 No Go</a:t>
            </a:r>
          </a:p>
          <a:p>
            <a:pPr marL="571500" indent="-571500" algn="l">
              <a:buFontTx/>
              <a:buChar char="-"/>
            </a:pPr>
            <a:r>
              <a:rPr lang="en-US" sz="3600" b="1" dirty="0" smtClean="0">
                <a:solidFill>
                  <a:srgbClr val="E8A556"/>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7 Open  </a:t>
            </a:r>
          </a:p>
        </p:txBody>
      </p:sp>
    </p:spTree>
    <p:extLst>
      <p:ext uri="{BB962C8B-B14F-4D97-AF65-F5344CB8AC3E}">
        <p14:creationId xmlns:p14="http://schemas.microsoft.com/office/powerpoint/2010/main" xmlns="" val="28902533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17" name="AutoShape 21"/>
          <p:cNvSpPr>
            <a:spLocks/>
          </p:cNvSpPr>
          <p:nvPr/>
        </p:nvSpPr>
        <p:spPr bwMode="auto">
          <a:xfrm>
            <a:off x="18488025" y="8712200"/>
            <a:ext cx="5308600" cy="4089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l">
              <a:spcBef>
                <a:spcPts val="600"/>
              </a:spcBef>
              <a:spcAft>
                <a:spcPts val="1800"/>
              </a:spcAft>
              <a:buFont typeface="Arial" pitchFamily="34" charset="0"/>
              <a:buChar char="•"/>
            </a:pPr>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200 audit tests database</a:t>
            </a:r>
          </a:p>
          <a:p>
            <a:pPr algn="l">
              <a:spcBef>
                <a:spcPts val="600"/>
              </a:spcBef>
              <a:spcAft>
                <a:spcPts val="1800"/>
              </a:spcAft>
              <a:buFont typeface="Arial" pitchFamily="34" charset="0"/>
              <a:buChar char="•"/>
            </a:pPr>
            <a:r>
              <a:rPr lang="en-US" sz="3600" dirty="0">
                <a:solidFill>
                  <a:schemeClr val="tx1"/>
                </a:solidFill>
                <a:latin typeface="Lato Light" panose="020F0302020204030203" pitchFamily="34" charset="0"/>
                <a:sym typeface="Lato Light" panose="020F0302020204030203" pitchFamily="34" charset="0"/>
              </a:rPr>
              <a:t>SAP partner</a:t>
            </a:r>
          </a:p>
          <a:p>
            <a:pPr algn="l">
              <a:spcBef>
                <a:spcPts val="600"/>
              </a:spcBef>
              <a:spcAft>
                <a:spcPts val="1800"/>
              </a:spcAft>
              <a:buFont typeface="Arial" pitchFamily="34" charset="0"/>
              <a:buChar char="•"/>
            </a:pPr>
            <a:r>
              <a:rPr lang="en-US" sz="3600" dirty="0">
                <a:solidFill>
                  <a:schemeClr val="tx1"/>
                </a:solidFill>
                <a:latin typeface="Lato Light" panose="020F0302020204030203" pitchFamily="34" charset="0"/>
                <a:sym typeface="Lato Light" panose="020F0302020204030203" pitchFamily="34" charset="0"/>
              </a:rPr>
              <a:t>Enhancing product architecture</a:t>
            </a:r>
          </a:p>
          <a:p>
            <a:pPr algn="l">
              <a:spcBef>
                <a:spcPts val="600"/>
              </a:spcBef>
              <a:buFont typeface="Arial" pitchFamily="34" charset="0"/>
              <a:buChar char="•"/>
            </a:pPr>
            <a:r>
              <a:rPr lang="en-US" sz="3600" dirty="0">
                <a:solidFill>
                  <a:schemeClr val="tx1"/>
                </a:solidFill>
                <a:latin typeface="Lato Light" panose="020F0302020204030203" pitchFamily="34" charset="0"/>
                <a:sym typeface="Lato Light" panose="020F0302020204030203" pitchFamily="34" charset="0"/>
              </a:rPr>
              <a:t>Co-development with major ERPs</a:t>
            </a:r>
            <a:endParaRPr lang="en-US" dirty="0">
              <a:solidFill>
                <a:schemeClr val="tx1"/>
              </a:solidFill>
              <a:latin typeface="Lato" panose="020F0502020204030203" pitchFamily="34" charset="0"/>
            </a:endParaRPr>
          </a:p>
        </p:txBody>
      </p:sp>
      <p:sp>
        <p:nvSpPr>
          <p:cNvPr id="80918" name="AutoShape 22"/>
          <p:cNvSpPr>
            <a:spLocks/>
          </p:cNvSpPr>
          <p:nvPr/>
        </p:nvSpPr>
        <p:spPr bwMode="auto">
          <a:xfrm>
            <a:off x="6550025" y="8712200"/>
            <a:ext cx="5308600" cy="4089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marL="171450" indent="-171450" algn="l">
              <a:spcBef>
                <a:spcPts val="600"/>
              </a:spcBef>
              <a:spcAft>
                <a:spcPts val="1800"/>
              </a:spcAft>
              <a:buFont typeface="Arial" pitchFamily="34" charset="0"/>
              <a:buChar char="•"/>
            </a:pPr>
            <a:r>
              <a:rPr lang="en-US" sz="3600" dirty="0">
                <a:solidFill>
                  <a:schemeClr val="tx1"/>
                </a:solidFill>
                <a:latin typeface="Lato Light" panose="020F0302020204030203" pitchFamily="34" charset="0"/>
                <a:sym typeface="Lato Light" panose="020F0302020204030203" pitchFamily="34" charset="0"/>
              </a:rPr>
              <a:t>Service including updates, 5 days yearly on-site service, telephone technical assistance</a:t>
            </a:r>
          </a:p>
          <a:p>
            <a:pPr algn="l">
              <a:spcBef>
                <a:spcPts val="600"/>
              </a:spcBef>
              <a:buFont typeface="Arial" pitchFamily="34" charset="0"/>
              <a:buChar char="•"/>
            </a:pPr>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Partnerships with ERP integrators</a:t>
            </a:r>
          </a:p>
          <a:p>
            <a:endParaRPr lang="en-US" dirty="0">
              <a:solidFill>
                <a:schemeClr val="tx1"/>
              </a:solidFill>
              <a:latin typeface="Lato" panose="020F0502020204030203" pitchFamily="34" charset="0"/>
            </a:endParaRPr>
          </a:p>
        </p:txBody>
      </p:sp>
      <p:sp>
        <p:nvSpPr>
          <p:cNvPr id="80919" name="AutoShape 23"/>
          <p:cNvSpPr>
            <a:spLocks/>
          </p:cNvSpPr>
          <p:nvPr/>
        </p:nvSpPr>
        <p:spPr bwMode="auto">
          <a:xfrm>
            <a:off x="12519025" y="8712200"/>
            <a:ext cx="5308600" cy="3454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l">
              <a:spcBef>
                <a:spcPts val="600"/>
              </a:spcBef>
              <a:spcAft>
                <a:spcPts val="1800"/>
              </a:spcAft>
              <a:buFont typeface="Arial" pitchFamily="34" charset="0"/>
              <a:buChar char="•"/>
            </a:pPr>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Empowering employees</a:t>
            </a:r>
          </a:p>
          <a:p>
            <a:pPr algn="l">
              <a:spcBef>
                <a:spcPts val="600"/>
              </a:spcBef>
              <a:spcAft>
                <a:spcPts val="1800"/>
              </a:spcAft>
              <a:buFont typeface="Arial" pitchFamily="34" charset="0"/>
              <a:buChar char="•"/>
            </a:pPr>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High Benefits</a:t>
            </a:r>
          </a:p>
          <a:p>
            <a:pPr algn="l">
              <a:spcBef>
                <a:spcPts val="600"/>
              </a:spcBef>
              <a:spcAft>
                <a:spcPts val="1800"/>
              </a:spcAft>
              <a:buFont typeface="Arial" pitchFamily="34" charset="0"/>
              <a:buChar char="•"/>
            </a:pPr>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In-house sales force</a:t>
            </a:r>
          </a:p>
          <a:p>
            <a:pPr algn="l">
              <a:spcBef>
                <a:spcPts val="600"/>
              </a:spcBef>
              <a:buFont typeface="Arial" pitchFamily="34" charset="0"/>
              <a:buChar char="•"/>
            </a:pPr>
            <a:r>
              <a:rPr lang="en-US" sz="3600" dirty="0">
                <a:solidFill>
                  <a:schemeClr val="tx1"/>
                </a:solidFill>
                <a:latin typeface="Lato Light" panose="020F0302020204030203" pitchFamily="34" charset="0"/>
                <a:sym typeface="Lato Light" panose="020F0302020204030203" pitchFamily="34" charset="0"/>
              </a:rPr>
              <a:t>Share scheme</a:t>
            </a:r>
            <a:endParaRPr lang="en-US" dirty="0">
              <a:solidFill>
                <a:schemeClr val="tx1"/>
              </a:solidFill>
              <a:latin typeface="Lato" panose="020F0502020204030203" pitchFamily="34" charset="0"/>
            </a:endParaRPr>
          </a:p>
        </p:txBody>
      </p:sp>
      <p:sp>
        <p:nvSpPr>
          <p:cNvPr id="80920" name="AutoShape 24"/>
          <p:cNvSpPr>
            <a:spLocks/>
          </p:cNvSpPr>
          <p:nvPr/>
        </p:nvSpPr>
        <p:spPr bwMode="auto">
          <a:xfrm>
            <a:off x="581025" y="8712200"/>
            <a:ext cx="5308600" cy="4089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marL="171450" indent="-171450" algn="l">
              <a:spcBef>
                <a:spcPts val="600"/>
              </a:spcBef>
              <a:spcAft>
                <a:spcPts val="1800"/>
              </a:spcAft>
              <a:buFont typeface="Arial" pitchFamily="34" charset="0"/>
              <a:buChar char="•"/>
            </a:pPr>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Applying the keen eye and expertise of an auditor has never been easier or more cost effective</a:t>
            </a:r>
          </a:p>
          <a:p>
            <a:pPr marL="171450" indent="-171450" algn="l">
              <a:spcBef>
                <a:spcPts val="600"/>
              </a:spcBef>
              <a:buFont typeface="Arial" pitchFamily="34" charset="0"/>
              <a:buChar char="•"/>
            </a:pPr>
            <a:r>
              <a:rPr lang="en-US" sz="3600" dirty="0">
                <a:solidFill>
                  <a:schemeClr val="tx1"/>
                </a:solidFill>
                <a:latin typeface="Lato Light" panose="020F0302020204030203" pitchFamily="34" charset="0"/>
                <a:sym typeface="Lato Light" panose="020F0302020204030203" pitchFamily="34" charset="0"/>
              </a:rPr>
              <a:t>3 years subscription</a:t>
            </a:r>
            <a:endParaRPr lang="en-US" sz="3600" dirty="0">
              <a:solidFill>
                <a:schemeClr val="tx1"/>
              </a:solidFill>
              <a:latin typeface="Lato" panose="020F0502020204030203" pitchFamily="34" charset="0"/>
            </a:endParaRPr>
          </a:p>
        </p:txBody>
      </p:sp>
      <p:sp>
        <p:nvSpPr>
          <p:cNvPr id="2" name="Title 1"/>
          <p:cNvSpPr>
            <a:spLocks noGrp="1"/>
          </p:cNvSpPr>
          <p:nvPr>
            <p:ph type="title"/>
          </p:nvPr>
        </p:nvSpPr>
        <p:spPr>
          <a:xfrm>
            <a:off x="1318792" y="874148"/>
            <a:ext cx="8435323" cy="1508105"/>
          </a:xfrm>
        </p:spPr>
        <p:txBody>
          <a:bodyPr/>
          <a:lstStyle/>
          <a:p>
            <a:r>
              <a:rPr lang="en-US" dirty="0">
                <a:ea typeface="Aleo Regular" charset="0"/>
                <a:cs typeface="Aleo Regular" charset="0"/>
                <a:sym typeface="Aleo Regular" charset="0"/>
              </a:rPr>
              <a:t>Business model</a:t>
            </a:r>
            <a:endParaRPr lang="en-US" dirty="0"/>
          </a:p>
        </p:txBody>
      </p:sp>
      <p:grpSp>
        <p:nvGrpSpPr>
          <p:cNvPr id="27" name="Group 26"/>
          <p:cNvGrpSpPr/>
          <p:nvPr/>
        </p:nvGrpSpPr>
        <p:grpSpPr>
          <a:xfrm>
            <a:off x="1344613" y="4179316"/>
            <a:ext cx="3797300" cy="3797300"/>
            <a:chOff x="1774599" y="9001126"/>
            <a:chExt cx="3797300" cy="3797300"/>
          </a:xfrm>
        </p:grpSpPr>
        <p:sp>
          <p:nvSpPr>
            <p:cNvPr id="28" name="AutoShape 11"/>
            <p:cNvSpPr>
              <a:spLocks/>
            </p:cNvSpPr>
            <p:nvPr/>
          </p:nvSpPr>
          <p:spPr bwMode="auto">
            <a:xfrm>
              <a:off x="1774599" y="9001126"/>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endParaRPr>
            </a:p>
          </p:txBody>
        </p:sp>
        <p:sp>
          <p:nvSpPr>
            <p:cNvPr id="29" name="Freeform 28"/>
            <p:cNvSpPr>
              <a:spLocks/>
            </p:cNvSpPr>
            <p:nvPr/>
          </p:nvSpPr>
          <p:spPr bwMode="auto">
            <a:xfrm>
              <a:off x="3271612" y="10027801"/>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tx2">
                <a:lumMod val="75000"/>
                <a:alpha val="50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30" name="AutoShape 13"/>
            <p:cNvSpPr>
              <a:spLocks/>
            </p:cNvSpPr>
            <p:nvPr/>
          </p:nvSpPr>
          <p:spPr bwMode="auto">
            <a:xfrm>
              <a:off x="2350861" y="9558338"/>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grpSp>
        <p:nvGrpSpPr>
          <p:cNvPr id="31" name="Group 30"/>
          <p:cNvGrpSpPr/>
          <p:nvPr/>
        </p:nvGrpSpPr>
        <p:grpSpPr>
          <a:xfrm>
            <a:off x="7313613" y="4179316"/>
            <a:ext cx="3797300" cy="3797300"/>
            <a:chOff x="7448608" y="8868229"/>
            <a:chExt cx="3797300" cy="3797300"/>
          </a:xfrm>
        </p:grpSpPr>
        <p:sp>
          <p:nvSpPr>
            <p:cNvPr id="32" name="AutoShape 11"/>
            <p:cNvSpPr>
              <a:spLocks/>
            </p:cNvSpPr>
            <p:nvPr/>
          </p:nvSpPr>
          <p:spPr bwMode="auto">
            <a:xfrm>
              <a:off x="7448608" y="8868229"/>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endParaRPr>
            </a:p>
          </p:txBody>
        </p:sp>
        <p:sp>
          <p:nvSpPr>
            <p:cNvPr id="33" name="Freeform 32"/>
            <p:cNvSpPr>
              <a:spLocks/>
            </p:cNvSpPr>
            <p:nvPr/>
          </p:nvSpPr>
          <p:spPr bwMode="auto">
            <a:xfrm>
              <a:off x="8945621" y="9894904"/>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6">
                <a:lumMod val="75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34" name="AutoShape 13"/>
            <p:cNvSpPr>
              <a:spLocks/>
            </p:cNvSpPr>
            <p:nvPr/>
          </p:nvSpPr>
          <p:spPr bwMode="auto">
            <a:xfrm>
              <a:off x="8024870" y="9425441"/>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6"/>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grpSp>
        <p:nvGrpSpPr>
          <p:cNvPr id="35" name="Group 34"/>
          <p:cNvGrpSpPr/>
          <p:nvPr/>
        </p:nvGrpSpPr>
        <p:grpSpPr>
          <a:xfrm>
            <a:off x="13282613" y="4179316"/>
            <a:ext cx="3797300" cy="3797300"/>
            <a:chOff x="12986999" y="8868229"/>
            <a:chExt cx="3797300" cy="3797300"/>
          </a:xfrm>
        </p:grpSpPr>
        <p:sp>
          <p:nvSpPr>
            <p:cNvPr id="36" name="AutoShape 11"/>
            <p:cNvSpPr>
              <a:spLocks/>
            </p:cNvSpPr>
            <p:nvPr/>
          </p:nvSpPr>
          <p:spPr bwMode="auto">
            <a:xfrm>
              <a:off x="12986999" y="8868229"/>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endParaRPr>
            </a:p>
          </p:txBody>
        </p:sp>
        <p:sp>
          <p:nvSpPr>
            <p:cNvPr id="37" name="Freeform 36"/>
            <p:cNvSpPr>
              <a:spLocks/>
            </p:cNvSpPr>
            <p:nvPr/>
          </p:nvSpPr>
          <p:spPr bwMode="auto">
            <a:xfrm>
              <a:off x="14484012" y="9894904"/>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3">
                <a:lumMod val="75000"/>
                <a:alpha val="50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38" name="AutoShape 13"/>
            <p:cNvSpPr>
              <a:spLocks/>
            </p:cNvSpPr>
            <p:nvPr/>
          </p:nvSpPr>
          <p:spPr bwMode="auto">
            <a:xfrm>
              <a:off x="13563261" y="9425441"/>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4"/>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grpSp>
        <p:nvGrpSpPr>
          <p:cNvPr id="39" name="Group 38"/>
          <p:cNvGrpSpPr/>
          <p:nvPr/>
        </p:nvGrpSpPr>
        <p:grpSpPr>
          <a:xfrm>
            <a:off x="19251613" y="4179316"/>
            <a:ext cx="3797300" cy="3797300"/>
            <a:chOff x="18828205" y="9201735"/>
            <a:chExt cx="3797300" cy="3797300"/>
          </a:xfrm>
        </p:grpSpPr>
        <p:sp>
          <p:nvSpPr>
            <p:cNvPr id="40" name="AutoShape 11"/>
            <p:cNvSpPr>
              <a:spLocks/>
            </p:cNvSpPr>
            <p:nvPr/>
          </p:nvSpPr>
          <p:spPr bwMode="auto">
            <a:xfrm>
              <a:off x="18828205" y="9201735"/>
              <a:ext cx="3797300" cy="379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6C8BD"/>
                </a:solidFill>
                <a:effectLst>
                  <a:outerShdw blurRad="38100" dist="38100" dir="2700000" algn="tl">
                    <a:srgbClr val="000000"/>
                  </a:outerShdw>
                </a:effectLst>
                <a:latin typeface="Lato" panose="020F0502020204030203" pitchFamily="34" charset="0"/>
              </a:endParaRPr>
            </a:p>
          </p:txBody>
        </p:sp>
        <p:sp>
          <p:nvSpPr>
            <p:cNvPr id="41" name="Freeform 40"/>
            <p:cNvSpPr>
              <a:spLocks/>
            </p:cNvSpPr>
            <p:nvPr/>
          </p:nvSpPr>
          <p:spPr bwMode="auto">
            <a:xfrm>
              <a:off x="20325218" y="10228410"/>
              <a:ext cx="2287577" cy="2692837"/>
            </a:xfrm>
            <a:custGeom>
              <a:avLst/>
              <a:gdLst>
                <a:gd name="connsiteX0" fmla="*/ 1374243 w 2287577"/>
                <a:gd name="connsiteY0" fmla="*/ 0 h 2692837"/>
                <a:gd name="connsiteX1" fmla="*/ 2279558 w 2287577"/>
                <a:gd name="connsiteY1" fmla="*/ 642877 h 2692837"/>
                <a:gd name="connsiteX2" fmla="*/ 927594 w 2287577"/>
                <a:gd name="connsiteY2" fmla="*/ 2692837 h 2692837"/>
                <a:gd name="connsiteX3" fmla="*/ 0 w 2287577"/>
                <a:gd name="connsiteY3" fmla="*/ 2119804 h 2692837"/>
                <a:gd name="connsiteX4" fmla="*/ 6179 w 2287577"/>
                <a:gd name="connsiteY4" fmla="*/ 2110143 h 2692837"/>
                <a:gd name="connsiteX5" fmla="*/ 15371 w 2287577"/>
                <a:gd name="connsiteY5" fmla="*/ 2113358 h 2692837"/>
                <a:gd name="connsiteX6" fmla="*/ 1313529 w 2287577"/>
                <a:gd name="connsiteY6" fmla="*/ 1783865 h 2692837"/>
                <a:gd name="connsiteX7" fmla="*/ 1403390 w 2287577"/>
                <a:gd name="connsiteY7" fmla="*/ 32247 h 269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577" h="2692837">
                  <a:moveTo>
                    <a:pt x="1374243" y="0"/>
                  </a:moveTo>
                  <a:lnTo>
                    <a:pt x="2279558" y="642877"/>
                  </a:lnTo>
                  <a:cubicBezTo>
                    <a:pt x="2409044" y="2311565"/>
                    <a:pt x="927594" y="2692837"/>
                    <a:pt x="927594" y="2692837"/>
                  </a:cubicBezTo>
                  <a:lnTo>
                    <a:pt x="0" y="2119804"/>
                  </a:lnTo>
                  <a:lnTo>
                    <a:pt x="6179" y="2110143"/>
                  </a:lnTo>
                  <a:lnTo>
                    <a:pt x="15371" y="2113358"/>
                  </a:lnTo>
                  <a:cubicBezTo>
                    <a:pt x="460592" y="2245156"/>
                    <a:pt x="962070" y="2135325"/>
                    <a:pt x="1313529" y="1783865"/>
                  </a:cubicBezTo>
                  <a:cubicBezTo>
                    <a:pt x="1792791" y="1304604"/>
                    <a:pt x="1822745" y="546379"/>
                    <a:pt x="1403390" y="32247"/>
                  </a:cubicBezTo>
                  <a:close/>
                </a:path>
              </a:pathLst>
            </a:custGeom>
            <a:solidFill>
              <a:schemeClr val="accent2">
                <a:lumMod val="75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42" name="AutoShape 13"/>
            <p:cNvSpPr>
              <a:spLocks/>
            </p:cNvSpPr>
            <p:nvPr/>
          </p:nvSpPr>
          <p:spPr bwMode="auto">
            <a:xfrm>
              <a:off x="19404467" y="9758947"/>
              <a:ext cx="2617788" cy="26177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sp>
        <p:nvSpPr>
          <p:cNvPr id="80913" name="AutoShape 17"/>
          <p:cNvSpPr>
            <a:spLocks/>
          </p:cNvSpPr>
          <p:nvPr/>
        </p:nvSpPr>
        <p:spPr bwMode="auto">
          <a:xfrm>
            <a:off x="19912013" y="5760466"/>
            <a:ext cx="2489200" cy="635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50800" tIns="50800" rIns="50800" bIns="50800" anchor="ctr"/>
          <a:lstStyle/>
          <a:p>
            <a:r>
              <a:rPr lang="en-US" sz="4000" b="1" dirty="0">
                <a:solidFill>
                  <a:srgbClr val="FFFFFF"/>
                </a:solidFill>
                <a:latin typeface="Aleo" panose="020F0502020204030203" pitchFamily="34" charset="0"/>
                <a:ea typeface="Aleo Regular" charset="0"/>
                <a:cs typeface="Aleo Regular" charset="0"/>
                <a:sym typeface="Aleo Regular" charset="0"/>
              </a:rPr>
              <a:t>Technology</a:t>
            </a:r>
            <a:endParaRPr lang="en-US" sz="6600" dirty="0">
              <a:latin typeface="Lato" panose="020F0502020204030203" pitchFamily="34" charset="0"/>
            </a:endParaRPr>
          </a:p>
        </p:txBody>
      </p:sp>
      <p:sp>
        <p:nvSpPr>
          <p:cNvPr id="80914" name="AutoShape 18"/>
          <p:cNvSpPr>
            <a:spLocks/>
          </p:cNvSpPr>
          <p:nvPr/>
        </p:nvSpPr>
        <p:spPr bwMode="auto">
          <a:xfrm>
            <a:off x="13944600" y="5760466"/>
            <a:ext cx="2486025" cy="635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50800" tIns="50800" rIns="50800" bIns="50800" anchor="ctr"/>
          <a:lstStyle/>
          <a:p>
            <a:r>
              <a:rPr lang="en-US" sz="4000" b="1" dirty="0">
                <a:solidFill>
                  <a:srgbClr val="FFFFFF"/>
                </a:solidFill>
                <a:latin typeface="Aleo" panose="020F0502020204030203" pitchFamily="34" charset="0"/>
                <a:sym typeface="Aleo Regular" charset="0"/>
              </a:rPr>
              <a:t>People</a:t>
            </a:r>
            <a:endParaRPr lang="en-US" sz="6600" dirty="0">
              <a:latin typeface="Lato" panose="020F0502020204030203" pitchFamily="34" charset="0"/>
            </a:endParaRPr>
          </a:p>
        </p:txBody>
      </p:sp>
      <p:sp>
        <p:nvSpPr>
          <p:cNvPr id="80915" name="AutoShape 19"/>
          <p:cNvSpPr>
            <a:spLocks/>
          </p:cNvSpPr>
          <p:nvPr/>
        </p:nvSpPr>
        <p:spPr bwMode="auto">
          <a:xfrm>
            <a:off x="8281988" y="5760466"/>
            <a:ext cx="1874837" cy="635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50800" tIns="50800" rIns="50800" bIns="50800" anchor="ctr"/>
          <a:lstStyle/>
          <a:p>
            <a:r>
              <a:rPr lang="en-US" sz="4000" b="1" dirty="0">
                <a:solidFill>
                  <a:srgbClr val="FFFFFF"/>
                </a:solidFill>
                <a:latin typeface="Aleo" panose="020F0502020204030203" pitchFamily="34" charset="0"/>
                <a:ea typeface="Aleo Regular" charset="0"/>
                <a:cs typeface="Aleo Regular" charset="0"/>
                <a:sym typeface="Aleo Regular" charset="0"/>
              </a:rPr>
              <a:t>Service</a:t>
            </a:r>
            <a:endParaRPr lang="en-US" sz="6600" dirty="0">
              <a:latin typeface="Lato" panose="020F0502020204030203" pitchFamily="34" charset="0"/>
            </a:endParaRPr>
          </a:p>
        </p:txBody>
      </p:sp>
      <p:sp>
        <p:nvSpPr>
          <p:cNvPr id="80916" name="AutoShape 20"/>
          <p:cNvSpPr>
            <a:spLocks/>
          </p:cNvSpPr>
          <p:nvPr/>
        </p:nvSpPr>
        <p:spPr bwMode="auto">
          <a:xfrm>
            <a:off x="2114550" y="5760466"/>
            <a:ext cx="2270125" cy="635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50800" tIns="50800" rIns="50800" bIns="50800" anchor="ctr"/>
          <a:lstStyle/>
          <a:p>
            <a:r>
              <a:rPr lang="en-US" sz="4000" b="1" dirty="0">
                <a:solidFill>
                  <a:srgbClr val="FFFFFF"/>
                </a:solidFill>
                <a:latin typeface="Aleo" panose="020F0502020204030203" pitchFamily="34" charset="0"/>
                <a:ea typeface="Aleo Regular" charset="0"/>
                <a:cs typeface="Aleo Regular" charset="0"/>
                <a:sym typeface="Aleo Regular" charset="0"/>
              </a:rPr>
              <a:t>Marketing</a:t>
            </a:r>
            <a:endParaRPr lang="en-US" sz="6600" dirty="0">
              <a:latin typeface="Lato" panose="020F0502020204030203" pitchFamily="34" charset="0"/>
            </a:endParaRPr>
          </a:p>
        </p:txBody>
      </p:sp>
      <p:sp>
        <p:nvSpPr>
          <p:cNvPr id="43" name="Plus 42"/>
          <p:cNvSpPr/>
          <p:nvPr/>
        </p:nvSpPr>
        <p:spPr bwMode="auto">
          <a:xfrm>
            <a:off x="5506815" y="5205991"/>
            <a:ext cx="1423988" cy="1581150"/>
          </a:xfrm>
          <a:prstGeom prst="mathPlus">
            <a:avLst/>
          </a:prstGeom>
          <a:solidFill>
            <a:schemeClr val="accent5">
              <a:lumMod val="75000"/>
            </a:schemeClr>
          </a:solidFill>
          <a:ln>
            <a:noFill/>
          </a:ln>
          <a:effectLst/>
          <a:extLst/>
        </p:spPr>
        <p:txBody>
          <a:bodyPr lIns="0" tIns="0" rIns="0" bIns="0" rtlCol="0" anchor="ctr"/>
          <a:lstStyle/>
          <a:p>
            <a:pPr algn="ctr"/>
            <a:endParaRPr lang="fr-FR" sz="4000">
              <a:solidFill>
                <a:srgbClr val="FFFFFF"/>
              </a:solidFill>
              <a:effectLst>
                <a:outerShdw blurRad="38100" dist="38100" dir="2700000" algn="tl">
                  <a:srgbClr val="000000"/>
                </a:outerShdw>
              </a:effectLst>
            </a:endParaRPr>
          </a:p>
        </p:txBody>
      </p:sp>
      <p:sp>
        <p:nvSpPr>
          <p:cNvPr id="44" name="Plus 43"/>
          <p:cNvSpPr/>
          <p:nvPr/>
        </p:nvSpPr>
        <p:spPr bwMode="auto">
          <a:xfrm>
            <a:off x="11439239" y="5285239"/>
            <a:ext cx="1423988" cy="1581150"/>
          </a:xfrm>
          <a:prstGeom prst="mathPlus">
            <a:avLst/>
          </a:prstGeom>
          <a:solidFill>
            <a:srgbClr val="E69427"/>
          </a:solidFill>
          <a:ln>
            <a:noFill/>
          </a:ln>
          <a:effectLst/>
          <a:extLst/>
        </p:spPr>
        <p:txBody>
          <a:bodyPr lIns="0" tIns="0" rIns="0" bIns="0" rtlCol="0" anchor="ctr"/>
          <a:lstStyle/>
          <a:p>
            <a:pPr algn="ctr"/>
            <a:endParaRPr lang="fr-FR" sz="4000">
              <a:solidFill>
                <a:srgbClr val="FFFFFF"/>
              </a:solidFill>
              <a:effectLst>
                <a:outerShdw blurRad="38100" dist="38100" dir="2700000" algn="tl">
                  <a:srgbClr val="000000"/>
                </a:outerShdw>
              </a:effectLst>
            </a:endParaRPr>
          </a:p>
        </p:txBody>
      </p:sp>
      <p:sp>
        <p:nvSpPr>
          <p:cNvPr id="45" name="Plus 44"/>
          <p:cNvSpPr/>
          <p:nvPr/>
        </p:nvSpPr>
        <p:spPr bwMode="auto">
          <a:xfrm>
            <a:off x="17444815" y="5279143"/>
            <a:ext cx="1423988" cy="1581150"/>
          </a:xfrm>
          <a:prstGeom prst="mathPlus">
            <a:avLst/>
          </a:prstGeom>
          <a:solidFill>
            <a:schemeClr val="accent1">
              <a:lumMod val="75000"/>
            </a:schemeClr>
          </a:solidFill>
          <a:ln>
            <a:noFill/>
          </a:ln>
          <a:effectLst/>
          <a:extLst/>
        </p:spPr>
        <p:txBody>
          <a:bodyPr lIns="0" tIns="0" rIns="0" bIns="0" rtlCol="0" anchor="ctr"/>
          <a:lstStyle/>
          <a:p>
            <a:pPr algn="ctr"/>
            <a:endParaRPr lang="fr-FR" sz="4000">
              <a:solidFill>
                <a:srgbClr val="FFFFFF"/>
              </a:solidFill>
              <a:effectLst>
                <a:outerShdw blurRad="38100" dist="38100" dir="2700000" algn="tl">
                  <a:srgbClr val="000000"/>
                </a:outerShdw>
              </a:effectLst>
            </a:endParaRPr>
          </a:p>
        </p:txBody>
      </p:sp>
    </p:spTree>
    <p:extLst>
      <p:ext uri="{BB962C8B-B14F-4D97-AF65-F5344CB8AC3E}">
        <p14:creationId xmlns:p14="http://schemas.microsoft.com/office/powerpoint/2010/main" xmlns="" val="185152345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0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915"/>
                                        </p:tgtEl>
                                        <p:attrNameLst>
                                          <p:attrName>style.visibility</p:attrName>
                                        </p:attrNameLst>
                                      </p:cBhvr>
                                      <p:to>
                                        <p:strVal val="visible"/>
                                      </p:to>
                                    </p:set>
                                    <p:animEffect transition="in" filter="fade">
                                      <p:cBhvr>
                                        <p:cTn id="10" dur="2000"/>
                                        <p:tgtEl>
                                          <p:spTgt spid="809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2000"/>
                                        <p:tgtEl>
                                          <p:spTgt spid="4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0918"/>
                                        </p:tgtEl>
                                        <p:attrNameLst>
                                          <p:attrName>style.visibility</p:attrName>
                                        </p:attrNameLst>
                                      </p:cBhvr>
                                      <p:to>
                                        <p:strVal val="visible"/>
                                      </p:to>
                                    </p:set>
                                    <p:animEffect transition="in" filter="fade">
                                      <p:cBhvr>
                                        <p:cTn id="16" dur="2000"/>
                                        <p:tgtEl>
                                          <p:spTgt spid="8091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2000"/>
                                        <p:tgtEl>
                                          <p:spTgt spid="3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0919"/>
                                        </p:tgtEl>
                                        <p:attrNameLst>
                                          <p:attrName>style.visibility</p:attrName>
                                        </p:attrNameLst>
                                      </p:cBhvr>
                                      <p:to>
                                        <p:strVal val="visible"/>
                                      </p:to>
                                    </p:set>
                                    <p:animEffect transition="in" filter="fade">
                                      <p:cBhvr>
                                        <p:cTn id="24" dur="2000"/>
                                        <p:tgtEl>
                                          <p:spTgt spid="8091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2000"/>
                                        <p:tgtEl>
                                          <p:spTgt spid="4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0914"/>
                                        </p:tgtEl>
                                        <p:attrNameLst>
                                          <p:attrName>style.visibility</p:attrName>
                                        </p:attrNameLst>
                                      </p:cBhvr>
                                      <p:to>
                                        <p:strVal val="visible"/>
                                      </p:to>
                                    </p:set>
                                    <p:animEffect transition="in" filter="fade">
                                      <p:cBhvr>
                                        <p:cTn id="30" dur="2000"/>
                                        <p:tgtEl>
                                          <p:spTgt spid="809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5"/>
                                        </p:tgtEl>
                                        <p:attrNameLst>
                                          <p:attrName>style.visibility</p:attrName>
                                        </p:attrNameLst>
                                      </p:cBhvr>
                                      <p:to>
                                        <p:strVal val="visible"/>
                                      </p:to>
                                    </p:set>
                                    <p:animEffect transition="in" filter="fade">
                                      <p:cBhvr>
                                        <p:cTn id="35" dur="2000"/>
                                        <p:tgtEl>
                                          <p:spTgt spid="4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80913"/>
                                        </p:tgtEl>
                                        <p:attrNameLst>
                                          <p:attrName>style.visibility</p:attrName>
                                        </p:attrNameLst>
                                      </p:cBhvr>
                                      <p:to>
                                        <p:strVal val="visible"/>
                                      </p:to>
                                    </p:set>
                                    <p:animEffect transition="in" filter="fade">
                                      <p:cBhvr>
                                        <p:cTn id="38" dur="2000"/>
                                        <p:tgtEl>
                                          <p:spTgt spid="80913"/>
                                        </p:tgtEl>
                                      </p:cBhvr>
                                    </p:animEffect>
                                  </p:childTnLst>
                                </p:cTn>
                              </p:par>
                              <p:par>
                                <p:cTn id="39" presetID="10" presetClass="entr" presetSubtype="0" fill="hold" nodeType="withEffect">
                                  <p:stCondLst>
                                    <p:cond delay="0"/>
                                  </p:stCondLst>
                                  <p:childTnLst>
                                    <p:set>
                                      <p:cBhvr>
                                        <p:cTn id="40" dur="1" fill="hold">
                                          <p:stCondLst>
                                            <p:cond delay="0"/>
                                          </p:stCondLst>
                                        </p:cTn>
                                        <p:tgtEl>
                                          <p:spTgt spid="39"/>
                                        </p:tgtEl>
                                        <p:attrNameLst>
                                          <p:attrName>style.visibility</p:attrName>
                                        </p:attrNameLst>
                                      </p:cBhvr>
                                      <p:to>
                                        <p:strVal val="visible"/>
                                      </p:to>
                                    </p:set>
                                    <p:animEffect transition="in" filter="fade">
                                      <p:cBhvr>
                                        <p:cTn id="41" dur="2000"/>
                                        <p:tgtEl>
                                          <p:spTgt spid="3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0917"/>
                                        </p:tgtEl>
                                        <p:attrNameLst>
                                          <p:attrName>style.visibility</p:attrName>
                                        </p:attrNameLst>
                                      </p:cBhvr>
                                      <p:to>
                                        <p:strVal val="visible"/>
                                      </p:to>
                                    </p:set>
                                    <p:animEffect transition="in" filter="fade">
                                      <p:cBhvr>
                                        <p:cTn id="44" dur="2000"/>
                                        <p:tgtEl>
                                          <p:spTgt spid="809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917" grpId="0"/>
      <p:bldP spid="80918" grpId="0"/>
      <p:bldP spid="80919" grpId="0"/>
      <p:bldP spid="80913" grpId="0"/>
      <p:bldP spid="80914" grpId="0"/>
      <p:bldP spid="80915" grpId="0"/>
      <p:bldP spid="43" grpId="0" animBg="1"/>
      <p:bldP spid="44" grpId="0" animBg="1"/>
      <p:bldP spid="4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8792" y="874148"/>
            <a:ext cx="5799601" cy="1508105"/>
          </a:xfrm>
          <a:prstGeom prst="rect">
            <a:avLst/>
          </a:prstGeom>
        </p:spPr>
        <p:txBody>
          <a:bodyPr/>
          <a:lstStyle/>
          <a:p>
            <a:r>
              <a:rPr lang="en-US" dirty="0"/>
              <a:t>5 year plan</a:t>
            </a:r>
          </a:p>
        </p:txBody>
      </p:sp>
      <p:sp>
        <p:nvSpPr>
          <p:cNvPr id="4" name="Rectangle 3"/>
          <p:cNvSpPr>
            <a:spLocks noChangeArrowheads="1"/>
          </p:cNvSpPr>
          <p:nvPr/>
        </p:nvSpPr>
        <p:spPr bwMode="auto">
          <a:xfrm>
            <a:off x="3080406" y="2707187"/>
            <a:ext cx="18288000" cy="9124950"/>
          </a:xfrm>
          <a:prstGeom prst="rect">
            <a:avLst/>
          </a:prstGeom>
          <a:gradFill rotWithShape="1">
            <a:gsLst>
              <a:gs pos="0">
                <a:srgbClr val="E6E6E6"/>
              </a:gs>
              <a:gs pos="100000">
                <a:srgbClr val="F3F3F3"/>
              </a:gs>
            </a:gsLst>
            <a:lin ang="16200000"/>
          </a:gradFill>
          <a:ln w="9525">
            <a:solidFill>
              <a:srgbClr val="E1E1E1"/>
            </a:solidFill>
            <a:miter lim="800000"/>
            <a:headEnd/>
            <a:tailEnd/>
          </a:ln>
          <a:effectLst>
            <a:outerShdw blurRad="63500" dist="23000" dir="5400000" rotWithShape="0">
              <a:srgbClr val="000000">
                <a:alpha val="34998"/>
              </a:srgbClr>
            </a:outerShdw>
          </a:effectLst>
        </p:spPr>
        <p:txBody>
          <a:bodyPr anchor="ct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endParaRPr lang="en-US" altLang="en-US" sz="3600">
              <a:solidFill>
                <a:srgbClr val="FFFFFF"/>
              </a:solidFill>
              <a:latin typeface="Calibri" charset="0"/>
            </a:endParaRPr>
          </a:p>
        </p:txBody>
      </p:sp>
      <p:cxnSp>
        <p:nvCxnSpPr>
          <p:cNvPr id="5" name="Lige forbindelse 33"/>
          <p:cNvCxnSpPr/>
          <p:nvPr/>
        </p:nvCxnSpPr>
        <p:spPr bwMode="auto">
          <a:xfrm rot="5400000" flipH="1" flipV="1">
            <a:off x="6056894" y="7069138"/>
            <a:ext cx="8521700" cy="3176"/>
          </a:xfrm>
          <a:prstGeom prst="line">
            <a:avLst/>
          </a:prstGeom>
          <a:ln w="635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 name="Lige forbindelse 36"/>
          <p:cNvCxnSpPr/>
          <p:nvPr/>
        </p:nvCxnSpPr>
        <p:spPr bwMode="auto">
          <a:xfrm rot="5400000" flipH="1" flipV="1">
            <a:off x="2502778" y="7053262"/>
            <a:ext cx="8521700" cy="3176"/>
          </a:xfrm>
          <a:prstGeom prst="line">
            <a:avLst/>
          </a:prstGeom>
          <a:ln w="635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 name="Lige forbindelse 29"/>
          <p:cNvCxnSpPr/>
          <p:nvPr/>
        </p:nvCxnSpPr>
        <p:spPr bwMode="auto">
          <a:xfrm rot="5400000" flipH="1" flipV="1">
            <a:off x="9777998" y="7069138"/>
            <a:ext cx="8521700" cy="3176"/>
          </a:xfrm>
          <a:prstGeom prst="line">
            <a:avLst/>
          </a:prstGeom>
          <a:ln w="635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8" name="Rektangel 25"/>
          <p:cNvSpPr/>
          <p:nvPr/>
        </p:nvSpPr>
        <p:spPr bwMode="auto">
          <a:xfrm>
            <a:off x="3225606" y="10100077"/>
            <a:ext cx="3318348" cy="1298058"/>
          </a:xfrm>
          <a:prstGeom prst="rect">
            <a:avLst/>
          </a:prstGeom>
          <a:solidFill>
            <a:schemeClr val="accent6"/>
          </a:solidFill>
          <a:ln w="3175" cap="flat" cmpd="sng" algn="ctr">
            <a:noFill/>
            <a:prstDash val="solid"/>
          </a:ln>
          <a:effectLst/>
        </p:spPr>
        <p:txBody>
          <a:bodyPr anchor="ctr"/>
          <a:lstStyle>
            <a:lvl1pPr indent="-342900"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indent="0" eaLnBrk="1" hangingPunct="1"/>
            <a:r>
              <a:rPr lang="fr-FR" altLang="en-US" sz="3600" noProof="1" smtClean="0">
                <a:solidFill>
                  <a:schemeClr val="bg1"/>
                </a:solidFill>
                <a:latin typeface="Calibri" charset="0"/>
              </a:rPr>
              <a:t>60 tests</a:t>
            </a:r>
            <a:endParaRPr lang="fr-FR" altLang="en-US" sz="3600" noProof="1">
              <a:solidFill>
                <a:schemeClr val="bg1"/>
              </a:solidFill>
              <a:latin typeface="Calibri" charset="0"/>
            </a:endParaRPr>
          </a:p>
        </p:txBody>
      </p:sp>
      <p:sp>
        <p:nvSpPr>
          <p:cNvPr id="16" name="Rektangel 47"/>
          <p:cNvSpPr>
            <a:spLocks noChangeArrowheads="1"/>
          </p:cNvSpPr>
          <p:nvPr/>
        </p:nvSpPr>
        <p:spPr bwMode="auto">
          <a:xfrm>
            <a:off x="10426056" y="8931579"/>
            <a:ext cx="3568700" cy="1471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801688" eaLnBrk="0" hangingPunct="0">
              <a:defRPr sz="2400">
                <a:solidFill>
                  <a:schemeClr val="tx1"/>
                </a:solidFill>
                <a:latin typeface="Arial" charset="0"/>
                <a:ea typeface="ＭＳ Ｐゴシック" charset="-128"/>
              </a:defRPr>
            </a:lvl1pPr>
            <a:lvl2pPr marL="37931725" indent="-37474525" defTabSz="801688"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571500" indent="-571500" algn="l" eaLnBrk="1" hangingPunct="1">
              <a:spcBef>
                <a:spcPct val="20000"/>
              </a:spcBef>
              <a:buFont typeface="Arial" panose="020B0604020202020204" pitchFamily="34" charset="0"/>
              <a:buChar char="•"/>
            </a:pPr>
            <a:r>
              <a:rPr lang="fr-FR" altLang="en-US" sz="2800" b="1" noProof="1" smtClean="0">
                <a:latin typeface="Calibri" charset="0"/>
              </a:rPr>
              <a:t>Partnerships </a:t>
            </a:r>
            <a:r>
              <a:rPr lang="fr-FR" altLang="en-US" sz="2800" b="1" noProof="1">
                <a:latin typeface="Calibri" charset="0"/>
              </a:rPr>
              <a:t>for other ERP</a:t>
            </a:r>
          </a:p>
          <a:p>
            <a:pPr algn="l" eaLnBrk="1" hangingPunct="1">
              <a:spcBef>
                <a:spcPct val="20000"/>
              </a:spcBef>
            </a:pPr>
            <a:endParaRPr altLang="en-US" sz="2800" b="1" noProof="1">
              <a:latin typeface="Calibri" charset="0"/>
            </a:endParaRPr>
          </a:p>
        </p:txBody>
      </p:sp>
      <p:sp>
        <p:nvSpPr>
          <p:cNvPr id="17" name="Rektangel 47"/>
          <p:cNvSpPr>
            <a:spLocks noChangeArrowheads="1"/>
          </p:cNvSpPr>
          <p:nvPr/>
        </p:nvSpPr>
        <p:spPr bwMode="auto">
          <a:xfrm>
            <a:off x="14211454" y="7764596"/>
            <a:ext cx="3578224" cy="33670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801688" eaLnBrk="0" hangingPunct="0">
              <a:defRPr sz="2400">
                <a:solidFill>
                  <a:schemeClr val="tx1"/>
                </a:solidFill>
                <a:latin typeface="Arial" charset="0"/>
                <a:ea typeface="ＭＳ Ｐゴシック" charset="-128"/>
              </a:defRPr>
            </a:lvl1pPr>
            <a:lvl2pPr marL="37931725" indent="-37474525" defTabSz="801688"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342900" indent="-342900" algn="l" eaLnBrk="1" hangingPunct="1">
              <a:spcBef>
                <a:spcPct val="20000"/>
              </a:spcBef>
              <a:buFont typeface="Arial" panose="020B0604020202020204" pitchFamily="34" charset="0"/>
              <a:buChar char="•"/>
            </a:pPr>
            <a:r>
              <a:rPr lang="fr-FR" altLang="en-US" sz="2800" b="1" noProof="1">
                <a:latin typeface="Calibri" charset="0"/>
              </a:rPr>
              <a:t>Continue international</a:t>
            </a:r>
          </a:p>
          <a:p>
            <a:pPr marL="342900" indent="-342900" algn="l" eaLnBrk="1" hangingPunct="1">
              <a:spcBef>
                <a:spcPct val="20000"/>
              </a:spcBef>
              <a:buFont typeface="Arial" panose="020B0604020202020204" pitchFamily="34" charset="0"/>
              <a:buChar char="•"/>
            </a:pPr>
            <a:r>
              <a:rPr lang="fr-FR" altLang="en-US" sz="2800" b="1" noProof="1">
                <a:latin typeface="Calibri" charset="0"/>
              </a:rPr>
              <a:t>Co-development of other ERPs</a:t>
            </a:r>
          </a:p>
          <a:p>
            <a:pPr marL="342900" indent="-342900" algn="l" eaLnBrk="1" hangingPunct="1">
              <a:spcBef>
                <a:spcPct val="20000"/>
              </a:spcBef>
              <a:buFont typeface="Arial" panose="020B0604020202020204" pitchFamily="34" charset="0"/>
              <a:buChar char="•"/>
            </a:pPr>
            <a:r>
              <a:rPr lang="fr-FR" altLang="en-US" sz="2800" b="1" noProof="1">
                <a:latin typeface="Calibri" charset="0"/>
              </a:rPr>
              <a:t>Develop industries </a:t>
            </a:r>
            <a:r>
              <a:rPr lang="fr-FR" altLang="en-US" sz="2800" b="1" noProof="1" smtClean="0">
                <a:latin typeface="Calibri" charset="0"/>
              </a:rPr>
              <a:t>verticals</a:t>
            </a:r>
          </a:p>
          <a:p>
            <a:pPr marL="342900" indent="-342900" algn="l" eaLnBrk="1" hangingPunct="1">
              <a:spcBef>
                <a:spcPct val="20000"/>
              </a:spcBef>
              <a:buFont typeface="Arial" panose="020B0604020202020204" pitchFamily="34" charset="0"/>
              <a:buChar char="•"/>
            </a:pPr>
            <a:r>
              <a:rPr lang="fr-FR" altLang="en-US" sz="2800" b="1" noProof="1" smtClean="0">
                <a:latin typeface="Calibri" charset="0"/>
              </a:rPr>
              <a:t>Break even</a:t>
            </a:r>
            <a:endParaRPr lang="fr-FR" altLang="en-US" sz="2800" b="1" noProof="1">
              <a:latin typeface="Calibri" charset="0"/>
            </a:endParaRPr>
          </a:p>
        </p:txBody>
      </p:sp>
      <p:grpSp>
        <p:nvGrpSpPr>
          <p:cNvPr id="18" name="Gruppe 40"/>
          <p:cNvGrpSpPr>
            <a:grpSpLocks/>
          </p:cNvGrpSpPr>
          <p:nvPr/>
        </p:nvGrpSpPr>
        <p:grpSpPr bwMode="auto">
          <a:xfrm rot="20063131" flipH="1">
            <a:off x="4329927" y="8524978"/>
            <a:ext cx="1209674" cy="1704976"/>
            <a:chOff x="8332788" y="6677025"/>
            <a:chExt cx="2012950" cy="2838450"/>
          </a:xfrm>
          <a:solidFill>
            <a:schemeClr val="accent6"/>
          </a:solidFill>
        </p:grpSpPr>
        <p:sp>
          <p:nvSpPr>
            <p:cNvPr id="19" name="Freeform 36"/>
            <p:cNvSpPr>
              <a:spLocks/>
            </p:cNvSpPr>
            <p:nvPr/>
          </p:nvSpPr>
          <p:spPr bwMode="auto">
            <a:xfrm>
              <a:off x="9513888" y="8458200"/>
              <a:ext cx="34925" cy="12700"/>
            </a:xfrm>
            <a:custGeom>
              <a:avLst/>
              <a:gdLst>
                <a:gd name="T0" fmla="*/ 2147483647 w 22"/>
                <a:gd name="T1" fmla="*/ 2147483647 h 8"/>
                <a:gd name="T2" fmla="*/ 2147483647 w 22"/>
                <a:gd name="T3" fmla="*/ 0 h 8"/>
                <a:gd name="T4" fmla="*/ 0 w 22"/>
                <a:gd name="T5" fmla="*/ 2147483647 h 8"/>
                <a:gd name="T6" fmla="*/ 0 w 22"/>
                <a:gd name="T7" fmla="*/ 2147483647 h 8"/>
                <a:gd name="T8" fmla="*/ 2147483647 w 22"/>
                <a:gd name="T9" fmla="*/ 2147483647 h 8"/>
                <a:gd name="T10" fmla="*/ 2147483647 w 22"/>
                <a:gd name="T11" fmla="*/ 2147483647 h 8"/>
                <a:gd name="T12" fmla="*/ 0 60000 65536"/>
                <a:gd name="T13" fmla="*/ 0 60000 65536"/>
                <a:gd name="T14" fmla="*/ 0 60000 65536"/>
                <a:gd name="T15" fmla="*/ 0 60000 65536"/>
                <a:gd name="T16" fmla="*/ 0 60000 65536"/>
                <a:gd name="T17" fmla="*/ 0 60000 65536"/>
                <a:gd name="T18" fmla="*/ 0 w 22"/>
                <a:gd name="T19" fmla="*/ 0 h 8"/>
                <a:gd name="T20" fmla="*/ 22 w 22"/>
                <a:gd name="T21" fmla="*/ 8 h 8"/>
              </a:gdLst>
              <a:ahLst/>
              <a:cxnLst>
                <a:cxn ang="T12">
                  <a:pos x="T0" y="T1"/>
                </a:cxn>
                <a:cxn ang="T13">
                  <a:pos x="T2" y="T3"/>
                </a:cxn>
                <a:cxn ang="T14">
                  <a:pos x="T4" y="T5"/>
                </a:cxn>
                <a:cxn ang="T15">
                  <a:pos x="T6" y="T7"/>
                </a:cxn>
                <a:cxn ang="T16">
                  <a:pos x="T8" y="T9"/>
                </a:cxn>
                <a:cxn ang="T17">
                  <a:pos x="T10" y="T11"/>
                </a:cxn>
              </a:cxnLst>
              <a:rect l="T18" t="T19" r="T20" b="T21"/>
              <a:pathLst>
                <a:path w="22" h="8">
                  <a:moveTo>
                    <a:pt x="10" y="8"/>
                  </a:moveTo>
                  <a:lnTo>
                    <a:pt x="22" y="0"/>
                  </a:lnTo>
                  <a:lnTo>
                    <a:pt x="0" y="6"/>
                  </a:lnTo>
                  <a:lnTo>
                    <a:pt x="10"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sp>
          <p:nvSpPr>
            <p:cNvPr id="20" name="Freeform 37"/>
            <p:cNvSpPr>
              <a:spLocks noEditPoints="1"/>
            </p:cNvSpPr>
            <p:nvPr/>
          </p:nvSpPr>
          <p:spPr bwMode="auto">
            <a:xfrm>
              <a:off x="8332788" y="6677025"/>
              <a:ext cx="2012950" cy="2838450"/>
            </a:xfrm>
            <a:custGeom>
              <a:avLst/>
              <a:gdLst>
                <a:gd name="T0" fmla="*/ 1258 w 1268"/>
                <a:gd name="T1" fmla="*/ 702 h 1788"/>
                <a:gd name="T2" fmla="*/ 1184 w 1268"/>
                <a:gd name="T3" fmla="*/ 578 h 1788"/>
                <a:gd name="T4" fmla="*/ 700 w 1268"/>
                <a:gd name="T5" fmla="*/ 438 h 1788"/>
                <a:gd name="T6" fmla="*/ 558 w 1268"/>
                <a:gd name="T7" fmla="*/ 182 h 1788"/>
                <a:gd name="T8" fmla="*/ 536 w 1268"/>
                <a:gd name="T9" fmla="*/ 96 h 1788"/>
                <a:gd name="T10" fmla="*/ 458 w 1268"/>
                <a:gd name="T11" fmla="*/ 40 h 1788"/>
                <a:gd name="T12" fmla="*/ 338 w 1268"/>
                <a:gd name="T13" fmla="*/ 0 h 1788"/>
                <a:gd name="T14" fmla="*/ 308 w 1268"/>
                <a:gd name="T15" fmla="*/ 16 h 1788"/>
                <a:gd name="T16" fmla="*/ 280 w 1268"/>
                <a:gd name="T17" fmla="*/ 38 h 1788"/>
                <a:gd name="T18" fmla="*/ 262 w 1268"/>
                <a:gd name="T19" fmla="*/ 66 h 1788"/>
                <a:gd name="T20" fmla="*/ 270 w 1268"/>
                <a:gd name="T21" fmla="*/ 88 h 1788"/>
                <a:gd name="T22" fmla="*/ 270 w 1268"/>
                <a:gd name="T23" fmla="*/ 116 h 1788"/>
                <a:gd name="T24" fmla="*/ 330 w 1268"/>
                <a:gd name="T25" fmla="*/ 112 h 1788"/>
                <a:gd name="T26" fmla="*/ 328 w 1268"/>
                <a:gd name="T27" fmla="*/ 142 h 1788"/>
                <a:gd name="T28" fmla="*/ 326 w 1268"/>
                <a:gd name="T29" fmla="*/ 174 h 1788"/>
                <a:gd name="T30" fmla="*/ 418 w 1268"/>
                <a:gd name="T31" fmla="*/ 126 h 1788"/>
                <a:gd name="T32" fmla="*/ 328 w 1268"/>
                <a:gd name="T33" fmla="*/ 448 h 1788"/>
                <a:gd name="T34" fmla="*/ 296 w 1268"/>
                <a:gd name="T35" fmla="*/ 596 h 1788"/>
                <a:gd name="T36" fmla="*/ 214 w 1268"/>
                <a:gd name="T37" fmla="*/ 574 h 1788"/>
                <a:gd name="T38" fmla="*/ 98 w 1268"/>
                <a:gd name="T39" fmla="*/ 564 h 1788"/>
                <a:gd name="T40" fmla="*/ 4 w 1268"/>
                <a:gd name="T41" fmla="*/ 706 h 1788"/>
                <a:gd name="T42" fmla="*/ 16 w 1268"/>
                <a:gd name="T43" fmla="*/ 784 h 1788"/>
                <a:gd name="T44" fmla="*/ 62 w 1268"/>
                <a:gd name="T45" fmla="*/ 800 h 1788"/>
                <a:gd name="T46" fmla="*/ 110 w 1268"/>
                <a:gd name="T47" fmla="*/ 832 h 1788"/>
                <a:gd name="T48" fmla="*/ 154 w 1268"/>
                <a:gd name="T49" fmla="*/ 884 h 1788"/>
                <a:gd name="T50" fmla="*/ 188 w 1268"/>
                <a:gd name="T51" fmla="*/ 874 h 1788"/>
                <a:gd name="T52" fmla="*/ 216 w 1268"/>
                <a:gd name="T53" fmla="*/ 878 h 1788"/>
                <a:gd name="T54" fmla="*/ 262 w 1268"/>
                <a:gd name="T55" fmla="*/ 888 h 1788"/>
                <a:gd name="T56" fmla="*/ 316 w 1268"/>
                <a:gd name="T57" fmla="*/ 820 h 1788"/>
                <a:gd name="T58" fmla="*/ 398 w 1268"/>
                <a:gd name="T59" fmla="*/ 1026 h 1788"/>
                <a:gd name="T60" fmla="*/ 498 w 1268"/>
                <a:gd name="T61" fmla="*/ 1130 h 1788"/>
                <a:gd name="T62" fmla="*/ 498 w 1268"/>
                <a:gd name="T63" fmla="*/ 1286 h 1788"/>
                <a:gd name="T64" fmla="*/ 554 w 1268"/>
                <a:gd name="T65" fmla="*/ 1580 h 1788"/>
                <a:gd name="T66" fmla="*/ 440 w 1268"/>
                <a:gd name="T67" fmla="*/ 1664 h 1788"/>
                <a:gd name="T68" fmla="*/ 436 w 1268"/>
                <a:gd name="T69" fmla="*/ 1690 h 1788"/>
                <a:gd name="T70" fmla="*/ 440 w 1268"/>
                <a:gd name="T71" fmla="*/ 1768 h 1788"/>
                <a:gd name="T72" fmla="*/ 588 w 1268"/>
                <a:gd name="T73" fmla="*/ 1696 h 1788"/>
                <a:gd name="T74" fmla="*/ 630 w 1268"/>
                <a:gd name="T75" fmla="*/ 1440 h 1788"/>
                <a:gd name="T76" fmla="*/ 628 w 1268"/>
                <a:gd name="T77" fmla="*/ 1268 h 1788"/>
                <a:gd name="T78" fmla="*/ 952 w 1268"/>
                <a:gd name="T79" fmla="*/ 1426 h 1788"/>
                <a:gd name="T80" fmla="*/ 1002 w 1268"/>
                <a:gd name="T81" fmla="*/ 1414 h 1788"/>
                <a:gd name="T82" fmla="*/ 994 w 1268"/>
                <a:gd name="T83" fmla="*/ 1590 h 1788"/>
                <a:gd name="T84" fmla="*/ 1164 w 1268"/>
                <a:gd name="T85" fmla="*/ 1448 h 1788"/>
                <a:gd name="T86" fmla="*/ 1194 w 1268"/>
                <a:gd name="T87" fmla="*/ 1470 h 1788"/>
                <a:gd name="T88" fmla="*/ 1248 w 1268"/>
                <a:gd name="T89" fmla="*/ 1404 h 1788"/>
                <a:gd name="T90" fmla="*/ 1236 w 1268"/>
                <a:gd name="T91" fmla="*/ 1282 h 1788"/>
                <a:gd name="T92" fmla="*/ 1222 w 1268"/>
                <a:gd name="T93" fmla="*/ 1202 h 1788"/>
                <a:gd name="T94" fmla="*/ 1128 w 1268"/>
                <a:gd name="T95" fmla="*/ 1168 h 1788"/>
                <a:gd name="T96" fmla="*/ 1206 w 1268"/>
                <a:gd name="T97" fmla="*/ 920 h 1788"/>
                <a:gd name="T98" fmla="*/ 564 w 1268"/>
                <a:gd name="T99" fmla="*/ 1044 h 1788"/>
                <a:gd name="T100" fmla="*/ 530 w 1268"/>
                <a:gd name="T101" fmla="*/ 938 h 1788"/>
                <a:gd name="T102" fmla="*/ 644 w 1268"/>
                <a:gd name="T103" fmla="*/ 876 h 1788"/>
                <a:gd name="T104" fmla="*/ 676 w 1268"/>
                <a:gd name="T105" fmla="*/ 968 h 1788"/>
                <a:gd name="T106" fmla="*/ 766 w 1268"/>
                <a:gd name="T107" fmla="*/ 1122 h 1788"/>
                <a:gd name="T108" fmla="*/ 1078 w 1268"/>
                <a:gd name="T109" fmla="*/ 1230 h 1788"/>
                <a:gd name="T110" fmla="*/ 1140 w 1268"/>
                <a:gd name="T111" fmla="*/ 1332 h 1788"/>
                <a:gd name="T112" fmla="*/ 1040 w 1268"/>
                <a:gd name="T113" fmla="*/ 1316 h 17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68"/>
                <a:gd name="T172" fmla="*/ 0 h 1788"/>
                <a:gd name="T173" fmla="*/ 1268 w 1268"/>
                <a:gd name="T174" fmla="*/ 1788 h 17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68" h="1788">
                  <a:moveTo>
                    <a:pt x="1262" y="842"/>
                  </a:moveTo>
                  <a:lnTo>
                    <a:pt x="1262" y="842"/>
                  </a:lnTo>
                  <a:lnTo>
                    <a:pt x="1264" y="830"/>
                  </a:lnTo>
                  <a:lnTo>
                    <a:pt x="1268" y="800"/>
                  </a:lnTo>
                  <a:lnTo>
                    <a:pt x="1268" y="780"/>
                  </a:lnTo>
                  <a:lnTo>
                    <a:pt x="1268" y="756"/>
                  </a:lnTo>
                  <a:lnTo>
                    <a:pt x="1264" y="730"/>
                  </a:lnTo>
                  <a:lnTo>
                    <a:pt x="1258" y="702"/>
                  </a:lnTo>
                  <a:lnTo>
                    <a:pt x="1252" y="682"/>
                  </a:lnTo>
                  <a:lnTo>
                    <a:pt x="1244" y="662"/>
                  </a:lnTo>
                  <a:lnTo>
                    <a:pt x="1234" y="644"/>
                  </a:lnTo>
                  <a:lnTo>
                    <a:pt x="1224" y="626"/>
                  </a:lnTo>
                  <a:lnTo>
                    <a:pt x="1212" y="610"/>
                  </a:lnTo>
                  <a:lnTo>
                    <a:pt x="1200" y="594"/>
                  </a:lnTo>
                  <a:lnTo>
                    <a:pt x="1184" y="578"/>
                  </a:lnTo>
                  <a:lnTo>
                    <a:pt x="1168" y="566"/>
                  </a:lnTo>
                  <a:lnTo>
                    <a:pt x="1200" y="544"/>
                  </a:lnTo>
                  <a:lnTo>
                    <a:pt x="862" y="476"/>
                  </a:lnTo>
                  <a:lnTo>
                    <a:pt x="816" y="464"/>
                  </a:lnTo>
                  <a:lnTo>
                    <a:pt x="760" y="450"/>
                  </a:lnTo>
                  <a:lnTo>
                    <a:pt x="730" y="444"/>
                  </a:lnTo>
                  <a:lnTo>
                    <a:pt x="700" y="438"/>
                  </a:lnTo>
                  <a:lnTo>
                    <a:pt x="672" y="436"/>
                  </a:lnTo>
                  <a:lnTo>
                    <a:pt x="644" y="434"/>
                  </a:lnTo>
                  <a:lnTo>
                    <a:pt x="604" y="436"/>
                  </a:lnTo>
                  <a:lnTo>
                    <a:pt x="566" y="438"/>
                  </a:lnTo>
                  <a:lnTo>
                    <a:pt x="504" y="442"/>
                  </a:lnTo>
                  <a:lnTo>
                    <a:pt x="558" y="182"/>
                  </a:lnTo>
                  <a:lnTo>
                    <a:pt x="562" y="164"/>
                  </a:lnTo>
                  <a:lnTo>
                    <a:pt x="564" y="154"/>
                  </a:lnTo>
                  <a:lnTo>
                    <a:pt x="562" y="146"/>
                  </a:lnTo>
                  <a:lnTo>
                    <a:pt x="560" y="140"/>
                  </a:lnTo>
                  <a:lnTo>
                    <a:pt x="552" y="122"/>
                  </a:lnTo>
                  <a:lnTo>
                    <a:pt x="536" y="96"/>
                  </a:lnTo>
                  <a:lnTo>
                    <a:pt x="526" y="82"/>
                  </a:lnTo>
                  <a:lnTo>
                    <a:pt x="508" y="66"/>
                  </a:lnTo>
                  <a:lnTo>
                    <a:pt x="488" y="52"/>
                  </a:lnTo>
                  <a:lnTo>
                    <a:pt x="472" y="42"/>
                  </a:lnTo>
                  <a:lnTo>
                    <a:pt x="462" y="40"/>
                  </a:lnTo>
                  <a:lnTo>
                    <a:pt x="458" y="38"/>
                  </a:lnTo>
                  <a:lnTo>
                    <a:pt x="458" y="40"/>
                  </a:lnTo>
                  <a:lnTo>
                    <a:pt x="442" y="38"/>
                  </a:lnTo>
                  <a:lnTo>
                    <a:pt x="434" y="40"/>
                  </a:lnTo>
                  <a:lnTo>
                    <a:pt x="422" y="30"/>
                  </a:lnTo>
                  <a:lnTo>
                    <a:pt x="408" y="20"/>
                  </a:lnTo>
                  <a:lnTo>
                    <a:pt x="392" y="12"/>
                  </a:lnTo>
                  <a:lnTo>
                    <a:pt x="338" y="0"/>
                  </a:lnTo>
                  <a:lnTo>
                    <a:pt x="330" y="0"/>
                  </a:lnTo>
                  <a:lnTo>
                    <a:pt x="322" y="2"/>
                  </a:lnTo>
                  <a:lnTo>
                    <a:pt x="312" y="6"/>
                  </a:lnTo>
                  <a:lnTo>
                    <a:pt x="310" y="10"/>
                  </a:lnTo>
                  <a:lnTo>
                    <a:pt x="308" y="12"/>
                  </a:lnTo>
                  <a:lnTo>
                    <a:pt x="308" y="16"/>
                  </a:lnTo>
                  <a:lnTo>
                    <a:pt x="310" y="20"/>
                  </a:lnTo>
                  <a:lnTo>
                    <a:pt x="312" y="22"/>
                  </a:lnTo>
                  <a:lnTo>
                    <a:pt x="334" y="24"/>
                  </a:lnTo>
                  <a:lnTo>
                    <a:pt x="332" y="26"/>
                  </a:lnTo>
                  <a:lnTo>
                    <a:pt x="310" y="26"/>
                  </a:lnTo>
                  <a:lnTo>
                    <a:pt x="282" y="38"/>
                  </a:lnTo>
                  <a:lnTo>
                    <a:pt x="280" y="38"/>
                  </a:lnTo>
                  <a:lnTo>
                    <a:pt x="274" y="42"/>
                  </a:lnTo>
                  <a:lnTo>
                    <a:pt x="272" y="44"/>
                  </a:lnTo>
                  <a:lnTo>
                    <a:pt x="272" y="48"/>
                  </a:lnTo>
                  <a:lnTo>
                    <a:pt x="274" y="52"/>
                  </a:lnTo>
                  <a:lnTo>
                    <a:pt x="280" y="56"/>
                  </a:lnTo>
                  <a:lnTo>
                    <a:pt x="298" y="52"/>
                  </a:lnTo>
                  <a:lnTo>
                    <a:pt x="298" y="54"/>
                  </a:lnTo>
                  <a:lnTo>
                    <a:pt x="262" y="66"/>
                  </a:lnTo>
                  <a:lnTo>
                    <a:pt x="258" y="68"/>
                  </a:lnTo>
                  <a:lnTo>
                    <a:pt x="256" y="72"/>
                  </a:lnTo>
                  <a:lnTo>
                    <a:pt x="256" y="76"/>
                  </a:lnTo>
                  <a:lnTo>
                    <a:pt x="260" y="82"/>
                  </a:lnTo>
                  <a:lnTo>
                    <a:pt x="264" y="86"/>
                  </a:lnTo>
                  <a:lnTo>
                    <a:pt x="270" y="88"/>
                  </a:lnTo>
                  <a:lnTo>
                    <a:pt x="314" y="82"/>
                  </a:lnTo>
                  <a:lnTo>
                    <a:pt x="316" y="84"/>
                  </a:lnTo>
                  <a:lnTo>
                    <a:pt x="276" y="98"/>
                  </a:lnTo>
                  <a:lnTo>
                    <a:pt x="272" y="102"/>
                  </a:lnTo>
                  <a:lnTo>
                    <a:pt x="268" y="108"/>
                  </a:lnTo>
                  <a:lnTo>
                    <a:pt x="270" y="116"/>
                  </a:lnTo>
                  <a:lnTo>
                    <a:pt x="272" y="118"/>
                  </a:lnTo>
                  <a:lnTo>
                    <a:pt x="276" y="122"/>
                  </a:lnTo>
                  <a:lnTo>
                    <a:pt x="284" y="124"/>
                  </a:lnTo>
                  <a:lnTo>
                    <a:pt x="292" y="122"/>
                  </a:lnTo>
                  <a:lnTo>
                    <a:pt x="298" y="122"/>
                  </a:lnTo>
                  <a:lnTo>
                    <a:pt x="330" y="112"/>
                  </a:lnTo>
                  <a:lnTo>
                    <a:pt x="344" y="116"/>
                  </a:lnTo>
                  <a:lnTo>
                    <a:pt x="354" y="120"/>
                  </a:lnTo>
                  <a:lnTo>
                    <a:pt x="358" y="124"/>
                  </a:lnTo>
                  <a:lnTo>
                    <a:pt x="362" y="128"/>
                  </a:lnTo>
                  <a:lnTo>
                    <a:pt x="350" y="132"/>
                  </a:lnTo>
                  <a:lnTo>
                    <a:pt x="338" y="136"/>
                  </a:lnTo>
                  <a:lnTo>
                    <a:pt x="328" y="142"/>
                  </a:lnTo>
                  <a:lnTo>
                    <a:pt x="324" y="146"/>
                  </a:lnTo>
                  <a:lnTo>
                    <a:pt x="320" y="152"/>
                  </a:lnTo>
                  <a:lnTo>
                    <a:pt x="318" y="162"/>
                  </a:lnTo>
                  <a:lnTo>
                    <a:pt x="320" y="170"/>
                  </a:lnTo>
                  <a:lnTo>
                    <a:pt x="324" y="174"/>
                  </a:lnTo>
                  <a:lnTo>
                    <a:pt x="326" y="174"/>
                  </a:lnTo>
                  <a:lnTo>
                    <a:pt x="330" y="174"/>
                  </a:lnTo>
                  <a:lnTo>
                    <a:pt x="332" y="170"/>
                  </a:lnTo>
                  <a:lnTo>
                    <a:pt x="340" y="166"/>
                  </a:lnTo>
                  <a:lnTo>
                    <a:pt x="354" y="162"/>
                  </a:lnTo>
                  <a:lnTo>
                    <a:pt x="368" y="158"/>
                  </a:lnTo>
                  <a:lnTo>
                    <a:pt x="380" y="156"/>
                  </a:lnTo>
                  <a:lnTo>
                    <a:pt x="418" y="126"/>
                  </a:lnTo>
                  <a:lnTo>
                    <a:pt x="424" y="184"/>
                  </a:lnTo>
                  <a:lnTo>
                    <a:pt x="394" y="342"/>
                  </a:lnTo>
                  <a:lnTo>
                    <a:pt x="384" y="354"/>
                  </a:lnTo>
                  <a:lnTo>
                    <a:pt x="362" y="386"/>
                  </a:lnTo>
                  <a:lnTo>
                    <a:pt x="350" y="406"/>
                  </a:lnTo>
                  <a:lnTo>
                    <a:pt x="338" y="426"/>
                  </a:lnTo>
                  <a:lnTo>
                    <a:pt x="328" y="448"/>
                  </a:lnTo>
                  <a:lnTo>
                    <a:pt x="322" y="468"/>
                  </a:lnTo>
                  <a:lnTo>
                    <a:pt x="316" y="506"/>
                  </a:lnTo>
                  <a:lnTo>
                    <a:pt x="312" y="534"/>
                  </a:lnTo>
                  <a:lnTo>
                    <a:pt x="310" y="560"/>
                  </a:lnTo>
                  <a:lnTo>
                    <a:pt x="304" y="578"/>
                  </a:lnTo>
                  <a:lnTo>
                    <a:pt x="296" y="596"/>
                  </a:lnTo>
                  <a:lnTo>
                    <a:pt x="290" y="620"/>
                  </a:lnTo>
                  <a:lnTo>
                    <a:pt x="270" y="612"/>
                  </a:lnTo>
                  <a:lnTo>
                    <a:pt x="258" y="606"/>
                  </a:lnTo>
                  <a:lnTo>
                    <a:pt x="246" y="594"/>
                  </a:lnTo>
                  <a:lnTo>
                    <a:pt x="230" y="584"/>
                  </a:lnTo>
                  <a:lnTo>
                    <a:pt x="214" y="574"/>
                  </a:lnTo>
                  <a:lnTo>
                    <a:pt x="196" y="566"/>
                  </a:lnTo>
                  <a:lnTo>
                    <a:pt x="176" y="560"/>
                  </a:lnTo>
                  <a:lnTo>
                    <a:pt x="156" y="556"/>
                  </a:lnTo>
                  <a:lnTo>
                    <a:pt x="136" y="554"/>
                  </a:lnTo>
                  <a:lnTo>
                    <a:pt x="116" y="556"/>
                  </a:lnTo>
                  <a:lnTo>
                    <a:pt x="108" y="558"/>
                  </a:lnTo>
                  <a:lnTo>
                    <a:pt x="98" y="564"/>
                  </a:lnTo>
                  <a:lnTo>
                    <a:pt x="88" y="568"/>
                  </a:lnTo>
                  <a:lnTo>
                    <a:pt x="80" y="576"/>
                  </a:lnTo>
                  <a:lnTo>
                    <a:pt x="64" y="594"/>
                  </a:lnTo>
                  <a:lnTo>
                    <a:pt x="48" y="616"/>
                  </a:lnTo>
                  <a:lnTo>
                    <a:pt x="34" y="638"/>
                  </a:lnTo>
                  <a:lnTo>
                    <a:pt x="22" y="662"/>
                  </a:lnTo>
                  <a:lnTo>
                    <a:pt x="12" y="684"/>
                  </a:lnTo>
                  <a:lnTo>
                    <a:pt x="4" y="706"/>
                  </a:lnTo>
                  <a:lnTo>
                    <a:pt x="0" y="724"/>
                  </a:lnTo>
                  <a:lnTo>
                    <a:pt x="0" y="740"/>
                  </a:lnTo>
                  <a:lnTo>
                    <a:pt x="2" y="752"/>
                  </a:lnTo>
                  <a:lnTo>
                    <a:pt x="4" y="764"/>
                  </a:lnTo>
                  <a:lnTo>
                    <a:pt x="8" y="772"/>
                  </a:lnTo>
                  <a:lnTo>
                    <a:pt x="12" y="778"/>
                  </a:lnTo>
                  <a:lnTo>
                    <a:pt x="16" y="784"/>
                  </a:lnTo>
                  <a:lnTo>
                    <a:pt x="18" y="780"/>
                  </a:lnTo>
                  <a:lnTo>
                    <a:pt x="24" y="778"/>
                  </a:lnTo>
                  <a:lnTo>
                    <a:pt x="30" y="778"/>
                  </a:lnTo>
                  <a:lnTo>
                    <a:pt x="38" y="780"/>
                  </a:lnTo>
                  <a:lnTo>
                    <a:pt x="46" y="784"/>
                  </a:lnTo>
                  <a:lnTo>
                    <a:pt x="62" y="800"/>
                  </a:lnTo>
                  <a:lnTo>
                    <a:pt x="76" y="814"/>
                  </a:lnTo>
                  <a:lnTo>
                    <a:pt x="86" y="822"/>
                  </a:lnTo>
                  <a:lnTo>
                    <a:pt x="92" y="826"/>
                  </a:lnTo>
                  <a:lnTo>
                    <a:pt x="98" y="826"/>
                  </a:lnTo>
                  <a:lnTo>
                    <a:pt x="104" y="826"/>
                  </a:lnTo>
                  <a:lnTo>
                    <a:pt x="110" y="832"/>
                  </a:lnTo>
                  <a:lnTo>
                    <a:pt x="116" y="838"/>
                  </a:lnTo>
                  <a:lnTo>
                    <a:pt x="128" y="858"/>
                  </a:lnTo>
                  <a:lnTo>
                    <a:pt x="138" y="876"/>
                  </a:lnTo>
                  <a:lnTo>
                    <a:pt x="144" y="884"/>
                  </a:lnTo>
                  <a:lnTo>
                    <a:pt x="148" y="886"/>
                  </a:lnTo>
                  <a:lnTo>
                    <a:pt x="154" y="884"/>
                  </a:lnTo>
                  <a:lnTo>
                    <a:pt x="160" y="880"/>
                  </a:lnTo>
                  <a:lnTo>
                    <a:pt x="166" y="872"/>
                  </a:lnTo>
                  <a:lnTo>
                    <a:pt x="172" y="860"/>
                  </a:lnTo>
                  <a:lnTo>
                    <a:pt x="174" y="860"/>
                  </a:lnTo>
                  <a:lnTo>
                    <a:pt x="178" y="862"/>
                  </a:lnTo>
                  <a:lnTo>
                    <a:pt x="184" y="866"/>
                  </a:lnTo>
                  <a:lnTo>
                    <a:pt x="188" y="874"/>
                  </a:lnTo>
                  <a:lnTo>
                    <a:pt x="194" y="874"/>
                  </a:lnTo>
                  <a:lnTo>
                    <a:pt x="200" y="872"/>
                  </a:lnTo>
                  <a:lnTo>
                    <a:pt x="206" y="868"/>
                  </a:lnTo>
                  <a:lnTo>
                    <a:pt x="208" y="874"/>
                  </a:lnTo>
                  <a:lnTo>
                    <a:pt x="210" y="876"/>
                  </a:lnTo>
                  <a:lnTo>
                    <a:pt x="216" y="878"/>
                  </a:lnTo>
                  <a:lnTo>
                    <a:pt x="222" y="876"/>
                  </a:lnTo>
                  <a:lnTo>
                    <a:pt x="228" y="874"/>
                  </a:lnTo>
                  <a:lnTo>
                    <a:pt x="234" y="878"/>
                  </a:lnTo>
                  <a:lnTo>
                    <a:pt x="244" y="882"/>
                  </a:lnTo>
                  <a:lnTo>
                    <a:pt x="252" y="886"/>
                  </a:lnTo>
                  <a:lnTo>
                    <a:pt x="262" y="888"/>
                  </a:lnTo>
                  <a:lnTo>
                    <a:pt x="268" y="884"/>
                  </a:lnTo>
                  <a:lnTo>
                    <a:pt x="274" y="880"/>
                  </a:lnTo>
                  <a:lnTo>
                    <a:pt x="280" y="872"/>
                  </a:lnTo>
                  <a:lnTo>
                    <a:pt x="298" y="824"/>
                  </a:lnTo>
                  <a:lnTo>
                    <a:pt x="316" y="820"/>
                  </a:lnTo>
                  <a:lnTo>
                    <a:pt x="332" y="858"/>
                  </a:lnTo>
                  <a:lnTo>
                    <a:pt x="350" y="892"/>
                  </a:lnTo>
                  <a:lnTo>
                    <a:pt x="370" y="926"/>
                  </a:lnTo>
                  <a:lnTo>
                    <a:pt x="372" y="948"/>
                  </a:lnTo>
                  <a:lnTo>
                    <a:pt x="378" y="970"/>
                  </a:lnTo>
                  <a:lnTo>
                    <a:pt x="386" y="996"/>
                  </a:lnTo>
                  <a:lnTo>
                    <a:pt x="398" y="1026"/>
                  </a:lnTo>
                  <a:lnTo>
                    <a:pt x="406" y="1040"/>
                  </a:lnTo>
                  <a:lnTo>
                    <a:pt x="414" y="1054"/>
                  </a:lnTo>
                  <a:lnTo>
                    <a:pt x="424" y="1070"/>
                  </a:lnTo>
                  <a:lnTo>
                    <a:pt x="436" y="1082"/>
                  </a:lnTo>
                  <a:lnTo>
                    <a:pt x="450" y="1094"/>
                  </a:lnTo>
                  <a:lnTo>
                    <a:pt x="464" y="1106"/>
                  </a:lnTo>
                  <a:lnTo>
                    <a:pt x="498" y="1130"/>
                  </a:lnTo>
                  <a:lnTo>
                    <a:pt x="500" y="1132"/>
                  </a:lnTo>
                  <a:lnTo>
                    <a:pt x="494" y="1128"/>
                  </a:lnTo>
                  <a:lnTo>
                    <a:pt x="464" y="1108"/>
                  </a:lnTo>
                  <a:lnTo>
                    <a:pt x="506" y="1266"/>
                  </a:lnTo>
                  <a:lnTo>
                    <a:pt x="504" y="1270"/>
                  </a:lnTo>
                  <a:lnTo>
                    <a:pt x="500" y="1276"/>
                  </a:lnTo>
                  <a:lnTo>
                    <a:pt x="498" y="1286"/>
                  </a:lnTo>
                  <a:lnTo>
                    <a:pt x="496" y="1298"/>
                  </a:lnTo>
                  <a:lnTo>
                    <a:pt x="496" y="1314"/>
                  </a:lnTo>
                  <a:lnTo>
                    <a:pt x="498" y="1332"/>
                  </a:lnTo>
                  <a:lnTo>
                    <a:pt x="502" y="1356"/>
                  </a:lnTo>
                  <a:lnTo>
                    <a:pt x="536" y="1492"/>
                  </a:lnTo>
                  <a:lnTo>
                    <a:pt x="550" y="1558"/>
                  </a:lnTo>
                  <a:lnTo>
                    <a:pt x="554" y="1580"/>
                  </a:lnTo>
                  <a:lnTo>
                    <a:pt x="554" y="1594"/>
                  </a:lnTo>
                  <a:lnTo>
                    <a:pt x="540" y="1644"/>
                  </a:lnTo>
                  <a:lnTo>
                    <a:pt x="474" y="1644"/>
                  </a:lnTo>
                  <a:lnTo>
                    <a:pt x="466" y="1648"/>
                  </a:lnTo>
                  <a:lnTo>
                    <a:pt x="448" y="1658"/>
                  </a:lnTo>
                  <a:lnTo>
                    <a:pt x="440" y="1664"/>
                  </a:lnTo>
                  <a:lnTo>
                    <a:pt x="434" y="1670"/>
                  </a:lnTo>
                  <a:lnTo>
                    <a:pt x="432" y="1680"/>
                  </a:lnTo>
                  <a:lnTo>
                    <a:pt x="432" y="1684"/>
                  </a:lnTo>
                  <a:lnTo>
                    <a:pt x="434" y="1688"/>
                  </a:lnTo>
                  <a:lnTo>
                    <a:pt x="440" y="1698"/>
                  </a:lnTo>
                  <a:lnTo>
                    <a:pt x="436" y="1690"/>
                  </a:lnTo>
                  <a:lnTo>
                    <a:pt x="432" y="1694"/>
                  </a:lnTo>
                  <a:lnTo>
                    <a:pt x="422" y="1708"/>
                  </a:lnTo>
                  <a:lnTo>
                    <a:pt x="420" y="1716"/>
                  </a:lnTo>
                  <a:lnTo>
                    <a:pt x="418" y="1726"/>
                  </a:lnTo>
                  <a:lnTo>
                    <a:pt x="420" y="1738"/>
                  </a:lnTo>
                  <a:lnTo>
                    <a:pt x="426" y="1750"/>
                  </a:lnTo>
                  <a:lnTo>
                    <a:pt x="440" y="1768"/>
                  </a:lnTo>
                  <a:lnTo>
                    <a:pt x="452" y="1780"/>
                  </a:lnTo>
                  <a:lnTo>
                    <a:pt x="462" y="1788"/>
                  </a:lnTo>
                  <a:lnTo>
                    <a:pt x="462" y="1718"/>
                  </a:lnTo>
                  <a:lnTo>
                    <a:pt x="564" y="1718"/>
                  </a:lnTo>
                  <a:lnTo>
                    <a:pt x="568" y="1716"/>
                  </a:lnTo>
                  <a:lnTo>
                    <a:pt x="576" y="1708"/>
                  </a:lnTo>
                  <a:lnTo>
                    <a:pt x="588" y="1696"/>
                  </a:lnTo>
                  <a:lnTo>
                    <a:pt x="592" y="1688"/>
                  </a:lnTo>
                  <a:lnTo>
                    <a:pt x="596" y="1678"/>
                  </a:lnTo>
                  <a:lnTo>
                    <a:pt x="604" y="1632"/>
                  </a:lnTo>
                  <a:lnTo>
                    <a:pt x="616" y="1560"/>
                  </a:lnTo>
                  <a:lnTo>
                    <a:pt x="628" y="1464"/>
                  </a:lnTo>
                  <a:lnTo>
                    <a:pt x="630" y="1440"/>
                  </a:lnTo>
                  <a:lnTo>
                    <a:pt x="630" y="1380"/>
                  </a:lnTo>
                  <a:lnTo>
                    <a:pt x="628" y="1346"/>
                  </a:lnTo>
                  <a:lnTo>
                    <a:pt x="624" y="1312"/>
                  </a:lnTo>
                  <a:lnTo>
                    <a:pt x="616" y="1280"/>
                  </a:lnTo>
                  <a:lnTo>
                    <a:pt x="612" y="1268"/>
                  </a:lnTo>
                  <a:lnTo>
                    <a:pt x="606" y="1256"/>
                  </a:lnTo>
                  <a:lnTo>
                    <a:pt x="614" y="1236"/>
                  </a:lnTo>
                  <a:lnTo>
                    <a:pt x="628" y="1268"/>
                  </a:lnTo>
                  <a:lnTo>
                    <a:pt x="678" y="1294"/>
                  </a:lnTo>
                  <a:lnTo>
                    <a:pt x="790" y="1354"/>
                  </a:lnTo>
                  <a:lnTo>
                    <a:pt x="850" y="1384"/>
                  </a:lnTo>
                  <a:lnTo>
                    <a:pt x="902" y="1410"/>
                  </a:lnTo>
                  <a:lnTo>
                    <a:pt x="940" y="1424"/>
                  </a:lnTo>
                  <a:lnTo>
                    <a:pt x="950" y="1426"/>
                  </a:lnTo>
                  <a:lnTo>
                    <a:pt x="952" y="1426"/>
                  </a:lnTo>
                  <a:lnTo>
                    <a:pt x="954" y="1426"/>
                  </a:lnTo>
                  <a:lnTo>
                    <a:pt x="956" y="1418"/>
                  </a:lnTo>
                  <a:lnTo>
                    <a:pt x="960" y="1410"/>
                  </a:lnTo>
                  <a:lnTo>
                    <a:pt x="978" y="1384"/>
                  </a:lnTo>
                  <a:lnTo>
                    <a:pt x="992" y="1400"/>
                  </a:lnTo>
                  <a:lnTo>
                    <a:pt x="1002" y="1414"/>
                  </a:lnTo>
                  <a:lnTo>
                    <a:pt x="1010" y="1430"/>
                  </a:lnTo>
                  <a:lnTo>
                    <a:pt x="988" y="1500"/>
                  </a:lnTo>
                  <a:lnTo>
                    <a:pt x="908" y="1584"/>
                  </a:lnTo>
                  <a:lnTo>
                    <a:pt x="926" y="1600"/>
                  </a:lnTo>
                  <a:lnTo>
                    <a:pt x="956" y="1594"/>
                  </a:lnTo>
                  <a:lnTo>
                    <a:pt x="974" y="1594"/>
                  </a:lnTo>
                  <a:lnTo>
                    <a:pt x="994" y="1590"/>
                  </a:lnTo>
                  <a:lnTo>
                    <a:pt x="1014" y="1584"/>
                  </a:lnTo>
                  <a:lnTo>
                    <a:pt x="1034" y="1576"/>
                  </a:lnTo>
                  <a:lnTo>
                    <a:pt x="1046" y="1572"/>
                  </a:lnTo>
                  <a:lnTo>
                    <a:pt x="1118" y="1484"/>
                  </a:lnTo>
                  <a:lnTo>
                    <a:pt x="1126" y="1498"/>
                  </a:lnTo>
                  <a:lnTo>
                    <a:pt x="1164" y="1442"/>
                  </a:lnTo>
                  <a:lnTo>
                    <a:pt x="1164" y="1448"/>
                  </a:lnTo>
                  <a:lnTo>
                    <a:pt x="1166" y="1460"/>
                  </a:lnTo>
                  <a:lnTo>
                    <a:pt x="1168" y="1468"/>
                  </a:lnTo>
                  <a:lnTo>
                    <a:pt x="1170" y="1474"/>
                  </a:lnTo>
                  <a:lnTo>
                    <a:pt x="1172" y="1478"/>
                  </a:lnTo>
                  <a:lnTo>
                    <a:pt x="1178" y="1478"/>
                  </a:lnTo>
                  <a:lnTo>
                    <a:pt x="1184" y="1476"/>
                  </a:lnTo>
                  <a:lnTo>
                    <a:pt x="1194" y="1470"/>
                  </a:lnTo>
                  <a:lnTo>
                    <a:pt x="1206" y="1464"/>
                  </a:lnTo>
                  <a:lnTo>
                    <a:pt x="1218" y="1454"/>
                  </a:lnTo>
                  <a:lnTo>
                    <a:pt x="1230" y="1444"/>
                  </a:lnTo>
                  <a:lnTo>
                    <a:pt x="1238" y="1430"/>
                  </a:lnTo>
                  <a:lnTo>
                    <a:pt x="1246" y="1418"/>
                  </a:lnTo>
                  <a:lnTo>
                    <a:pt x="1246" y="1410"/>
                  </a:lnTo>
                  <a:lnTo>
                    <a:pt x="1248" y="1404"/>
                  </a:lnTo>
                  <a:lnTo>
                    <a:pt x="1250" y="1394"/>
                  </a:lnTo>
                  <a:lnTo>
                    <a:pt x="1254" y="1384"/>
                  </a:lnTo>
                  <a:lnTo>
                    <a:pt x="1254" y="1370"/>
                  </a:lnTo>
                  <a:lnTo>
                    <a:pt x="1254" y="1352"/>
                  </a:lnTo>
                  <a:lnTo>
                    <a:pt x="1252" y="1332"/>
                  </a:lnTo>
                  <a:lnTo>
                    <a:pt x="1246" y="1308"/>
                  </a:lnTo>
                  <a:lnTo>
                    <a:pt x="1236" y="1282"/>
                  </a:lnTo>
                  <a:lnTo>
                    <a:pt x="1240" y="1258"/>
                  </a:lnTo>
                  <a:lnTo>
                    <a:pt x="1242" y="1238"/>
                  </a:lnTo>
                  <a:lnTo>
                    <a:pt x="1242" y="1228"/>
                  </a:lnTo>
                  <a:lnTo>
                    <a:pt x="1240" y="1218"/>
                  </a:lnTo>
                  <a:lnTo>
                    <a:pt x="1238" y="1214"/>
                  </a:lnTo>
                  <a:lnTo>
                    <a:pt x="1234" y="1210"/>
                  </a:lnTo>
                  <a:lnTo>
                    <a:pt x="1222" y="1202"/>
                  </a:lnTo>
                  <a:lnTo>
                    <a:pt x="1208" y="1196"/>
                  </a:lnTo>
                  <a:lnTo>
                    <a:pt x="1190" y="1190"/>
                  </a:lnTo>
                  <a:lnTo>
                    <a:pt x="1160" y="1184"/>
                  </a:lnTo>
                  <a:lnTo>
                    <a:pt x="1148" y="1182"/>
                  </a:lnTo>
                  <a:lnTo>
                    <a:pt x="1142" y="1178"/>
                  </a:lnTo>
                  <a:lnTo>
                    <a:pt x="1128" y="1168"/>
                  </a:lnTo>
                  <a:lnTo>
                    <a:pt x="1156" y="1150"/>
                  </a:lnTo>
                  <a:lnTo>
                    <a:pt x="1042" y="1024"/>
                  </a:lnTo>
                  <a:lnTo>
                    <a:pt x="1090" y="998"/>
                  </a:lnTo>
                  <a:lnTo>
                    <a:pt x="1122" y="980"/>
                  </a:lnTo>
                  <a:lnTo>
                    <a:pt x="1156" y="958"/>
                  </a:lnTo>
                  <a:lnTo>
                    <a:pt x="1190" y="934"/>
                  </a:lnTo>
                  <a:lnTo>
                    <a:pt x="1206" y="920"/>
                  </a:lnTo>
                  <a:lnTo>
                    <a:pt x="1220" y="906"/>
                  </a:lnTo>
                  <a:lnTo>
                    <a:pt x="1234" y="890"/>
                  </a:lnTo>
                  <a:lnTo>
                    <a:pt x="1246" y="874"/>
                  </a:lnTo>
                  <a:lnTo>
                    <a:pt x="1254" y="858"/>
                  </a:lnTo>
                  <a:lnTo>
                    <a:pt x="1262" y="842"/>
                  </a:lnTo>
                  <a:close/>
                  <a:moveTo>
                    <a:pt x="564" y="1044"/>
                  </a:moveTo>
                  <a:lnTo>
                    <a:pt x="564" y="1044"/>
                  </a:lnTo>
                  <a:lnTo>
                    <a:pt x="538" y="994"/>
                  </a:lnTo>
                  <a:lnTo>
                    <a:pt x="528" y="974"/>
                  </a:lnTo>
                  <a:lnTo>
                    <a:pt x="526" y="958"/>
                  </a:lnTo>
                  <a:lnTo>
                    <a:pt x="526" y="948"/>
                  </a:lnTo>
                  <a:lnTo>
                    <a:pt x="526" y="946"/>
                  </a:lnTo>
                  <a:lnTo>
                    <a:pt x="530" y="938"/>
                  </a:lnTo>
                  <a:lnTo>
                    <a:pt x="534" y="930"/>
                  </a:lnTo>
                  <a:lnTo>
                    <a:pt x="550" y="916"/>
                  </a:lnTo>
                  <a:lnTo>
                    <a:pt x="570" y="902"/>
                  </a:lnTo>
                  <a:lnTo>
                    <a:pt x="590" y="890"/>
                  </a:lnTo>
                  <a:lnTo>
                    <a:pt x="628" y="872"/>
                  </a:lnTo>
                  <a:lnTo>
                    <a:pt x="646" y="864"/>
                  </a:lnTo>
                  <a:lnTo>
                    <a:pt x="644" y="876"/>
                  </a:lnTo>
                  <a:lnTo>
                    <a:pt x="642" y="898"/>
                  </a:lnTo>
                  <a:lnTo>
                    <a:pt x="644" y="906"/>
                  </a:lnTo>
                  <a:lnTo>
                    <a:pt x="650" y="914"/>
                  </a:lnTo>
                  <a:lnTo>
                    <a:pt x="666" y="934"/>
                  </a:lnTo>
                  <a:lnTo>
                    <a:pt x="690" y="960"/>
                  </a:lnTo>
                  <a:lnTo>
                    <a:pt x="676" y="968"/>
                  </a:lnTo>
                  <a:lnTo>
                    <a:pt x="660" y="978"/>
                  </a:lnTo>
                  <a:lnTo>
                    <a:pt x="616" y="1006"/>
                  </a:lnTo>
                  <a:lnTo>
                    <a:pt x="564" y="1044"/>
                  </a:lnTo>
                  <a:close/>
                  <a:moveTo>
                    <a:pt x="754" y="1130"/>
                  </a:moveTo>
                  <a:lnTo>
                    <a:pt x="754" y="1130"/>
                  </a:lnTo>
                  <a:lnTo>
                    <a:pt x="744" y="1128"/>
                  </a:lnTo>
                  <a:lnTo>
                    <a:pt x="766" y="1122"/>
                  </a:lnTo>
                  <a:lnTo>
                    <a:pt x="754" y="1130"/>
                  </a:lnTo>
                  <a:close/>
                  <a:moveTo>
                    <a:pt x="1050" y="1232"/>
                  </a:moveTo>
                  <a:lnTo>
                    <a:pt x="1050" y="1232"/>
                  </a:lnTo>
                  <a:lnTo>
                    <a:pt x="1056" y="1222"/>
                  </a:lnTo>
                  <a:lnTo>
                    <a:pt x="1068" y="1212"/>
                  </a:lnTo>
                  <a:lnTo>
                    <a:pt x="1078" y="1230"/>
                  </a:lnTo>
                  <a:lnTo>
                    <a:pt x="1084" y="1240"/>
                  </a:lnTo>
                  <a:lnTo>
                    <a:pt x="1092" y="1250"/>
                  </a:lnTo>
                  <a:lnTo>
                    <a:pt x="1104" y="1262"/>
                  </a:lnTo>
                  <a:lnTo>
                    <a:pt x="1116" y="1274"/>
                  </a:lnTo>
                  <a:lnTo>
                    <a:pt x="1122" y="1284"/>
                  </a:lnTo>
                  <a:lnTo>
                    <a:pt x="1128" y="1298"/>
                  </a:lnTo>
                  <a:lnTo>
                    <a:pt x="1140" y="1332"/>
                  </a:lnTo>
                  <a:lnTo>
                    <a:pt x="1154" y="1376"/>
                  </a:lnTo>
                  <a:lnTo>
                    <a:pt x="1096" y="1346"/>
                  </a:lnTo>
                  <a:lnTo>
                    <a:pt x="1072" y="1334"/>
                  </a:lnTo>
                  <a:lnTo>
                    <a:pt x="1058" y="1328"/>
                  </a:lnTo>
                  <a:lnTo>
                    <a:pt x="1040" y="1316"/>
                  </a:lnTo>
                  <a:lnTo>
                    <a:pt x="1054" y="1302"/>
                  </a:lnTo>
                  <a:lnTo>
                    <a:pt x="1060" y="1280"/>
                  </a:lnTo>
                  <a:lnTo>
                    <a:pt x="898" y="1188"/>
                  </a:lnTo>
                  <a:lnTo>
                    <a:pt x="816" y="1108"/>
                  </a:lnTo>
                  <a:lnTo>
                    <a:pt x="864" y="1094"/>
                  </a:lnTo>
                  <a:lnTo>
                    <a:pt x="1050" y="1232"/>
                  </a:lnTo>
                  <a:close/>
                </a:path>
              </a:pathLst>
            </a:custGeom>
            <a:grpFill/>
            <a:ln w="9525">
              <a:noFill/>
              <a:round/>
              <a:headEnd/>
              <a:tailEnd/>
            </a:ln>
            <a:effectLst>
              <a:reflection blurRad="6350" stA="52000" endA="300" endPos="35000" dir="5400000" sy="-100000" algn="bl" rotWithShape="0"/>
            </a:effectLst>
          </p:spPr>
          <p:txBody>
            <a:bodyPr/>
            <a:lstStyle/>
            <a:p>
              <a:pPr>
                <a:defRPr/>
              </a:pPr>
              <a:endParaRPr lang="da-DK" sz="11200" dirty="0">
                <a:latin typeface="Calibri"/>
              </a:endParaRPr>
            </a:p>
          </p:txBody>
        </p:sp>
        <p:sp>
          <p:nvSpPr>
            <p:cNvPr id="21" name="Freeform 38"/>
            <p:cNvSpPr>
              <a:spLocks/>
            </p:cNvSpPr>
            <p:nvPr/>
          </p:nvSpPr>
          <p:spPr bwMode="auto">
            <a:xfrm>
              <a:off x="8780463" y="7658100"/>
              <a:ext cx="92075" cy="317500"/>
            </a:xfrm>
            <a:custGeom>
              <a:avLst/>
              <a:gdLst>
                <a:gd name="T0" fmla="*/ 2147483647 w 58"/>
                <a:gd name="T1" fmla="*/ 2147483647 h 200"/>
                <a:gd name="T2" fmla="*/ 2147483647 w 58"/>
                <a:gd name="T3" fmla="*/ 2147483647 h 200"/>
                <a:gd name="T4" fmla="*/ 2147483647 w 58"/>
                <a:gd name="T5" fmla="*/ 2147483647 h 200"/>
                <a:gd name="T6" fmla="*/ 2147483647 w 58"/>
                <a:gd name="T7" fmla="*/ 2147483647 h 200"/>
                <a:gd name="T8" fmla="*/ 2147483647 w 58"/>
                <a:gd name="T9" fmla="*/ 2147483647 h 200"/>
                <a:gd name="T10" fmla="*/ 2147483647 w 58"/>
                <a:gd name="T11" fmla="*/ 2147483647 h 200"/>
                <a:gd name="T12" fmla="*/ 2147483647 w 58"/>
                <a:gd name="T13" fmla="*/ 2147483647 h 200"/>
                <a:gd name="T14" fmla="*/ 2147483647 w 58"/>
                <a:gd name="T15" fmla="*/ 2147483647 h 200"/>
                <a:gd name="T16" fmla="*/ 2147483647 w 58"/>
                <a:gd name="T17" fmla="*/ 2147483647 h 200"/>
                <a:gd name="T18" fmla="*/ 2147483647 w 58"/>
                <a:gd name="T19" fmla="*/ 2147483647 h 200"/>
                <a:gd name="T20" fmla="*/ 2147483647 w 58"/>
                <a:gd name="T21" fmla="*/ 2147483647 h 200"/>
                <a:gd name="T22" fmla="*/ 2147483647 w 58"/>
                <a:gd name="T23" fmla="*/ 2147483647 h 200"/>
                <a:gd name="T24" fmla="*/ 0 w 58"/>
                <a:gd name="T25" fmla="*/ 2147483647 h 200"/>
                <a:gd name="T26" fmla="*/ 2147483647 w 58"/>
                <a:gd name="T27" fmla="*/ 2147483647 h 200"/>
                <a:gd name="T28" fmla="*/ 2147483647 w 58"/>
                <a:gd name="T29" fmla="*/ 2147483647 h 200"/>
                <a:gd name="T30" fmla="*/ 2147483647 w 58"/>
                <a:gd name="T31" fmla="*/ 2147483647 h 200"/>
                <a:gd name="T32" fmla="*/ 2147483647 w 58"/>
                <a:gd name="T33" fmla="*/ 0 h 200"/>
                <a:gd name="T34" fmla="*/ 2147483647 w 58"/>
                <a:gd name="T35" fmla="*/ 0 h 200"/>
                <a:gd name="T36" fmla="*/ 2147483647 w 58"/>
                <a:gd name="T37" fmla="*/ 2147483647 h 200"/>
                <a:gd name="T38" fmla="*/ 2147483647 w 58"/>
                <a:gd name="T39" fmla="*/ 2147483647 h 200"/>
                <a:gd name="T40" fmla="*/ 2147483647 w 58"/>
                <a:gd name="T41" fmla="*/ 2147483647 h 200"/>
                <a:gd name="T42" fmla="*/ 2147483647 w 58"/>
                <a:gd name="T43" fmla="*/ 2147483647 h 200"/>
                <a:gd name="T44" fmla="*/ 2147483647 w 58"/>
                <a:gd name="T45" fmla="*/ 2147483647 h 200"/>
                <a:gd name="T46" fmla="*/ 2147483647 w 58"/>
                <a:gd name="T47" fmla="*/ 2147483647 h 200"/>
                <a:gd name="T48" fmla="*/ 2147483647 w 58"/>
                <a:gd name="T49" fmla="*/ 2147483647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8"/>
                <a:gd name="T76" fmla="*/ 0 h 200"/>
                <a:gd name="T77" fmla="*/ 58 w 58"/>
                <a:gd name="T78" fmla="*/ 200 h 2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8" h="200">
                  <a:moveTo>
                    <a:pt x="58" y="196"/>
                  </a:moveTo>
                  <a:lnTo>
                    <a:pt x="58" y="196"/>
                  </a:lnTo>
                  <a:lnTo>
                    <a:pt x="46" y="196"/>
                  </a:lnTo>
                  <a:lnTo>
                    <a:pt x="36" y="198"/>
                  </a:lnTo>
                  <a:lnTo>
                    <a:pt x="28" y="200"/>
                  </a:lnTo>
                  <a:lnTo>
                    <a:pt x="26" y="198"/>
                  </a:lnTo>
                  <a:lnTo>
                    <a:pt x="24" y="194"/>
                  </a:lnTo>
                  <a:lnTo>
                    <a:pt x="18" y="172"/>
                  </a:lnTo>
                  <a:lnTo>
                    <a:pt x="12" y="142"/>
                  </a:lnTo>
                  <a:lnTo>
                    <a:pt x="6" y="106"/>
                  </a:lnTo>
                  <a:lnTo>
                    <a:pt x="2" y="70"/>
                  </a:lnTo>
                  <a:lnTo>
                    <a:pt x="0" y="38"/>
                  </a:lnTo>
                  <a:lnTo>
                    <a:pt x="2" y="14"/>
                  </a:lnTo>
                  <a:lnTo>
                    <a:pt x="4" y="6"/>
                  </a:lnTo>
                  <a:lnTo>
                    <a:pt x="8" y="2"/>
                  </a:lnTo>
                  <a:lnTo>
                    <a:pt x="28" y="0"/>
                  </a:lnTo>
                  <a:lnTo>
                    <a:pt x="28" y="24"/>
                  </a:lnTo>
                  <a:lnTo>
                    <a:pt x="34" y="80"/>
                  </a:lnTo>
                  <a:lnTo>
                    <a:pt x="38" y="112"/>
                  </a:lnTo>
                  <a:lnTo>
                    <a:pt x="42" y="144"/>
                  </a:lnTo>
                  <a:lnTo>
                    <a:pt x="50" y="174"/>
                  </a:lnTo>
                  <a:lnTo>
                    <a:pt x="58" y="1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sp>
          <p:nvSpPr>
            <p:cNvPr id="22" name="Freeform 39"/>
            <p:cNvSpPr>
              <a:spLocks/>
            </p:cNvSpPr>
            <p:nvPr/>
          </p:nvSpPr>
          <p:spPr bwMode="auto">
            <a:xfrm>
              <a:off x="8815388" y="7985125"/>
              <a:ext cx="88900" cy="742950"/>
            </a:xfrm>
            <a:custGeom>
              <a:avLst/>
              <a:gdLst>
                <a:gd name="T0" fmla="*/ 2147483647 w 56"/>
                <a:gd name="T1" fmla="*/ 2147483647 h 468"/>
                <a:gd name="T2" fmla="*/ 0 w 56"/>
                <a:gd name="T3" fmla="*/ 2147483647 h 468"/>
                <a:gd name="T4" fmla="*/ 2147483647 w 56"/>
                <a:gd name="T5" fmla="*/ 2147483647 h 468"/>
                <a:gd name="T6" fmla="*/ 2147483647 w 56"/>
                <a:gd name="T7" fmla="*/ 2147483647 h 468"/>
                <a:gd name="T8" fmla="*/ 2147483647 w 56"/>
                <a:gd name="T9" fmla="*/ 2147483647 h 468"/>
                <a:gd name="T10" fmla="*/ 2147483647 w 56"/>
                <a:gd name="T11" fmla="*/ 2147483647 h 468"/>
                <a:gd name="T12" fmla="*/ 2147483647 w 56"/>
                <a:gd name="T13" fmla="*/ 2147483647 h 468"/>
                <a:gd name="T14" fmla="*/ 2147483647 w 56"/>
                <a:gd name="T15" fmla="*/ 0 h 468"/>
                <a:gd name="T16" fmla="*/ 2147483647 w 56"/>
                <a:gd name="T17" fmla="*/ 2147483647 h 4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6"/>
                <a:gd name="T28" fmla="*/ 0 h 468"/>
                <a:gd name="T29" fmla="*/ 56 w 56"/>
                <a:gd name="T30" fmla="*/ 468 h 4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6" h="468">
                  <a:moveTo>
                    <a:pt x="2" y="6"/>
                  </a:moveTo>
                  <a:lnTo>
                    <a:pt x="0" y="52"/>
                  </a:lnTo>
                  <a:lnTo>
                    <a:pt x="16" y="88"/>
                  </a:lnTo>
                  <a:lnTo>
                    <a:pt x="8" y="420"/>
                  </a:lnTo>
                  <a:lnTo>
                    <a:pt x="56" y="468"/>
                  </a:lnTo>
                  <a:lnTo>
                    <a:pt x="44" y="86"/>
                  </a:lnTo>
                  <a:lnTo>
                    <a:pt x="28" y="28"/>
                  </a:lnTo>
                  <a:lnTo>
                    <a:pt x="16" y="0"/>
                  </a:lnTo>
                  <a:lnTo>
                    <a:pt x="2" y="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sp>
          <p:nvSpPr>
            <p:cNvPr id="23" name="Freeform 40"/>
            <p:cNvSpPr>
              <a:spLocks/>
            </p:cNvSpPr>
            <p:nvPr/>
          </p:nvSpPr>
          <p:spPr bwMode="auto">
            <a:xfrm>
              <a:off x="9186863" y="9207500"/>
              <a:ext cx="123825" cy="107950"/>
            </a:xfrm>
            <a:custGeom>
              <a:avLst/>
              <a:gdLst>
                <a:gd name="T0" fmla="*/ 2147483647 w 78"/>
                <a:gd name="T1" fmla="*/ 2147483647 h 68"/>
                <a:gd name="T2" fmla="*/ 2147483647 w 78"/>
                <a:gd name="T3" fmla="*/ 2147483647 h 68"/>
                <a:gd name="T4" fmla="*/ 2147483647 w 78"/>
                <a:gd name="T5" fmla="*/ 2147483647 h 68"/>
                <a:gd name="T6" fmla="*/ 2147483647 w 78"/>
                <a:gd name="T7" fmla="*/ 2147483647 h 68"/>
                <a:gd name="T8" fmla="*/ 2147483647 w 78"/>
                <a:gd name="T9" fmla="*/ 2147483647 h 68"/>
                <a:gd name="T10" fmla="*/ 2147483647 w 78"/>
                <a:gd name="T11" fmla="*/ 2147483647 h 68"/>
                <a:gd name="T12" fmla="*/ 2147483647 w 78"/>
                <a:gd name="T13" fmla="*/ 2147483647 h 68"/>
                <a:gd name="T14" fmla="*/ 0 w 78"/>
                <a:gd name="T15" fmla="*/ 2147483647 h 68"/>
                <a:gd name="T16" fmla="*/ 0 w 78"/>
                <a:gd name="T17" fmla="*/ 2147483647 h 68"/>
                <a:gd name="T18" fmla="*/ 2147483647 w 78"/>
                <a:gd name="T19" fmla="*/ 2147483647 h 68"/>
                <a:gd name="T20" fmla="*/ 2147483647 w 78"/>
                <a:gd name="T21" fmla="*/ 0 h 68"/>
                <a:gd name="T22" fmla="*/ 2147483647 w 78"/>
                <a:gd name="T23" fmla="*/ 2147483647 h 68"/>
                <a:gd name="T24" fmla="*/ 2147483647 w 78"/>
                <a:gd name="T25" fmla="*/ 2147483647 h 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68"/>
                <a:gd name="T41" fmla="*/ 78 w 78"/>
                <a:gd name="T42" fmla="*/ 68 h 6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68">
                  <a:moveTo>
                    <a:pt x="68" y="68"/>
                  </a:moveTo>
                  <a:lnTo>
                    <a:pt x="68" y="68"/>
                  </a:lnTo>
                  <a:lnTo>
                    <a:pt x="40" y="50"/>
                  </a:lnTo>
                  <a:lnTo>
                    <a:pt x="20" y="38"/>
                  </a:lnTo>
                  <a:lnTo>
                    <a:pt x="10" y="34"/>
                  </a:lnTo>
                  <a:lnTo>
                    <a:pt x="4" y="34"/>
                  </a:lnTo>
                  <a:lnTo>
                    <a:pt x="0" y="34"/>
                  </a:lnTo>
                  <a:lnTo>
                    <a:pt x="0" y="30"/>
                  </a:lnTo>
                  <a:lnTo>
                    <a:pt x="4" y="18"/>
                  </a:lnTo>
                  <a:lnTo>
                    <a:pt x="16" y="0"/>
                  </a:lnTo>
                  <a:lnTo>
                    <a:pt x="78" y="20"/>
                  </a:lnTo>
                  <a:lnTo>
                    <a:pt x="68" y="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sp>
          <p:nvSpPr>
            <p:cNvPr id="24" name="Freeform 41"/>
            <p:cNvSpPr>
              <a:spLocks/>
            </p:cNvSpPr>
            <p:nvPr/>
          </p:nvSpPr>
          <p:spPr bwMode="auto">
            <a:xfrm>
              <a:off x="8974138" y="6715125"/>
              <a:ext cx="107950" cy="184150"/>
            </a:xfrm>
            <a:custGeom>
              <a:avLst/>
              <a:gdLst>
                <a:gd name="T0" fmla="*/ 2147483647 w 68"/>
                <a:gd name="T1" fmla="*/ 2147483647 h 116"/>
                <a:gd name="T2" fmla="*/ 2147483647 w 68"/>
                <a:gd name="T3" fmla="*/ 2147483647 h 116"/>
                <a:gd name="T4" fmla="*/ 2147483647 w 68"/>
                <a:gd name="T5" fmla="*/ 2147483647 h 116"/>
                <a:gd name="T6" fmla="*/ 2147483647 w 68"/>
                <a:gd name="T7" fmla="*/ 2147483647 h 116"/>
                <a:gd name="T8" fmla="*/ 2147483647 w 68"/>
                <a:gd name="T9" fmla="*/ 2147483647 h 116"/>
                <a:gd name="T10" fmla="*/ 2147483647 w 68"/>
                <a:gd name="T11" fmla="*/ 2147483647 h 116"/>
                <a:gd name="T12" fmla="*/ 2147483647 w 68"/>
                <a:gd name="T13" fmla="*/ 2147483647 h 116"/>
                <a:gd name="T14" fmla="*/ 2147483647 w 68"/>
                <a:gd name="T15" fmla="*/ 2147483647 h 116"/>
                <a:gd name="T16" fmla="*/ 0 w 68"/>
                <a:gd name="T17" fmla="*/ 2147483647 h 116"/>
                <a:gd name="T18" fmla="*/ 2147483647 w 68"/>
                <a:gd name="T19" fmla="*/ 0 h 116"/>
                <a:gd name="T20" fmla="*/ 2147483647 w 68"/>
                <a:gd name="T21" fmla="*/ 0 h 116"/>
                <a:gd name="T22" fmla="*/ 2147483647 w 68"/>
                <a:gd name="T23" fmla="*/ 0 h 116"/>
                <a:gd name="T24" fmla="*/ 2147483647 w 68"/>
                <a:gd name="T25" fmla="*/ 2147483647 h 116"/>
                <a:gd name="T26" fmla="*/ 2147483647 w 68"/>
                <a:gd name="T27" fmla="*/ 2147483647 h 116"/>
                <a:gd name="T28" fmla="*/ 2147483647 w 68"/>
                <a:gd name="T29" fmla="*/ 2147483647 h 116"/>
                <a:gd name="T30" fmla="*/ 2147483647 w 68"/>
                <a:gd name="T31" fmla="*/ 2147483647 h 116"/>
                <a:gd name="T32" fmla="*/ 2147483647 w 68"/>
                <a:gd name="T33" fmla="*/ 2147483647 h 116"/>
                <a:gd name="T34" fmla="*/ 2147483647 w 68"/>
                <a:gd name="T35" fmla="*/ 2147483647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8"/>
                <a:gd name="T55" fmla="*/ 0 h 116"/>
                <a:gd name="T56" fmla="*/ 68 w 68"/>
                <a:gd name="T57" fmla="*/ 116 h 1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8" h="116">
                  <a:moveTo>
                    <a:pt x="68" y="18"/>
                  </a:moveTo>
                  <a:lnTo>
                    <a:pt x="68" y="18"/>
                  </a:lnTo>
                  <a:lnTo>
                    <a:pt x="60" y="28"/>
                  </a:lnTo>
                  <a:lnTo>
                    <a:pt x="42" y="54"/>
                  </a:lnTo>
                  <a:lnTo>
                    <a:pt x="32" y="68"/>
                  </a:lnTo>
                  <a:lnTo>
                    <a:pt x="24" y="86"/>
                  </a:lnTo>
                  <a:lnTo>
                    <a:pt x="16" y="102"/>
                  </a:lnTo>
                  <a:lnTo>
                    <a:pt x="14" y="116"/>
                  </a:lnTo>
                  <a:lnTo>
                    <a:pt x="0" y="102"/>
                  </a:lnTo>
                  <a:lnTo>
                    <a:pt x="30" y="0"/>
                  </a:lnTo>
                  <a:lnTo>
                    <a:pt x="36" y="0"/>
                  </a:lnTo>
                  <a:lnTo>
                    <a:pt x="48" y="2"/>
                  </a:lnTo>
                  <a:lnTo>
                    <a:pt x="54" y="4"/>
                  </a:lnTo>
                  <a:lnTo>
                    <a:pt x="60" y="6"/>
                  </a:lnTo>
                  <a:lnTo>
                    <a:pt x="64" y="12"/>
                  </a:lnTo>
                  <a:lnTo>
                    <a:pt x="68"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grpSp>
      <p:sp>
        <p:nvSpPr>
          <p:cNvPr id="25" name="Freeform 23"/>
          <p:cNvSpPr>
            <a:spLocks noEditPoints="1"/>
          </p:cNvSpPr>
          <p:nvPr/>
        </p:nvSpPr>
        <p:spPr bwMode="auto">
          <a:xfrm rot="21372189" flipH="1">
            <a:off x="8180506" y="7298252"/>
            <a:ext cx="1230876" cy="1401944"/>
          </a:xfrm>
          <a:custGeom>
            <a:avLst/>
            <a:gdLst>
              <a:gd name="T0" fmla="*/ 1408 w 1428"/>
              <a:gd name="T1" fmla="*/ 1364 h 1606"/>
              <a:gd name="T2" fmla="*/ 1344 w 1428"/>
              <a:gd name="T3" fmla="*/ 1252 h 1606"/>
              <a:gd name="T4" fmla="*/ 1186 w 1428"/>
              <a:gd name="T5" fmla="*/ 958 h 1606"/>
              <a:gd name="T6" fmla="*/ 1146 w 1428"/>
              <a:gd name="T7" fmla="*/ 902 h 1606"/>
              <a:gd name="T8" fmla="*/ 1150 w 1428"/>
              <a:gd name="T9" fmla="*/ 874 h 1606"/>
              <a:gd name="T10" fmla="*/ 1120 w 1428"/>
              <a:gd name="T11" fmla="*/ 858 h 1606"/>
              <a:gd name="T12" fmla="*/ 1156 w 1428"/>
              <a:gd name="T13" fmla="*/ 794 h 1606"/>
              <a:gd name="T14" fmla="*/ 1188 w 1428"/>
              <a:gd name="T15" fmla="*/ 658 h 1606"/>
              <a:gd name="T16" fmla="*/ 1246 w 1428"/>
              <a:gd name="T17" fmla="*/ 436 h 1606"/>
              <a:gd name="T18" fmla="*/ 1292 w 1428"/>
              <a:gd name="T19" fmla="*/ 318 h 1606"/>
              <a:gd name="T20" fmla="*/ 1214 w 1428"/>
              <a:gd name="T21" fmla="*/ 134 h 1606"/>
              <a:gd name="T22" fmla="*/ 996 w 1428"/>
              <a:gd name="T23" fmla="*/ 24 h 1606"/>
              <a:gd name="T24" fmla="*/ 684 w 1428"/>
              <a:gd name="T25" fmla="*/ 8 h 1606"/>
              <a:gd name="T26" fmla="*/ 274 w 1428"/>
              <a:gd name="T27" fmla="*/ 72 h 1606"/>
              <a:gd name="T28" fmla="*/ 134 w 1428"/>
              <a:gd name="T29" fmla="*/ 68 h 1606"/>
              <a:gd name="T30" fmla="*/ 8 w 1428"/>
              <a:gd name="T31" fmla="*/ 242 h 1606"/>
              <a:gd name="T32" fmla="*/ 66 w 1428"/>
              <a:gd name="T33" fmla="*/ 382 h 1606"/>
              <a:gd name="T34" fmla="*/ 154 w 1428"/>
              <a:gd name="T35" fmla="*/ 432 h 1606"/>
              <a:gd name="T36" fmla="*/ 172 w 1428"/>
              <a:gd name="T37" fmla="*/ 452 h 1606"/>
              <a:gd name="T38" fmla="*/ 196 w 1428"/>
              <a:gd name="T39" fmla="*/ 484 h 1606"/>
              <a:gd name="T40" fmla="*/ 226 w 1428"/>
              <a:gd name="T41" fmla="*/ 446 h 1606"/>
              <a:gd name="T42" fmla="*/ 248 w 1428"/>
              <a:gd name="T43" fmla="*/ 476 h 1606"/>
              <a:gd name="T44" fmla="*/ 274 w 1428"/>
              <a:gd name="T45" fmla="*/ 544 h 1606"/>
              <a:gd name="T46" fmla="*/ 364 w 1428"/>
              <a:gd name="T47" fmla="*/ 636 h 1606"/>
              <a:gd name="T48" fmla="*/ 440 w 1428"/>
              <a:gd name="T49" fmla="*/ 684 h 1606"/>
              <a:gd name="T50" fmla="*/ 536 w 1428"/>
              <a:gd name="T51" fmla="*/ 722 h 1606"/>
              <a:gd name="T52" fmla="*/ 596 w 1428"/>
              <a:gd name="T53" fmla="*/ 652 h 1606"/>
              <a:gd name="T54" fmla="*/ 676 w 1428"/>
              <a:gd name="T55" fmla="*/ 460 h 1606"/>
              <a:gd name="T56" fmla="*/ 828 w 1428"/>
              <a:gd name="T57" fmla="*/ 394 h 1606"/>
              <a:gd name="T58" fmla="*/ 888 w 1428"/>
              <a:gd name="T59" fmla="*/ 352 h 1606"/>
              <a:gd name="T60" fmla="*/ 722 w 1428"/>
              <a:gd name="T61" fmla="*/ 578 h 1606"/>
              <a:gd name="T62" fmla="*/ 564 w 1428"/>
              <a:gd name="T63" fmla="*/ 788 h 1606"/>
              <a:gd name="T64" fmla="*/ 648 w 1428"/>
              <a:gd name="T65" fmla="*/ 968 h 1606"/>
              <a:gd name="T66" fmla="*/ 778 w 1428"/>
              <a:gd name="T67" fmla="*/ 1334 h 1606"/>
              <a:gd name="T68" fmla="*/ 796 w 1428"/>
              <a:gd name="T69" fmla="*/ 1384 h 1606"/>
              <a:gd name="T70" fmla="*/ 772 w 1428"/>
              <a:gd name="T71" fmla="*/ 1470 h 1606"/>
              <a:gd name="T72" fmla="*/ 622 w 1428"/>
              <a:gd name="T73" fmla="*/ 1564 h 1606"/>
              <a:gd name="T74" fmla="*/ 664 w 1428"/>
              <a:gd name="T75" fmla="*/ 1604 h 1606"/>
              <a:gd name="T76" fmla="*/ 836 w 1428"/>
              <a:gd name="T77" fmla="*/ 1582 h 1606"/>
              <a:gd name="T78" fmla="*/ 994 w 1428"/>
              <a:gd name="T79" fmla="*/ 1594 h 1606"/>
              <a:gd name="T80" fmla="*/ 1014 w 1428"/>
              <a:gd name="T81" fmla="*/ 1500 h 1606"/>
              <a:gd name="T82" fmla="*/ 962 w 1428"/>
              <a:gd name="T83" fmla="*/ 1318 h 1606"/>
              <a:gd name="T84" fmla="*/ 878 w 1428"/>
              <a:gd name="T85" fmla="*/ 1054 h 1606"/>
              <a:gd name="T86" fmla="*/ 810 w 1428"/>
              <a:gd name="T87" fmla="*/ 880 h 1606"/>
              <a:gd name="T88" fmla="*/ 810 w 1428"/>
              <a:gd name="T89" fmla="*/ 824 h 1606"/>
              <a:gd name="T90" fmla="*/ 958 w 1428"/>
              <a:gd name="T91" fmla="*/ 674 h 1606"/>
              <a:gd name="T92" fmla="*/ 938 w 1428"/>
              <a:gd name="T93" fmla="*/ 884 h 1606"/>
              <a:gd name="T94" fmla="*/ 1002 w 1428"/>
              <a:gd name="T95" fmla="*/ 1010 h 1606"/>
              <a:gd name="T96" fmla="*/ 1218 w 1428"/>
              <a:gd name="T97" fmla="*/ 1354 h 1606"/>
              <a:gd name="T98" fmla="*/ 1234 w 1428"/>
              <a:gd name="T99" fmla="*/ 1392 h 1606"/>
              <a:gd name="T100" fmla="*/ 1220 w 1428"/>
              <a:gd name="T101" fmla="*/ 1446 h 1606"/>
              <a:gd name="T102" fmla="*/ 1112 w 1428"/>
              <a:gd name="T103" fmla="*/ 1530 h 1606"/>
              <a:gd name="T104" fmla="*/ 1064 w 1428"/>
              <a:gd name="T105" fmla="*/ 1572 h 1606"/>
              <a:gd name="T106" fmla="*/ 1278 w 1428"/>
              <a:gd name="T107" fmla="*/ 1552 h 1606"/>
              <a:gd name="T108" fmla="*/ 1412 w 1428"/>
              <a:gd name="T109" fmla="*/ 1578 h 1606"/>
              <a:gd name="T110" fmla="*/ 356 w 1428"/>
              <a:gd name="T111" fmla="*/ 534 h 1606"/>
              <a:gd name="T112" fmla="*/ 360 w 1428"/>
              <a:gd name="T113" fmla="*/ 452 h 1606"/>
              <a:gd name="T114" fmla="*/ 372 w 1428"/>
              <a:gd name="T115" fmla="*/ 504 h 16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428"/>
              <a:gd name="T175" fmla="*/ 0 h 1606"/>
              <a:gd name="T176" fmla="*/ 1428 w 1428"/>
              <a:gd name="T177" fmla="*/ 1606 h 16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428" h="1606">
                <a:moveTo>
                  <a:pt x="1426" y="1486"/>
                </a:moveTo>
                <a:lnTo>
                  <a:pt x="1426" y="1486"/>
                </a:lnTo>
                <a:lnTo>
                  <a:pt x="1426" y="1448"/>
                </a:lnTo>
                <a:lnTo>
                  <a:pt x="1424" y="1418"/>
                </a:lnTo>
                <a:lnTo>
                  <a:pt x="1420" y="1394"/>
                </a:lnTo>
                <a:lnTo>
                  <a:pt x="1418" y="1380"/>
                </a:lnTo>
                <a:lnTo>
                  <a:pt x="1414" y="1372"/>
                </a:lnTo>
                <a:lnTo>
                  <a:pt x="1408" y="1364"/>
                </a:lnTo>
                <a:lnTo>
                  <a:pt x="1396" y="1356"/>
                </a:lnTo>
                <a:lnTo>
                  <a:pt x="1386" y="1346"/>
                </a:lnTo>
                <a:lnTo>
                  <a:pt x="1378" y="1336"/>
                </a:lnTo>
                <a:lnTo>
                  <a:pt x="1374" y="1328"/>
                </a:lnTo>
                <a:lnTo>
                  <a:pt x="1374" y="1322"/>
                </a:lnTo>
                <a:lnTo>
                  <a:pt x="1364" y="1300"/>
                </a:lnTo>
                <a:lnTo>
                  <a:pt x="1344" y="1252"/>
                </a:lnTo>
                <a:lnTo>
                  <a:pt x="1286" y="1124"/>
                </a:lnTo>
                <a:lnTo>
                  <a:pt x="1272" y="1092"/>
                </a:lnTo>
                <a:lnTo>
                  <a:pt x="1256" y="1062"/>
                </a:lnTo>
                <a:lnTo>
                  <a:pt x="1224" y="1010"/>
                </a:lnTo>
                <a:lnTo>
                  <a:pt x="1202" y="972"/>
                </a:lnTo>
                <a:lnTo>
                  <a:pt x="1192" y="958"/>
                </a:lnTo>
                <a:lnTo>
                  <a:pt x="1186" y="958"/>
                </a:lnTo>
                <a:lnTo>
                  <a:pt x="1184" y="946"/>
                </a:lnTo>
                <a:lnTo>
                  <a:pt x="1180" y="934"/>
                </a:lnTo>
                <a:lnTo>
                  <a:pt x="1174" y="924"/>
                </a:lnTo>
                <a:lnTo>
                  <a:pt x="1166" y="918"/>
                </a:lnTo>
                <a:lnTo>
                  <a:pt x="1156" y="912"/>
                </a:lnTo>
                <a:lnTo>
                  <a:pt x="1150" y="906"/>
                </a:lnTo>
                <a:lnTo>
                  <a:pt x="1146" y="902"/>
                </a:lnTo>
                <a:lnTo>
                  <a:pt x="1148" y="902"/>
                </a:lnTo>
                <a:lnTo>
                  <a:pt x="1154" y="904"/>
                </a:lnTo>
                <a:lnTo>
                  <a:pt x="1156" y="902"/>
                </a:lnTo>
                <a:lnTo>
                  <a:pt x="1156" y="900"/>
                </a:lnTo>
                <a:lnTo>
                  <a:pt x="1156" y="894"/>
                </a:lnTo>
                <a:lnTo>
                  <a:pt x="1154" y="884"/>
                </a:lnTo>
                <a:lnTo>
                  <a:pt x="1150" y="874"/>
                </a:lnTo>
                <a:lnTo>
                  <a:pt x="1146" y="868"/>
                </a:lnTo>
                <a:lnTo>
                  <a:pt x="1142" y="864"/>
                </a:lnTo>
                <a:lnTo>
                  <a:pt x="1138" y="860"/>
                </a:lnTo>
                <a:lnTo>
                  <a:pt x="1132" y="858"/>
                </a:lnTo>
                <a:lnTo>
                  <a:pt x="1130" y="858"/>
                </a:lnTo>
                <a:lnTo>
                  <a:pt x="1122" y="860"/>
                </a:lnTo>
                <a:lnTo>
                  <a:pt x="1120" y="860"/>
                </a:lnTo>
                <a:lnTo>
                  <a:pt x="1120" y="858"/>
                </a:lnTo>
                <a:lnTo>
                  <a:pt x="1120" y="854"/>
                </a:lnTo>
                <a:lnTo>
                  <a:pt x="1124" y="846"/>
                </a:lnTo>
                <a:lnTo>
                  <a:pt x="1130" y="842"/>
                </a:lnTo>
                <a:lnTo>
                  <a:pt x="1142" y="834"/>
                </a:lnTo>
                <a:lnTo>
                  <a:pt x="1148" y="826"/>
                </a:lnTo>
                <a:lnTo>
                  <a:pt x="1154" y="812"/>
                </a:lnTo>
                <a:lnTo>
                  <a:pt x="1156" y="794"/>
                </a:lnTo>
                <a:lnTo>
                  <a:pt x="1158" y="768"/>
                </a:lnTo>
                <a:lnTo>
                  <a:pt x="1160" y="746"/>
                </a:lnTo>
                <a:lnTo>
                  <a:pt x="1160" y="726"/>
                </a:lnTo>
                <a:lnTo>
                  <a:pt x="1166" y="708"/>
                </a:lnTo>
                <a:lnTo>
                  <a:pt x="1176" y="686"/>
                </a:lnTo>
                <a:lnTo>
                  <a:pt x="1182" y="672"/>
                </a:lnTo>
                <a:lnTo>
                  <a:pt x="1188" y="658"/>
                </a:lnTo>
                <a:lnTo>
                  <a:pt x="1194" y="630"/>
                </a:lnTo>
                <a:lnTo>
                  <a:pt x="1198" y="600"/>
                </a:lnTo>
                <a:lnTo>
                  <a:pt x="1202" y="574"/>
                </a:lnTo>
                <a:lnTo>
                  <a:pt x="1210" y="544"/>
                </a:lnTo>
                <a:lnTo>
                  <a:pt x="1220" y="504"/>
                </a:lnTo>
                <a:lnTo>
                  <a:pt x="1232" y="466"/>
                </a:lnTo>
                <a:lnTo>
                  <a:pt x="1238" y="450"/>
                </a:lnTo>
                <a:lnTo>
                  <a:pt x="1246" y="436"/>
                </a:lnTo>
                <a:lnTo>
                  <a:pt x="1258" y="408"/>
                </a:lnTo>
                <a:lnTo>
                  <a:pt x="1268" y="384"/>
                </a:lnTo>
                <a:lnTo>
                  <a:pt x="1278" y="354"/>
                </a:lnTo>
                <a:lnTo>
                  <a:pt x="1282" y="348"/>
                </a:lnTo>
                <a:lnTo>
                  <a:pt x="1286" y="342"/>
                </a:lnTo>
                <a:lnTo>
                  <a:pt x="1290" y="332"/>
                </a:lnTo>
                <a:lnTo>
                  <a:pt x="1292" y="318"/>
                </a:lnTo>
                <a:lnTo>
                  <a:pt x="1292" y="300"/>
                </a:lnTo>
                <a:lnTo>
                  <a:pt x="1290" y="276"/>
                </a:lnTo>
                <a:lnTo>
                  <a:pt x="1282" y="248"/>
                </a:lnTo>
                <a:lnTo>
                  <a:pt x="1272" y="218"/>
                </a:lnTo>
                <a:lnTo>
                  <a:pt x="1258" y="192"/>
                </a:lnTo>
                <a:lnTo>
                  <a:pt x="1244" y="168"/>
                </a:lnTo>
                <a:lnTo>
                  <a:pt x="1228" y="150"/>
                </a:lnTo>
                <a:lnTo>
                  <a:pt x="1214" y="134"/>
                </a:lnTo>
                <a:lnTo>
                  <a:pt x="1202" y="122"/>
                </a:lnTo>
                <a:lnTo>
                  <a:pt x="1192" y="112"/>
                </a:lnTo>
                <a:lnTo>
                  <a:pt x="1174" y="98"/>
                </a:lnTo>
                <a:lnTo>
                  <a:pt x="1178" y="92"/>
                </a:lnTo>
                <a:lnTo>
                  <a:pt x="1146" y="76"/>
                </a:lnTo>
                <a:lnTo>
                  <a:pt x="1106" y="60"/>
                </a:lnTo>
                <a:lnTo>
                  <a:pt x="1056" y="42"/>
                </a:lnTo>
                <a:lnTo>
                  <a:pt x="996" y="24"/>
                </a:lnTo>
                <a:lnTo>
                  <a:pt x="962" y="16"/>
                </a:lnTo>
                <a:lnTo>
                  <a:pt x="926" y="10"/>
                </a:lnTo>
                <a:lnTo>
                  <a:pt x="888" y="6"/>
                </a:lnTo>
                <a:lnTo>
                  <a:pt x="850" y="2"/>
                </a:lnTo>
                <a:lnTo>
                  <a:pt x="808" y="0"/>
                </a:lnTo>
                <a:lnTo>
                  <a:pt x="768" y="2"/>
                </a:lnTo>
                <a:lnTo>
                  <a:pt x="726" y="4"/>
                </a:lnTo>
                <a:lnTo>
                  <a:pt x="684" y="8"/>
                </a:lnTo>
                <a:lnTo>
                  <a:pt x="644" y="14"/>
                </a:lnTo>
                <a:lnTo>
                  <a:pt x="604" y="22"/>
                </a:lnTo>
                <a:lnTo>
                  <a:pt x="530" y="38"/>
                </a:lnTo>
                <a:lnTo>
                  <a:pt x="464" y="54"/>
                </a:lnTo>
                <a:lnTo>
                  <a:pt x="408" y="72"/>
                </a:lnTo>
                <a:lnTo>
                  <a:pt x="364" y="86"/>
                </a:lnTo>
                <a:lnTo>
                  <a:pt x="326" y="100"/>
                </a:lnTo>
                <a:lnTo>
                  <a:pt x="274" y="72"/>
                </a:lnTo>
                <a:lnTo>
                  <a:pt x="262" y="68"/>
                </a:lnTo>
                <a:lnTo>
                  <a:pt x="246" y="64"/>
                </a:lnTo>
                <a:lnTo>
                  <a:pt x="226" y="60"/>
                </a:lnTo>
                <a:lnTo>
                  <a:pt x="204" y="58"/>
                </a:lnTo>
                <a:lnTo>
                  <a:pt x="182" y="58"/>
                </a:lnTo>
                <a:lnTo>
                  <a:pt x="162" y="60"/>
                </a:lnTo>
                <a:lnTo>
                  <a:pt x="142" y="64"/>
                </a:lnTo>
                <a:lnTo>
                  <a:pt x="134" y="68"/>
                </a:lnTo>
                <a:lnTo>
                  <a:pt x="126" y="72"/>
                </a:lnTo>
                <a:lnTo>
                  <a:pt x="110" y="86"/>
                </a:lnTo>
                <a:lnTo>
                  <a:pt x="90" y="108"/>
                </a:lnTo>
                <a:lnTo>
                  <a:pt x="70" y="134"/>
                </a:lnTo>
                <a:lnTo>
                  <a:pt x="48" y="164"/>
                </a:lnTo>
                <a:lnTo>
                  <a:pt x="28" y="196"/>
                </a:lnTo>
                <a:lnTo>
                  <a:pt x="14" y="226"/>
                </a:lnTo>
                <a:lnTo>
                  <a:pt x="8" y="242"/>
                </a:lnTo>
                <a:lnTo>
                  <a:pt x="2" y="256"/>
                </a:lnTo>
                <a:lnTo>
                  <a:pt x="0" y="268"/>
                </a:lnTo>
                <a:lnTo>
                  <a:pt x="0" y="280"/>
                </a:lnTo>
                <a:lnTo>
                  <a:pt x="8" y="300"/>
                </a:lnTo>
                <a:lnTo>
                  <a:pt x="20" y="320"/>
                </a:lnTo>
                <a:lnTo>
                  <a:pt x="36" y="346"/>
                </a:lnTo>
                <a:lnTo>
                  <a:pt x="54" y="370"/>
                </a:lnTo>
                <a:lnTo>
                  <a:pt x="66" y="382"/>
                </a:lnTo>
                <a:lnTo>
                  <a:pt x="78" y="394"/>
                </a:lnTo>
                <a:lnTo>
                  <a:pt x="90" y="402"/>
                </a:lnTo>
                <a:lnTo>
                  <a:pt x="102" y="410"/>
                </a:lnTo>
                <a:lnTo>
                  <a:pt x="116" y="416"/>
                </a:lnTo>
                <a:lnTo>
                  <a:pt x="130" y="420"/>
                </a:lnTo>
                <a:lnTo>
                  <a:pt x="140" y="422"/>
                </a:lnTo>
                <a:lnTo>
                  <a:pt x="148" y="426"/>
                </a:lnTo>
                <a:lnTo>
                  <a:pt x="154" y="432"/>
                </a:lnTo>
                <a:lnTo>
                  <a:pt x="156" y="436"/>
                </a:lnTo>
                <a:lnTo>
                  <a:pt x="156" y="440"/>
                </a:lnTo>
                <a:lnTo>
                  <a:pt x="150" y="444"/>
                </a:lnTo>
                <a:lnTo>
                  <a:pt x="142" y="446"/>
                </a:lnTo>
                <a:lnTo>
                  <a:pt x="156" y="452"/>
                </a:lnTo>
                <a:lnTo>
                  <a:pt x="168" y="454"/>
                </a:lnTo>
                <a:lnTo>
                  <a:pt x="172" y="452"/>
                </a:lnTo>
                <a:lnTo>
                  <a:pt x="176" y="450"/>
                </a:lnTo>
                <a:lnTo>
                  <a:pt x="174" y="456"/>
                </a:lnTo>
                <a:lnTo>
                  <a:pt x="174" y="468"/>
                </a:lnTo>
                <a:lnTo>
                  <a:pt x="176" y="474"/>
                </a:lnTo>
                <a:lnTo>
                  <a:pt x="180" y="480"/>
                </a:lnTo>
                <a:lnTo>
                  <a:pt x="186" y="482"/>
                </a:lnTo>
                <a:lnTo>
                  <a:pt x="196" y="484"/>
                </a:lnTo>
                <a:lnTo>
                  <a:pt x="192" y="480"/>
                </a:lnTo>
                <a:lnTo>
                  <a:pt x="190" y="472"/>
                </a:lnTo>
                <a:lnTo>
                  <a:pt x="190" y="468"/>
                </a:lnTo>
                <a:lnTo>
                  <a:pt x="194" y="462"/>
                </a:lnTo>
                <a:lnTo>
                  <a:pt x="200" y="458"/>
                </a:lnTo>
                <a:lnTo>
                  <a:pt x="210" y="456"/>
                </a:lnTo>
                <a:lnTo>
                  <a:pt x="220" y="452"/>
                </a:lnTo>
                <a:lnTo>
                  <a:pt x="226" y="446"/>
                </a:lnTo>
                <a:lnTo>
                  <a:pt x="230" y="442"/>
                </a:lnTo>
                <a:lnTo>
                  <a:pt x="232" y="436"/>
                </a:lnTo>
                <a:lnTo>
                  <a:pt x="230" y="428"/>
                </a:lnTo>
                <a:lnTo>
                  <a:pt x="228" y="424"/>
                </a:lnTo>
                <a:lnTo>
                  <a:pt x="254" y="454"/>
                </a:lnTo>
                <a:lnTo>
                  <a:pt x="250" y="458"/>
                </a:lnTo>
                <a:lnTo>
                  <a:pt x="248" y="466"/>
                </a:lnTo>
                <a:lnTo>
                  <a:pt x="248" y="476"/>
                </a:lnTo>
                <a:lnTo>
                  <a:pt x="246" y="484"/>
                </a:lnTo>
                <a:lnTo>
                  <a:pt x="248" y="490"/>
                </a:lnTo>
                <a:lnTo>
                  <a:pt x="260" y="504"/>
                </a:lnTo>
                <a:lnTo>
                  <a:pt x="264" y="512"/>
                </a:lnTo>
                <a:lnTo>
                  <a:pt x="266" y="518"/>
                </a:lnTo>
                <a:lnTo>
                  <a:pt x="270" y="530"/>
                </a:lnTo>
                <a:lnTo>
                  <a:pt x="274" y="544"/>
                </a:lnTo>
                <a:lnTo>
                  <a:pt x="278" y="552"/>
                </a:lnTo>
                <a:lnTo>
                  <a:pt x="286" y="562"/>
                </a:lnTo>
                <a:lnTo>
                  <a:pt x="302" y="578"/>
                </a:lnTo>
                <a:lnTo>
                  <a:pt x="314" y="586"/>
                </a:lnTo>
                <a:lnTo>
                  <a:pt x="326" y="594"/>
                </a:lnTo>
                <a:lnTo>
                  <a:pt x="336" y="604"/>
                </a:lnTo>
                <a:lnTo>
                  <a:pt x="364" y="636"/>
                </a:lnTo>
                <a:lnTo>
                  <a:pt x="360" y="640"/>
                </a:lnTo>
                <a:lnTo>
                  <a:pt x="360" y="646"/>
                </a:lnTo>
                <a:lnTo>
                  <a:pt x="362" y="650"/>
                </a:lnTo>
                <a:lnTo>
                  <a:pt x="372" y="654"/>
                </a:lnTo>
                <a:lnTo>
                  <a:pt x="384" y="660"/>
                </a:lnTo>
                <a:lnTo>
                  <a:pt x="400" y="664"/>
                </a:lnTo>
                <a:lnTo>
                  <a:pt x="440" y="684"/>
                </a:lnTo>
                <a:lnTo>
                  <a:pt x="452" y="692"/>
                </a:lnTo>
                <a:lnTo>
                  <a:pt x="478" y="708"/>
                </a:lnTo>
                <a:lnTo>
                  <a:pt x="506" y="724"/>
                </a:lnTo>
                <a:lnTo>
                  <a:pt x="516" y="728"/>
                </a:lnTo>
                <a:lnTo>
                  <a:pt x="522" y="728"/>
                </a:lnTo>
                <a:lnTo>
                  <a:pt x="524" y="728"/>
                </a:lnTo>
                <a:lnTo>
                  <a:pt x="536" y="722"/>
                </a:lnTo>
                <a:lnTo>
                  <a:pt x="544" y="714"/>
                </a:lnTo>
                <a:lnTo>
                  <a:pt x="554" y="704"/>
                </a:lnTo>
                <a:lnTo>
                  <a:pt x="560" y="700"/>
                </a:lnTo>
                <a:lnTo>
                  <a:pt x="574" y="688"/>
                </a:lnTo>
                <a:lnTo>
                  <a:pt x="588" y="672"/>
                </a:lnTo>
                <a:lnTo>
                  <a:pt x="594" y="662"/>
                </a:lnTo>
                <a:lnTo>
                  <a:pt x="596" y="652"/>
                </a:lnTo>
                <a:lnTo>
                  <a:pt x="598" y="634"/>
                </a:lnTo>
                <a:lnTo>
                  <a:pt x="600" y="620"/>
                </a:lnTo>
                <a:lnTo>
                  <a:pt x="598" y="608"/>
                </a:lnTo>
                <a:lnTo>
                  <a:pt x="632" y="446"/>
                </a:lnTo>
                <a:lnTo>
                  <a:pt x="636" y="450"/>
                </a:lnTo>
                <a:lnTo>
                  <a:pt x="652" y="456"/>
                </a:lnTo>
                <a:lnTo>
                  <a:pt x="662" y="458"/>
                </a:lnTo>
                <a:lnTo>
                  <a:pt x="676" y="460"/>
                </a:lnTo>
                <a:lnTo>
                  <a:pt x="690" y="460"/>
                </a:lnTo>
                <a:lnTo>
                  <a:pt x="706" y="460"/>
                </a:lnTo>
                <a:lnTo>
                  <a:pt x="724" y="456"/>
                </a:lnTo>
                <a:lnTo>
                  <a:pt x="740" y="450"/>
                </a:lnTo>
                <a:lnTo>
                  <a:pt x="758" y="442"/>
                </a:lnTo>
                <a:lnTo>
                  <a:pt x="774" y="434"/>
                </a:lnTo>
                <a:lnTo>
                  <a:pt x="802" y="412"/>
                </a:lnTo>
                <a:lnTo>
                  <a:pt x="828" y="394"/>
                </a:lnTo>
                <a:lnTo>
                  <a:pt x="840" y="386"/>
                </a:lnTo>
                <a:lnTo>
                  <a:pt x="848" y="376"/>
                </a:lnTo>
                <a:lnTo>
                  <a:pt x="856" y="366"/>
                </a:lnTo>
                <a:lnTo>
                  <a:pt x="862" y="356"/>
                </a:lnTo>
                <a:lnTo>
                  <a:pt x="870" y="340"/>
                </a:lnTo>
                <a:lnTo>
                  <a:pt x="872" y="334"/>
                </a:lnTo>
                <a:lnTo>
                  <a:pt x="888" y="352"/>
                </a:lnTo>
                <a:lnTo>
                  <a:pt x="902" y="362"/>
                </a:lnTo>
                <a:lnTo>
                  <a:pt x="908" y="366"/>
                </a:lnTo>
                <a:lnTo>
                  <a:pt x="914" y="368"/>
                </a:lnTo>
                <a:lnTo>
                  <a:pt x="826" y="462"/>
                </a:lnTo>
                <a:lnTo>
                  <a:pt x="760" y="532"/>
                </a:lnTo>
                <a:lnTo>
                  <a:pt x="736" y="560"/>
                </a:lnTo>
                <a:lnTo>
                  <a:pt x="722" y="578"/>
                </a:lnTo>
                <a:lnTo>
                  <a:pt x="666" y="650"/>
                </a:lnTo>
                <a:lnTo>
                  <a:pt x="604" y="724"/>
                </a:lnTo>
                <a:lnTo>
                  <a:pt x="588" y="744"/>
                </a:lnTo>
                <a:lnTo>
                  <a:pt x="574" y="758"/>
                </a:lnTo>
                <a:lnTo>
                  <a:pt x="570" y="766"/>
                </a:lnTo>
                <a:lnTo>
                  <a:pt x="566" y="772"/>
                </a:lnTo>
                <a:lnTo>
                  <a:pt x="564" y="780"/>
                </a:lnTo>
                <a:lnTo>
                  <a:pt x="564" y="788"/>
                </a:lnTo>
                <a:lnTo>
                  <a:pt x="566" y="798"/>
                </a:lnTo>
                <a:lnTo>
                  <a:pt x="568" y="808"/>
                </a:lnTo>
                <a:lnTo>
                  <a:pt x="576" y="832"/>
                </a:lnTo>
                <a:lnTo>
                  <a:pt x="596" y="882"/>
                </a:lnTo>
                <a:lnTo>
                  <a:pt x="610" y="908"/>
                </a:lnTo>
                <a:lnTo>
                  <a:pt x="626" y="936"/>
                </a:lnTo>
                <a:lnTo>
                  <a:pt x="648" y="968"/>
                </a:lnTo>
                <a:lnTo>
                  <a:pt x="642" y="972"/>
                </a:lnTo>
                <a:lnTo>
                  <a:pt x="668" y="1036"/>
                </a:lnTo>
                <a:lnTo>
                  <a:pt x="690" y="1096"/>
                </a:lnTo>
                <a:lnTo>
                  <a:pt x="710" y="1152"/>
                </a:lnTo>
                <a:lnTo>
                  <a:pt x="728" y="1206"/>
                </a:lnTo>
                <a:lnTo>
                  <a:pt x="750" y="1262"/>
                </a:lnTo>
                <a:lnTo>
                  <a:pt x="778" y="1334"/>
                </a:lnTo>
                <a:lnTo>
                  <a:pt x="786" y="1346"/>
                </a:lnTo>
                <a:lnTo>
                  <a:pt x="794" y="1354"/>
                </a:lnTo>
                <a:lnTo>
                  <a:pt x="806" y="1360"/>
                </a:lnTo>
                <a:lnTo>
                  <a:pt x="800" y="1366"/>
                </a:lnTo>
                <a:lnTo>
                  <a:pt x="798" y="1374"/>
                </a:lnTo>
                <a:lnTo>
                  <a:pt x="796" y="1384"/>
                </a:lnTo>
                <a:lnTo>
                  <a:pt x="800" y="1394"/>
                </a:lnTo>
                <a:lnTo>
                  <a:pt x="804" y="1402"/>
                </a:lnTo>
                <a:lnTo>
                  <a:pt x="810" y="1408"/>
                </a:lnTo>
                <a:lnTo>
                  <a:pt x="806" y="1424"/>
                </a:lnTo>
                <a:lnTo>
                  <a:pt x="800" y="1438"/>
                </a:lnTo>
                <a:lnTo>
                  <a:pt x="794" y="1452"/>
                </a:lnTo>
                <a:lnTo>
                  <a:pt x="772" y="1470"/>
                </a:lnTo>
                <a:lnTo>
                  <a:pt x="746" y="1498"/>
                </a:lnTo>
                <a:lnTo>
                  <a:pt x="730" y="1514"/>
                </a:lnTo>
                <a:lnTo>
                  <a:pt x="716" y="1526"/>
                </a:lnTo>
                <a:lnTo>
                  <a:pt x="694" y="1534"/>
                </a:lnTo>
                <a:lnTo>
                  <a:pt x="662" y="1544"/>
                </a:lnTo>
                <a:lnTo>
                  <a:pt x="632" y="1558"/>
                </a:lnTo>
                <a:lnTo>
                  <a:pt x="622" y="1564"/>
                </a:lnTo>
                <a:lnTo>
                  <a:pt x="618" y="1570"/>
                </a:lnTo>
                <a:lnTo>
                  <a:pt x="614" y="1580"/>
                </a:lnTo>
                <a:lnTo>
                  <a:pt x="614" y="1588"/>
                </a:lnTo>
                <a:lnTo>
                  <a:pt x="614" y="1596"/>
                </a:lnTo>
                <a:lnTo>
                  <a:pt x="620" y="1596"/>
                </a:lnTo>
                <a:lnTo>
                  <a:pt x="636" y="1600"/>
                </a:lnTo>
                <a:lnTo>
                  <a:pt x="664" y="1604"/>
                </a:lnTo>
                <a:lnTo>
                  <a:pt x="710" y="1606"/>
                </a:lnTo>
                <a:lnTo>
                  <a:pt x="736" y="1604"/>
                </a:lnTo>
                <a:lnTo>
                  <a:pt x="760" y="1604"/>
                </a:lnTo>
                <a:lnTo>
                  <a:pt x="778" y="1600"/>
                </a:lnTo>
                <a:lnTo>
                  <a:pt x="794" y="1598"/>
                </a:lnTo>
                <a:lnTo>
                  <a:pt x="818" y="1590"/>
                </a:lnTo>
                <a:lnTo>
                  <a:pt x="836" y="1582"/>
                </a:lnTo>
                <a:lnTo>
                  <a:pt x="884" y="1558"/>
                </a:lnTo>
                <a:lnTo>
                  <a:pt x="918" y="1542"/>
                </a:lnTo>
                <a:lnTo>
                  <a:pt x="918" y="1592"/>
                </a:lnTo>
                <a:lnTo>
                  <a:pt x="936" y="1600"/>
                </a:lnTo>
                <a:lnTo>
                  <a:pt x="964" y="1600"/>
                </a:lnTo>
                <a:lnTo>
                  <a:pt x="984" y="1598"/>
                </a:lnTo>
                <a:lnTo>
                  <a:pt x="992" y="1596"/>
                </a:lnTo>
                <a:lnTo>
                  <a:pt x="994" y="1594"/>
                </a:lnTo>
                <a:lnTo>
                  <a:pt x="998" y="1576"/>
                </a:lnTo>
                <a:lnTo>
                  <a:pt x="1002" y="1550"/>
                </a:lnTo>
                <a:lnTo>
                  <a:pt x="1008" y="1514"/>
                </a:lnTo>
                <a:lnTo>
                  <a:pt x="1010" y="1510"/>
                </a:lnTo>
                <a:lnTo>
                  <a:pt x="1012" y="1506"/>
                </a:lnTo>
                <a:lnTo>
                  <a:pt x="1014" y="1500"/>
                </a:lnTo>
                <a:lnTo>
                  <a:pt x="1008" y="1444"/>
                </a:lnTo>
                <a:lnTo>
                  <a:pt x="1004" y="1404"/>
                </a:lnTo>
                <a:lnTo>
                  <a:pt x="1000" y="1380"/>
                </a:lnTo>
                <a:lnTo>
                  <a:pt x="994" y="1368"/>
                </a:lnTo>
                <a:lnTo>
                  <a:pt x="986" y="1354"/>
                </a:lnTo>
                <a:lnTo>
                  <a:pt x="972" y="1334"/>
                </a:lnTo>
                <a:lnTo>
                  <a:pt x="962" y="1318"/>
                </a:lnTo>
                <a:lnTo>
                  <a:pt x="958" y="1308"/>
                </a:lnTo>
                <a:lnTo>
                  <a:pt x="956" y="1288"/>
                </a:lnTo>
                <a:lnTo>
                  <a:pt x="954" y="1272"/>
                </a:lnTo>
                <a:lnTo>
                  <a:pt x="948" y="1256"/>
                </a:lnTo>
                <a:lnTo>
                  <a:pt x="932" y="1214"/>
                </a:lnTo>
                <a:lnTo>
                  <a:pt x="906" y="1136"/>
                </a:lnTo>
                <a:lnTo>
                  <a:pt x="878" y="1054"/>
                </a:lnTo>
                <a:lnTo>
                  <a:pt x="856" y="992"/>
                </a:lnTo>
                <a:lnTo>
                  <a:pt x="840" y="954"/>
                </a:lnTo>
                <a:lnTo>
                  <a:pt x="826" y="924"/>
                </a:lnTo>
                <a:lnTo>
                  <a:pt x="814" y="896"/>
                </a:lnTo>
                <a:lnTo>
                  <a:pt x="810" y="896"/>
                </a:lnTo>
                <a:lnTo>
                  <a:pt x="810" y="880"/>
                </a:lnTo>
                <a:lnTo>
                  <a:pt x="808" y="868"/>
                </a:lnTo>
                <a:lnTo>
                  <a:pt x="806" y="858"/>
                </a:lnTo>
                <a:lnTo>
                  <a:pt x="804" y="850"/>
                </a:lnTo>
                <a:lnTo>
                  <a:pt x="802" y="846"/>
                </a:lnTo>
                <a:lnTo>
                  <a:pt x="804" y="842"/>
                </a:lnTo>
                <a:lnTo>
                  <a:pt x="808" y="834"/>
                </a:lnTo>
                <a:lnTo>
                  <a:pt x="810" y="824"/>
                </a:lnTo>
                <a:lnTo>
                  <a:pt x="812" y="802"/>
                </a:lnTo>
                <a:lnTo>
                  <a:pt x="828" y="792"/>
                </a:lnTo>
                <a:lnTo>
                  <a:pt x="868" y="762"/>
                </a:lnTo>
                <a:lnTo>
                  <a:pt x="892" y="742"/>
                </a:lnTo>
                <a:lnTo>
                  <a:pt x="916" y="720"/>
                </a:lnTo>
                <a:lnTo>
                  <a:pt x="938" y="698"/>
                </a:lnTo>
                <a:lnTo>
                  <a:pt x="958" y="674"/>
                </a:lnTo>
                <a:lnTo>
                  <a:pt x="956" y="718"/>
                </a:lnTo>
                <a:lnTo>
                  <a:pt x="950" y="754"/>
                </a:lnTo>
                <a:lnTo>
                  <a:pt x="946" y="784"/>
                </a:lnTo>
                <a:lnTo>
                  <a:pt x="940" y="808"/>
                </a:lnTo>
                <a:lnTo>
                  <a:pt x="938" y="836"/>
                </a:lnTo>
                <a:lnTo>
                  <a:pt x="938" y="862"/>
                </a:lnTo>
                <a:lnTo>
                  <a:pt x="938" y="884"/>
                </a:lnTo>
                <a:lnTo>
                  <a:pt x="940" y="896"/>
                </a:lnTo>
                <a:lnTo>
                  <a:pt x="944" y="908"/>
                </a:lnTo>
                <a:lnTo>
                  <a:pt x="956" y="938"/>
                </a:lnTo>
                <a:lnTo>
                  <a:pt x="968" y="966"/>
                </a:lnTo>
                <a:lnTo>
                  <a:pt x="978" y="986"/>
                </a:lnTo>
                <a:lnTo>
                  <a:pt x="988" y="998"/>
                </a:lnTo>
                <a:lnTo>
                  <a:pt x="1002" y="1010"/>
                </a:lnTo>
                <a:lnTo>
                  <a:pt x="1018" y="1022"/>
                </a:lnTo>
                <a:lnTo>
                  <a:pt x="1036" y="1034"/>
                </a:lnTo>
                <a:lnTo>
                  <a:pt x="1078" y="1106"/>
                </a:lnTo>
                <a:lnTo>
                  <a:pt x="1114" y="1168"/>
                </a:lnTo>
                <a:lnTo>
                  <a:pt x="1144" y="1222"/>
                </a:lnTo>
                <a:lnTo>
                  <a:pt x="1190" y="1308"/>
                </a:lnTo>
                <a:lnTo>
                  <a:pt x="1218" y="1354"/>
                </a:lnTo>
                <a:lnTo>
                  <a:pt x="1224" y="1362"/>
                </a:lnTo>
                <a:lnTo>
                  <a:pt x="1230" y="1368"/>
                </a:lnTo>
                <a:lnTo>
                  <a:pt x="1236" y="1372"/>
                </a:lnTo>
                <a:lnTo>
                  <a:pt x="1240" y="1376"/>
                </a:lnTo>
                <a:lnTo>
                  <a:pt x="1238" y="1380"/>
                </a:lnTo>
                <a:lnTo>
                  <a:pt x="1236" y="1384"/>
                </a:lnTo>
                <a:lnTo>
                  <a:pt x="1234" y="1392"/>
                </a:lnTo>
                <a:lnTo>
                  <a:pt x="1234" y="1400"/>
                </a:lnTo>
                <a:lnTo>
                  <a:pt x="1238" y="1418"/>
                </a:lnTo>
                <a:lnTo>
                  <a:pt x="1240" y="1424"/>
                </a:lnTo>
                <a:lnTo>
                  <a:pt x="1236" y="1442"/>
                </a:lnTo>
                <a:lnTo>
                  <a:pt x="1234" y="1440"/>
                </a:lnTo>
                <a:lnTo>
                  <a:pt x="1230" y="1440"/>
                </a:lnTo>
                <a:lnTo>
                  <a:pt x="1220" y="1446"/>
                </a:lnTo>
                <a:lnTo>
                  <a:pt x="1210" y="1460"/>
                </a:lnTo>
                <a:lnTo>
                  <a:pt x="1196" y="1478"/>
                </a:lnTo>
                <a:lnTo>
                  <a:pt x="1184" y="1492"/>
                </a:lnTo>
                <a:lnTo>
                  <a:pt x="1174" y="1502"/>
                </a:lnTo>
                <a:lnTo>
                  <a:pt x="1166" y="1508"/>
                </a:lnTo>
                <a:lnTo>
                  <a:pt x="1132" y="1522"/>
                </a:lnTo>
                <a:lnTo>
                  <a:pt x="1112" y="1530"/>
                </a:lnTo>
                <a:lnTo>
                  <a:pt x="1098" y="1534"/>
                </a:lnTo>
                <a:lnTo>
                  <a:pt x="1090" y="1536"/>
                </a:lnTo>
                <a:lnTo>
                  <a:pt x="1080" y="1540"/>
                </a:lnTo>
                <a:lnTo>
                  <a:pt x="1074" y="1548"/>
                </a:lnTo>
                <a:lnTo>
                  <a:pt x="1068" y="1556"/>
                </a:lnTo>
                <a:lnTo>
                  <a:pt x="1066" y="1564"/>
                </a:lnTo>
                <a:lnTo>
                  <a:pt x="1064" y="1572"/>
                </a:lnTo>
                <a:lnTo>
                  <a:pt x="1066" y="1576"/>
                </a:lnTo>
                <a:lnTo>
                  <a:pt x="1072" y="1578"/>
                </a:lnTo>
                <a:lnTo>
                  <a:pt x="1138" y="1586"/>
                </a:lnTo>
                <a:lnTo>
                  <a:pt x="1184" y="1588"/>
                </a:lnTo>
                <a:lnTo>
                  <a:pt x="1200" y="1588"/>
                </a:lnTo>
                <a:lnTo>
                  <a:pt x="1210" y="1586"/>
                </a:lnTo>
                <a:lnTo>
                  <a:pt x="1278" y="1552"/>
                </a:lnTo>
                <a:lnTo>
                  <a:pt x="1320" y="1532"/>
                </a:lnTo>
                <a:lnTo>
                  <a:pt x="1346" y="1522"/>
                </a:lnTo>
                <a:lnTo>
                  <a:pt x="1344" y="1580"/>
                </a:lnTo>
                <a:lnTo>
                  <a:pt x="1360" y="1582"/>
                </a:lnTo>
                <a:lnTo>
                  <a:pt x="1390" y="1582"/>
                </a:lnTo>
                <a:lnTo>
                  <a:pt x="1404" y="1580"/>
                </a:lnTo>
                <a:lnTo>
                  <a:pt x="1412" y="1578"/>
                </a:lnTo>
                <a:lnTo>
                  <a:pt x="1418" y="1574"/>
                </a:lnTo>
                <a:lnTo>
                  <a:pt x="1428" y="1486"/>
                </a:lnTo>
                <a:lnTo>
                  <a:pt x="1426" y="1486"/>
                </a:lnTo>
                <a:close/>
                <a:moveTo>
                  <a:pt x="384" y="548"/>
                </a:moveTo>
                <a:lnTo>
                  <a:pt x="384" y="548"/>
                </a:lnTo>
                <a:lnTo>
                  <a:pt x="380" y="548"/>
                </a:lnTo>
                <a:lnTo>
                  <a:pt x="370" y="544"/>
                </a:lnTo>
                <a:lnTo>
                  <a:pt x="360" y="538"/>
                </a:lnTo>
                <a:lnTo>
                  <a:pt x="356" y="534"/>
                </a:lnTo>
                <a:lnTo>
                  <a:pt x="352" y="528"/>
                </a:lnTo>
                <a:lnTo>
                  <a:pt x="358" y="514"/>
                </a:lnTo>
                <a:lnTo>
                  <a:pt x="362" y="502"/>
                </a:lnTo>
                <a:lnTo>
                  <a:pt x="362" y="488"/>
                </a:lnTo>
                <a:lnTo>
                  <a:pt x="358" y="448"/>
                </a:lnTo>
                <a:lnTo>
                  <a:pt x="360" y="452"/>
                </a:lnTo>
                <a:lnTo>
                  <a:pt x="364" y="464"/>
                </a:lnTo>
                <a:lnTo>
                  <a:pt x="368" y="472"/>
                </a:lnTo>
                <a:lnTo>
                  <a:pt x="372" y="478"/>
                </a:lnTo>
                <a:lnTo>
                  <a:pt x="374" y="482"/>
                </a:lnTo>
                <a:lnTo>
                  <a:pt x="376" y="490"/>
                </a:lnTo>
                <a:lnTo>
                  <a:pt x="374" y="498"/>
                </a:lnTo>
                <a:lnTo>
                  <a:pt x="372" y="504"/>
                </a:lnTo>
                <a:lnTo>
                  <a:pt x="372" y="508"/>
                </a:lnTo>
                <a:lnTo>
                  <a:pt x="374" y="516"/>
                </a:lnTo>
                <a:lnTo>
                  <a:pt x="378" y="524"/>
                </a:lnTo>
                <a:lnTo>
                  <a:pt x="382" y="530"/>
                </a:lnTo>
                <a:lnTo>
                  <a:pt x="384" y="534"/>
                </a:lnTo>
                <a:lnTo>
                  <a:pt x="384" y="548"/>
                </a:lnTo>
                <a:close/>
              </a:path>
            </a:pathLst>
          </a:custGeom>
          <a:solidFill>
            <a:schemeClr val="accent1"/>
          </a:solidFill>
          <a:ln w="9525">
            <a:noFill/>
            <a:round/>
            <a:headEnd/>
            <a:tailEnd/>
          </a:ln>
          <a:effectLst>
            <a:reflection blurRad="6350" stA="52000" endA="300" endPos="35000" dir="5400000" sy="-100000" algn="bl" rotWithShape="0"/>
          </a:effectLst>
        </p:spPr>
        <p:txBody>
          <a:bodyPr/>
          <a:lstStyle/>
          <a:p>
            <a:pPr>
              <a:defRPr/>
            </a:pPr>
            <a:endParaRPr lang="da-DK" sz="11200" dirty="0">
              <a:latin typeface="Calibri"/>
            </a:endParaRPr>
          </a:p>
        </p:txBody>
      </p:sp>
      <p:grpSp>
        <p:nvGrpSpPr>
          <p:cNvPr id="26" name="Gruppe 62"/>
          <p:cNvGrpSpPr>
            <a:grpSpLocks/>
          </p:cNvGrpSpPr>
          <p:nvPr/>
        </p:nvGrpSpPr>
        <p:grpSpPr bwMode="auto">
          <a:xfrm>
            <a:off x="15427911" y="3830590"/>
            <a:ext cx="717550" cy="2400300"/>
            <a:chOff x="1624012" y="-2755900"/>
            <a:chExt cx="1397000" cy="4673600"/>
          </a:xfrm>
          <a:solidFill>
            <a:schemeClr val="bg1">
              <a:lumMod val="50000"/>
            </a:schemeClr>
          </a:solidFill>
        </p:grpSpPr>
        <p:sp>
          <p:nvSpPr>
            <p:cNvPr id="27" name="Freeform 34"/>
            <p:cNvSpPr>
              <a:spLocks noEditPoints="1"/>
            </p:cNvSpPr>
            <p:nvPr/>
          </p:nvSpPr>
          <p:spPr bwMode="auto">
            <a:xfrm>
              <a:off x="1624012" y="-2755900"/>
              <a:ext cx="1397000" cy="4673600"/>
            </a:xfrm>
            <a:custGeom>
              <a:avLst/>
              <a:gdLst>
                <a:gd name="T0" fmla="*/ 756 w 880"/>
                <a:gd name="T1" fmla="*/ 1092 h 2944"/>
                <a:gd name="T2" fmla="*/ 626 w 880"/>
                <a:gd name="T3" fmla="*/ 900 h 2944"/>
                <a:gd name="T4" fmla="*/ 664 w 880"/>
                <a:gd name="T5" fmla="*/ 700 h 2944"/>
                <a:gd name="T6" fmla="*/ 738 w 880"/>
                <a:gd name="T7" fmla="*/ 400 h 2944"/>
                <a:gd name="T8" fmla="*/ 742 w 880"/>
                <a:gd name="T9" fmla="*/ 294 h 2944"/>
                <a:gd name="T10" fmla="*/ 786 w 880"/>
                <a:gd name="T11" fmla="*/ 154 h 2944"/>
                <a:gd name="T12" fmla="*/ 830 w 880"/>
                <a:gd name="T13" fmla="*/ 80 h 2944"/>
                <a:gd name="T14" fmla="*/ 800 w 880"/>
                <a:gd name="T15" fmla="*/ 82 h 2944"/>
                <a:gd name="T16" fmla="*/ 806 w 880"/>
                <a:gd name="T17" fmla="*/ 50 h 2944"/>
                <a:gd name="T18" fmla="*/ 780 w 880"/>
                <a:gd name="T19" fmla="*/ 50 h 2944"/>
                <a:gd name="T20" fmla="*/ 786 w 880"/>
                <a:gd name="T21" fmla="*/ 24 h 2944"/>
                <a:gd name="T22" fmla="*/ 760 w 880"/>
                <a:gd name="T23" fmla="*/ 8 h 2944"/>
                <a:gd name="T24" fmla="*/ 710 w 880"/>
                <a:gd name="T25" fmla="*/ 54 h 2944"/>
                <a:gd name="T26" fmla="*/ 690 w 880"/>
                <a:gd name="T27" fmla="*/ 168 h 2944"/>
                <a:gd name="T28" fmla="*/ 652 w 880"/>
                <a:gd name="T29" fmla="*/ 294 h 2944"/>
                <a:gd name="T30" fmla="*/ 560 w 880"/>
                <a:gd name="T31" fmla="*/ 538 h 2944"/>
                <a:gd name="T32" fmla="*/ 512 w 880"/>
                <a:gd name="T33" fmla="*/ 658 h 2944"/>
                <a:gd name="T34" fmla="*/ 454 w 880"/>
                <a:gd name="T35" fmla="*/ 598 h 2944"/>
                <a:gd name="T36" fmla="*/ 424 w 880"/>
                <a:gd name="T37" fmla="*/ 548 h 2944"/>
                <a:gd name="T38" fmla="*/ 354 w 880"/>
                <a:gd name="T39" fmla="*/ 510 h 2944"/>
                <a:gd name="T40" fmla="*/ 206 w 880"/>
                <a:gd name="T41" fmla="*/ 622 h 2944"/>
                <a:gd name="T42" fmla="*/ 242 w 880"/>
                <a:gd name="T43" fmla="*/ 784 h 2944"/>
                <a:gd name="T44" fmla="*/ 272 w 880"/>
                <a:gd name="T45" fmla="*/ 826 h 2944"/>
                <a:gd name="T46" fmla="*/ 92 w 880"/>
                <a:gd name="T47" fmla="*/ 918 h 2944"/>
                <a:gd name="T48" fmla="*/ 46 w 880"/>
                <a:gd name="T49" fmla="*/ 1060 h 2944"/>
                <a:gd name="T50" fmla="*/ 18 w 880"/>
                <a:gd name="T51" fmla="*/ 1246 h 2944"/>
                <a:gd name="T52" fmla="*/ 64 w 880"/>
                <a:gd name="T53" fmla="*/ 1394 h 2944"/>
                <a:gd name="T54" fmla="*/ 164 w 880"/>
                <a:gd name="T55" fmla="*/ 1514 h 2944"/>
                <a:gd name="T56" fmla="*/ 140 w 880"/>
                <a:gd name="T57" fmla="*/ 1734 h 2944"/>
                <a:gd name="T58" fmla="*/ 134 w 880"/>
                <a:gd name="T59" fmla="*/ 1872 h 2944"/>
                <a:gd name="T60" fmla="*/ 96 w 880"/>
                <a:gd name="T61" fmla="*/ 2140 h 2944"/>
                <a:gd name="T62" fmla="*/ 52 w 880"/>
                <a:gd name="T63" fmla="*/ 2344 h 2944"/>
                <a:gd name="T64" fmla="*/ 26 w 880"/>
                <a:gd name="T65" fmla="*/ 2646 h 2944"/>
                <a:gd name="T66" fmla="*/ 2 w 880"/>
                <a:gd name="T67" fmla="*/ 2780 h 2944"/>
                <a:gd name="T68" fmla="*/ 46 w 880"/>
                <a:gd name="T69" fmla="*/ 2900 h 2944"/>
                <a:gd name="T70" fmla="*/ 200 w 880"/>
                <a:gd name="T71" fmla="*/ 2936 h 2944"/>
                <a:gd name="T72" fmla="*/ 182 w 880"/>
                <a:gd name="T73" fmla="*/ 2868 h 2944"/>
                <a:gd name="T74" fmla="*/ 150 w 880"/>
                <a:gd name="T75" fmla="*/ 2792 h 2944"/>
                <a:gd name="T76" fmla="*/ 162 w 880"/>
                <a:gd name="T77" fmla="*/ 2656 h 2944"/>
                <a:gd name="T78" fmla="*/ 238 w 880"/>
                <a:gd name="T79" fmla="*/ 2256 h 2944"/>
                <a:gd name="T80" fmla="*/ 338 w 880"/>
                <a:gd name="T81" fmla="*/ 1940 h 2944"/>
                <a:gd name="T82" fmla="*/ 344 w 880"/>
                <a:gd name="T83" fmla="*/ 2136 h 2944"/>
                <a:gd name="T84" fmla="*/ 320 w 880"/>
                <a:gd name="T85" fmla="*/ 2368 h 2944"/>
                <a:gd name="T86" fmla="*/ 276 w 880"/>
                <a:gd name="T87" fmla="*/ 2630 h 2944"/>
                <a:gd name="T88" fmla="*/ 298 w 880"/>
                <a:gd name="T89" fmla="*/ 2748 h 2944"/>
                <a:gd name="T90" fmla="*/ 368 w 880"/>
                <a:gd name="T91" fmla="*/ 2840 h 2944"/>
                <a:gd name="T92" fmla="*/ 500 w 880"/>
                <a:gd name="T93" fmla="*/ 2876 h 2944"/>
                <a:gd name="T94" fmla="*/ 436 w 880"/>
                <a:gd name="T95" fmla="*/ 2810 h 2944"/>
                <a:gd name="T96" fmla="*/ 432 w 880"/>
                <a:gd name="T97" fmla="*/ 2720 h 2944"/>
                <a:gd name="T98" fmla="*/ 442 w 880"/>
                <a:gd name="T99" fmla="*/ 2614 h 2944"/>
                <a:gd name="T100" fmla="*/ 494 w 880"/>
                <a:gd name="T101" fmla="*/ 2282 h 2944"/>
                <a:gd name="T102" fmla="*/ 544 w 880"/>
                <a:gd name="T103" fmla="*/ 1970 h 2944"/>
                <a:gd name="T104" fmla="*/ 568 w 880"/>
                <a:gd name="T105" fmla="*/ 1740 h 2944"/>
                <a:gd name="T106" fmla="*/ 568 w 880"/>
                <a:gd name="T107" fmla="*/ 1562 h 2944"/>
                <a:gd name="T108" fmla="*/ 620 w 880"/>
                <a:gd name="T109" fmla="*/ 1476 h 2944"/>
                <a:gd name="T110" fmla="*/ 854 w 880"/>
                <a:gd name="T111" fmla="*/ 1448 h 2944"/>
                <a:gd name="T112" fmla="*/ 180 w 880"/>
                <a:gd name="T113" fmla="*/ 1304 h 2944"/>
                <a:gd name="T114" fmla="*/ 152 w 880"/>
                <a:gd name="T115" fmla="*/ 1274 h 2944"/>
                <a:gd name="T116" fmla="*/ 174 w 880"/>
                <a:gd name="T117" fmla="*/ 1194 h 2944"/>
                <a:gd name="T118" fmla="*/ 204 w 880"/>
                <a:gd name="T119" fmla="*/ 1308 h 29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2944"/>
                <a:gd name="T182" fmla="*/ 880 w 880"/>
                <a:gd name="T183" fmla="*/ 2944 h 29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2944">
                  <a:moveTo>
                    <a:pt x="878" y="1370"/>
                  </a:moveTo>
                  <a:lnTo>
                    <a:pt x="878" y="1370"/>
                  </a:lnTo>
                  <a:lnTo>
                    <a:pt x="848" y="1274"/>
                  </a:lnTo>
                  <a:lnTo>
                    <a:pt x="824" y="1204"/>
                  </a:lnTo>
                  <a:lnTo>
                    <a:pt x="808" y="1162"/>
                  </a:lnTo>
                  <a:lnTo>
                    <a:pt x="804" y="1154"/>
                  </a:lnTo>
                  <a:lnTo>
                    <a:pt x="796" y="1144"/>
                  </a:lnTo>
                  <a:lnTo>
                    <a:pt x="782" y="1126"/>
                  </a:lnTo>
                  <a:lnTo>
                    <a:pt x="762" y="1110"/>
                  </a:lnTo>
                  <a:lnTo>
                    <a:pt x="756" y="1092"/>
                  </a:lnTo>
                  <a:lnTo>
                    <a:pt x="748" y="1078"/>
                  </a:lnTo>
                  <a:lnTo>
                    <a:pt x="738" y="1066"/>
                  </a:lnTo>
                  <a:lnTo>
                    <a:pt x="724" y="1046"/>
                  </a:lnTo>
                  <a:lnTo>
                    <a:pt x="710" y="1022"/>
                  </a:lnTo>
                  <a:lnTo>
                    <a:pt x="694" y="990"/>
                  </a:lnTo>
                  <a:lnTo>
                    <a:pt x="684" y="974"/>
                  </a:lnTo>
                  <a:lnTo>
                    <a:pt x="674" y="958"/>
                  </a:lnTo>
                  <a:lnTo>
                    <a:pt x="652" y="932"/>
                  </a:lnTo>
                  <a:lnTo>
                    <a:pt x="636" y="912"/>
                  </a:lnTo>
                  <a:lnTo>
                    <a:pt x="626" y="900"/>
                  </a:lnTo>
                  <a:lnTo>
                    <a:pt x="596" y="842"/>
                  </a:lnTo>
                  <a:lnTo>
                    <a:pt x="598" y="838"/>
                  </a:lnTo>
                  <a:lnTo>
                    <a:pt x="604" y="822"/>
                  </a:lnTo>
                  <a:lnTo>
                    <a:pt x="614" y="802"/>
                  </a:lnTo>
                  <a:lnTo>
                    <a:pt x="630" y="772"/>
                  </a:lnTo>
                  <a:lnTo>
                    <a:pt x="646" y="740"/>
                  </a:lnTo>
                  <a:lnTo>
                    <a:pt x="658" y="718"/>
                  </a:lnTo>
                  <a:lnTo>
                    <a:pt x="664" y="700"/>
                  </a:lnTo>
                  <a:lnTo>
                    <a:pt x="670" y="678"/>
                  </a:lnTo>
                  <a:lnTo>
                    <a:pt x="678" y="632"/>
                  </a:lnTo>
                  <a:lnTo>
                    <a:pt x="684" y="596"/>
                  </a:lnTo>
                  <a:lnTo>
                    <a:pt x="688" y="568"/>
                  </a:lnTo>
                  <a:lnTo>
                    <a:pt x="700" y="522"/>
                  </a:lnTo>
                  <a:lnTo>
                    <a:pt x="714" y="476"/>
                  </a:lnTo>
                  <a:lnTo>
                    <a:pt x="728" y="434"/>
                  </a:lnTo>
                  <a:lnTo>
                    <a:pt x="738" y="400"/>
                  </a:lnTo>
                  <a:lnTo>
                    <a:pt x="738" y="392"/>
                  </a:lnTo>
                  <a:lnTo>
                    <a:pt x="738" y="390"/>
                  </a:lnTo>
                  <a:lnTo>
                    <a:pt x="740" y="382"/>
                  </a:lnTo>
                  <a:lnTo>
                    <a:pt x="746" y="364"/>
                  </a:lnTo>
                  <a:lnTo>
                    <a:pt x="756" y="338"/>
                  </a:lnTo>
                  <a:lnTo>
                    <a:pt x="764" y="314"/>
                  </a:lnTo>
                  <a:lnTo>
                    <a:pt x="760" y="308"/>
                  </a:lnTo>
                  <a:lnTo>
                    <a:pt x="754" y="302"/>
                  </a:lnTo>
                  <a:lnTo>
                    <a:pt x="742" y="294"/>
                  </a:lnTo>
                  <a:lnTo>
                    <a:pt x="750" y="232"/>
                  </a:lnTo>
                  <a:lnTo>
                    <a:pt x="754" y="230"/>
                  </a:lnTo>
                  <a:lnTo>
                    <a:pt x="762" y="224"/>
                  </a:lnTo>
                  <a:lnTo>
                    <a:pt x="768" y="218"/>
                  </a:lnTo>
                  <a:lnTo>
                    <a:pt x="772" y="208"/>
                  </a:lnTo>
                  <a:lnTo>
                    <a:pt x="778" y="186"/>
                  </a:lnTo>
                  <a:lnTo>
                    <a:pt x="782" y="168"/>
                  </a:lnTo>
                  <a:lnTo>
                    <a:pt x="786" y="154"/>
                  </a:lnTo>
                  <a:lnTo>
                    <a:pt x="790" y="138"/>
                  </a:lnTo>
                  <a:lnTo>
                    <a:pt x="790" y="128"/>
                  </a:lnTo>
                  <a:lnTo>
                    <a:pt x="796" y="122"/>
                  </a:lnTo>
                  <a:lnTo>
                    <a:pt x="804" y="114"/>
                  </a:lnTo>
                  <a:lnTo>
                    <a:pt x="810" y="104"/>
                  </a:lnTo>
                  <a:lnTo>
                    <a:pt x="814" y="100"/>
                  </a:lnTo>
                  <a:lnTo>
                    <a:pt x="820" y="94"/>
                  </a:lnTo>
                  <a:lnTo>
                    <a:pt x="824" y="86"/>
                  </a:lnTo>
                  <a:lnTo>
                    <a:pt x="830" y="80"/>
                  </a:lnTo>
                  <a:lnTo>
                    <a:pt x="834" y="74"/>
                  </a:lnTo>
                  <a:lnTo>
                    <a:pt x="836" y="70"/>
                  </a:lnTo>
                  <a:lnTo>
                    <a:pt x="836" y="64"/>
                  </a:lnTo>
                  <a:lnTo>
                    <a:pt x="834" y="64"/>
                  </a:lnTo>
                  <a:lnTo>
                    <a:pt x="832" y="64"/>
                  </a:lnTo>
                  <a:lnTo>
                    <a:pt x="826" y="66"/>
                  </a:lnTo>
                  <a:lnTo>
                    <a:pt x="820" y="70"/>
                  </a:lnTo>
                  <a:lnTo>
                    <a:pt x="812" y="74"/>
                  </a:lnTo>
                  <a:lnTo>
                    <a:pt x="806" y="78"/>
                  </a:lnTo>
                  <a:lnTo>
                    <a:pt x="800" y="82"/>
                  </a:lnTo>
                  <a:lnTo>
                    <a:pt x="782" y="100"/>
                  </a:lnTo>
                  <a:lnTo>
                    <a:pt x="770" y="110"/>
                  </a:lnTo>
                  <a:lnTo>
                    <a:pt x="768" y="108"/>
                  </a:lnTo>
                  <a:lnTo>
                    <a:pt x="780" y="86"/>
                  </a:lnTo>
                  <a:lnTo>
                    <a:pt x="788" y="76"/>
                  </a:lnTo>
                  <a:lnTo>
                    <a:pt x="794" y="66"/>
                  </a:lnTo>
                  <a:lnTo>
                    <a:pt x="798" y="62"/>
                  </a:lnTo>
                  <a:lnTo>
                    <a:pt x="802" y="56"/>
                  </a:lnTo>
                  <a:lnTo>
                    <a:pt x="806" y="50"/>
                  </a:lnTo>
                  <a:lnTo>
                    <a:pt x="812" y="46"/>
                  </a:lnTo>
                  <a:lnTo>
                    <a:pt x="816" y="40"/>
                  </a:lnTo>
                  <a:lnTo>
                    <a:pt x="818" y="32"/>
                  </a:lnTo>
                  <a:lnTo>
                    <a:pt x="818" y="30"/>
                  </a:lnTo>
                  <a:lnTo>
                    <a:pt x="816" y="28"/>
                  </a:lnTo>
                  <a:lnTo>
                    <a:pt x="812" y="26"/>
                  </a:lnTo>
                  <a:lnTo>
                    <a:pt x="808" y="26"/>
                  </a:lnTo>
                  <a:lnTo>
                    <a:pt x="800" y="30"/>
                  </a:lnTo>
                  <a:lnTo>
                    <a:pt x="780" y="50"/>
                  </a:lnTo>
                  <a:lnTo>
                    <a:pt x="758" y="76"/>
                  </a:lnTo>
                  <a:lnTo>
                    <a:pt x="758" y="62"/>
                  </a:lnTo>
                  <a:lnTo>
                    <a:pt x="762" y="56"/>
                  </a:lnTo>
                  <a:lnTo>
                    <a:pt x="768" y="48"/>
                  </a:lnTo>
                  <a:lnTo>
                    <a:pt x="772" y="38"/>
                  </a:lnTo>
                  <a:lnTo>
                    <a:pt x="776" y="34"/>
                  </a:lnTo>
                  <a:lnTo>
                    <a:pt x="780" y="30"/>
                  </a:lnTo>
                  <a:lnTo>
                    <a:pt x="786" y="24"/>
                  </a:lnTo>
                  <a:lnTo>
                    <a:pt x="790" y="16"/>
                  </a:lnTo>
                  <a:lnTo>
                    <a:pt x="792" y="10"/>
                  </a:lnTo>
                  <a:lnTo>
                    <a:pt x="790" y="6"/>
                  </a:lnTo>
                  <a:lnTo>
                    <a:pt x="788" y="4"/>
                  </a:lnTo>
                  <a:lnTo>
                    <a:pt x="784" y="4"/>
                  </a:lnTo>
                  <a:lnTo>
                    <a:pt x="780" y="4"/>
                  </a:lnTo>
                  <a:lnTo>
                    <a:pt x="770" y="10"/>
                  </a:lnTo>
                  <a:lnTo>
                    <a:pt x="756" y="22"/>
                  </a:lnTo>
                  <a:lnTo>
                    <a:pt x="760" y="16"/>
                  </a:lnTo>
                  <a:lnTo>
                    <a:pt x="760" y="8"/>
                  </a:lnTo>
                  <a:lnTo>
                    <a:pt x="760" y="4"/>
                  </a:lnTo>
                  <a:lnTo>
                    <a:pt x="756" y="0"/>
                  </a:lnTo>
                  <a:lnTo>
                    <a:pt x="752" y="0"/>
                  </a:lnTo>
                  <a:lnTo>
                    <a:pt x="748" y="2"/>
                  </a:lnTo>
                  <a:lnTo>
                    <a:pt x="746" y="4"/>
                  </a:lnTo>
                  <a:lnTo>
                    <a:pt x="734" y="16"/>
                  </a:lnTo>
                  <a:lnTo>
                    <a:pt x="728" y="28"/>
                  </a:lnTo>
                  <a:lnTo>
                    <a:pt x="714" y="54"/>
                  </a:lnTo>
                  <a:lnTo>
                    <a:pt x="710" y="54"/>
                  </a:lnTo>
                  <a:lnTo>
                    <a:pt x="704" y="60"/>
                  </a:lnTo>
                  <a:lnTo>
                    <a:pt x="700" y="68"/>
                  </a:lnTo>
                  <a:lnTo>
                    <a:pt x="686" y="118"/>
                  </a:lnTo>
                  <a:lnTo>
                    <a:pt x="686" y="126"/>
                  </a:lnTo>
                  <a:lnTo>
                    <a:pt x="686" y="134"/>
                  </a:lnTo>
                  <a:lnTo>
                    <a:pt x="688" y="146"/>
                  </a:lnTo>
                  <a:lnTo>
                    <a:pt x="690" y="168"/>
                  </a:lnTo>
                  <a:lnTo>
                    <a:pt x="692" y="188"/>
                  </a:lnTo>
                  <a:lnTo>
                    <a:pt x="692" y="202"/>
                  </a:lnTo>
                  <a:lnTo>
                    <a:pt x="692" y="212"/>
                  </a:lnTo>
                  <a:lnTo>
                    <a:pt x="682" y="242"/>
                  </a:lnTo>
                  <a:lnTo>
                    <a:pt x="674" y="260"/>
                  </a:lnTo>
                  <a:lnTo>
                    <a:pt x="670" y="260"/>
                  </a:lnTo>
                  <a:lnTo>
                    <a:pt x="666" y="260"/>
                  </a:lnTo>
                  <a:lnTo>
                    <a:pt x="660" y="272"/>
                  </a:lnTo>
                  <a:lnTo>
                    <a:pt x="652" y="294"/>
                  </a:lnTo>
                  <a:lnTo>
                    <a:pt x="638" y="326"/>
                  </a:lnTo>
                  <a:lnTo>
                    <a:pt x="636" y="326"/>
                  </a:lnTo>
                  <a:lnTo>
                    <a:pt x="630" y="332"/>
                  </a:lnTo>
                  <a:lnTo>
                    <a:pt x="628" y="336"/>
                  </a:lnTo>
                  <a:lnTo>
                    <a:pt x="626" y="342"/>
                  </a:lnTo>
                  <a:lnTo>
                    <a:pt x="620" y="360"/>
                  </a:lnTo>
                  <a:lnTo>
                    <a:pt x="580" y="472"/>
                  </a:lnTo>
                  <a:lnTo>
                    <a:pt x="560" y="538"/>
                  </a:lnTo>
                  <a:lnTo>
                    <a:pt x="544" y="594"/>
                  </a:lnTo>
                  <a:lnTo>
                    <a:pt x="542" y="600"/>
                  </a:lnTo>
                  <a:lnTo>
                    <a:pt x="538" y="606"/>
                  </a:lnTo>
                  <a:lnTo>
                    <a:pt x="526" y="626"/>
                  </a:lnTo>
                  <a:lnTo>
                    <a:pt x="520" y="640"/>
                  </a:lnTo>
                  <a:lnTo>
                    <a:pt x="518" y="650"/>
                  </a:lnTo>
                  <a:lnTo>
                    <a:pt x="514" y="662"/>
                  </a:lnTo>
                  <a:lnTo>
                    <a:pt x="512" y="658"/>
                  </a:lnTo>
                  <a:lnTo>
                    <a:pt x="508" y="654"/>
                  </a:lnTo>
                  <a:lnTo>
                    <a:pt x="504" y="652"/>
                  </a:lnTo>
                  <a:lnTo>
                    <a:pt x="500" y="640"/>
                  </a:lnTo>
                  <a:lnTo>
                    <a:pt x="504" y="636"/>
                  </a:lnTo>
                  <a:lnTo>
                    <a:pt x="506" y="630"/>
                  </a:lnTo>
                  <a:lnTo>
                    <a:pt x="508" y="622"/>
                  </a:lnTo>
                  <a:lnTo>
                    <a:pt x="506" y="620"/>
                  </a:lnTo>
                  <a:lnTo>
                    <a:pt x="500" y="616"/>
                  </a:lnTo>
                  <a:lnTo>
                    <a:pt x="482" y="608"/>
                  </a:lnTo>
                  <a:lnTo>
                    <a:pt x="454" y="598"/>
                  </a:lnTo>
                  <a:lnTo>
                    <a:pt x="450" y="582"/>
                  </a:lnTo>
                  <a:lnTo>
                    <a:pt x="448" y="578"/>
                  </a:lnTo>
                  <a:lnTo>
                    <a:pt x="446" y="574"/>
                  </a:lnTo>
                  <a:lnTo>
                    <a:pt x="440" y="568"/>
                  </a:lnTo>
                  <a:lnTo>
                    <a:pt x="434" y="560"/>
                  </a:lnTo>
                  <a:lnTo>
                    <a:pt x="432" y="556"/>
                  </a:lnTo>
                  <a:lnTo>
                    <a:pt x="426" y="552"/>
                  </a:lnTo>
                  <a:lnTo>
                    <a:pt x="424" y="548"/>
                  </a:lnTo>
                  <a:lnTo>
                    <a:pt x="422" y="544"/>
                  </a:lnTo>
                  <a:lnTo>
                    <a:pt x="424" y="538"/>
                  </a:lnTo>
                  <a:lnTo>
                    <a:pt x="422" y="534"/>
                  </a:lnTo>
                  <a:lnTo>
                    <a:pt x="420" y="526"/>
                  </a:lnTo>
                  <a:lnTo>
                    <a:pt x="414" y="518"/>
                  </a:lnTo>
                  <a:lnTo>
                    <a:pt x="404" y="514"/>
                  </a:lnTo>
                  <a:lnTo>
                    <a:pt x="392" y="512"/>
                  </a:lnTo>
                  <a:lnTo>
                    <a:pt x="374" y="510"/>
                  </a:lnTo>
                  <a:lnTo>
                    <a:pt x="354" y="510"/>
                  </a:lnTo>
                  <a:lnTo>
                    <a:pt x="344" y="510"/>
                  </a:lnTo>
                  <a:lnTo>
                    <a:pt x="332" y="514"/>
                  </a:lnTo>
                  <a:lnTo>
                    <a:pt x="322" y="518"/>
                  </a:lnTo>
                  <a:lnTo>
                    <a:pt x="310" y="524"/>
                  </a:lnTo>
                  <a:lnTo>
                    <a:pt x="298" y="532"/>
                  </a:lnTo>
                  <a:lnTo>
                    <a:pt x="284" y="540"/>
                  </a:lnTo>
                  <a:lnTo>
                    <a:pt x="258" y="562"/>
                  </a:lnTo>
                  <a:lnTo>
                    <a:pt x="236" y="582"/>
                  </a:lnTo>
                  <a:lnTo>
                    <a:pt x="218" y="604"/>
                  </a:lnTo>
                  <a:lnTo>
                    <a:pt x="212" y="612"/>
                  </a:lnTo>
                  <a:lnTo>
                    <a:pt x="206" y="622"/>
                  </a:lnTo>
                  <a:lnTo>
                    <a:pt x="204" y="632"/>
                  </a:lnTo>
                  <a:lnTo>
                    <a:pt x="202" y="642"/>
                  </a:lnTo>
                  <a:lnTo>
                    <a:pt x="200" y="662"/>
                  </a:lnTo>
                  <a:lnTo>
                    <a:pt x="202" y="680"/>
                  </a:lnTo>
                  <a:lnTo>
                    <a:pt x="206" y="696"/>
                  </a:lnTo>
                  <a:lnTo>
                    <a:pt x="210" y="712"/>
                  </a:lnTo>
                  <a:lnTo>
                    <a:pt x="216" y="728"/>
                  </a:lnTo>
                  <a:lnTo>
                    <a:pt x="230" y="758"/>
                  </a:lnTo>
                  <a:lnTo>
                    <a:pt x="242" y="784"/>
                  </a:lnTo>
                  <a:lnTo>
                    <a:pt x="256" y="808"/>
                  </a:lnTo>
                  <a:lnTo>
                    <a:pt x="262" y="814"/>
                  </a:lnTo>
                  <a:lnTo>
                    <a:pt x="270" y="820"/>
                  </a:lnTo>
                  <a:lnTo>
                    <a:pt x="280" y="824"/>
                  </a:lnTo>
                  <a:lnTo>
                    <a:pt x="282" y="824"/>
                  </a:lnTo>
                  <a:lnTo>
                    <a:pt x="280" y="824"/>
                  </a:lnTo>
                  <a:lnTo>
                    <a:pt x="276" y="824"/>
                  </a:lnTo>
                  <a:lnTo>
                    <a:pt x="272" y="826"/>
                  </a:lnTo>
                  <a:lnTo>
                    <a:pt x="264" y="830"/>
                  </a:lnTo>
                  <a:lnTo>
                    <a:pt x="254" y="840"/>
                  </a:lnTo>
                  <a:lnTo>
                    <a:pt x="248" y="846"/>
                  </a:lnTo>
                  <a:lnTo>
                    <a:pt x="242" y="844"/>
                  </a:lnTo>
                  <a:lnTo>
                    <a:pt x="158" y="882"/>
                  </a:lnTo>
                  <a:lnTo>
                    <a:pt x="116" y="902"/>
                  </a:lnTo>
                  <a:lnTo>
                    <a:pt x="100" y="912"/>
                  </a:lnTo>
                  <a:lnTo>
                    <a:pt x="92" y="918"/>
                  </a:lnTo>
                  <a:lnTo>
                    <a:pt x="88" y="924"/>
                  </a:lnTo>
                  <a:lnTo>
                    <a:pt x="84" y="932"/>
                  </a:lnTo>
                  <a:lnTo>
                    <a:pt x="80" y="954"/>
                  </a:lnTo>
                  <a:lnTo>
                    <a:pt x="70" y="988"/>
                  </a:lnTo>
                  <a:lnTo>
                    <a:pt x="64" y="1008"/>
                  </a:lnTo>
                  <a:lnTo>
                    <a:pt x="56" y="1022"/>
                  </a:lnTo>
                  <a:lnTo>
                    <a:pt x="50" y="1034"/>
                  </a:lnTo>
                  <a:lnTo>
                    <a:pt x="48" y="1044"/>
                  </a:lnTo>
                  <a:lnTo>
                    <a:pt x="46" y="1060"/>
                  </a:lnTo>
                  <a:lnTo>
                    <a:pt x="46" y="1086"/>
                  </a:lnTo>
                  <a:lnTo>
                    <a:pt x="48" y="1120"/>
                  </a:lnTo>
                  <a:lnTo>
                    <a:pt x="38" y="1144"/>
                  </a:lnTo>
                  <a:lnTo>
                    <a:pt x="32" y="1166"/>
                  </a:lnTo>
                  <a:lnTo>
                    <a:pt x="26" y="1186"/>
                  </a:lnTo>
                  <a:lnTo>
                    <a:pt x="24" y="1202"/>
                  </a:lnTo>
                  <a:lnTo>
                    <a:pt x="22" y="1228"/>
                  </a:lnTo>
                  <a:lnTo>
                    <a:pt x="20" y="1238"/>
                  </a:lnTo>
                  <a:lnTo>
                    <a:pt x="18" y="1244"/>
                  </a:lnTo>
                  <a:lnTo>
                    <a:pt x="18" y="1246"/>
                  </a:lnTo>
                  <a:lnTo>
                    <a:pt x="8" y="1288"/>
                  </a:lnTo>
                  <a:lnTo>
                    <a:pt x="2" y="1310"/>
                  </a:lnTo>
                  <a:lnTo>
                    <a:pt x="0" y="1324"/>
                  </a:lnTo>
                  <a:lnTo>
                    <a:pt x="2" y="1336"/>
                  </a:lnTo>
                  <a:lnTo>
                    <a:pt x="4" y="1340"/>
                  </a:lnTo>
                  <a:lnTo>
                    <a:pt x="12" y="1348"/>
                  </a:lnTo>
                  <a:lnTo>
                    <a:pt x="34" y="1370"/>
                  </a:lnTo>
                  <a:lnTo>
                    <a:pt x="48" y="1382"/>
                  </a:lnTo>
                  <a:lnTo>
                    <a:pt x="64" y="1394"/>
                  </a:lnTo>
                  <a:lnTo>
                    <a:pt x="172" y="1458"/>
                  </a:lnTo>
                  <a:lnTo>
                    <a:pt x="176" y="1460"/>
                  </a:lnTo>
                  <a:lnTo>
                    <a:pt x="178" y="1464"/>
                  </a:lnTo>
                  <a:lnTo>
                    <a:pt x="182" y="1470"/>
                  </a:lnTo>
                  <a:lnTo>
                    <a:pt x="184" y="1472"/>
                  </a:lnTo>
                  <a:lnTo>
                    <a:pt x="184" y="1476"/>
                  </a:lnTo>
                  <a:lnTo>
                    <a:pt x="172" y="1496"/>
                  </a:lnTo>
                  <a:lnTo>
                    <a:pt x="164" y="1514"/>
                  </a:lnTo>
                  <a:lnTo>
                    <a:pt x="156" y="1532"/>
                  </a:lnTo>
                  <a:lnTo>
                    <a:pt x="152" y="1548"/>
                  </a:lnTo>
                  <a:lnTo>
                    <a:pt x="150" y="1556"/>
                  </a:lnTo>
                  <a:lnTo>
                    <a:pt x="150" y="1570"/>
                  </a:lnTo>
                  <a:lnTo>
                    <a:pt x="136" y="1708"/>
                  </a:lnTo>
                  <a:lnTo>
                    <a:pt x="136" y="1718"/>
                  </a:lnTo>
                  <a:lnTo>
                    <a:pt x="136" y="1724"/>
                  </a:lnTo>
                  <a:lnTo>
                    <a:pt x="138" y="1730"/>
                  </a:lnTo>
                  <a:lnTo>
                    <a:pt x="140" y="1734"/>
                  </a:lnTo>
                  <a:lnTo>
                    <a:pt x="144" y="1736"/>
                  </a:lnTo>
                  <a:lnTo>
                    <a:pt x="146" y="1738"/>
                  </a:lnTo>
                  <a:lnTo>
                    <a:pt x="144" y="1750"/>
                  </a:lnTo>
                  <a:lnTo>
                    <a:pt x="144" y="1764"/>
                  </a:lnTo>
                  <a:lnTo>
                    <a:pt x="144" y="1780"/>
                  </a:lnTo>
                  <a:lnTo>
                    <a:pt x="144" y="1800"/>
                  </a:lnTo>
                  <a:lnTo>
                    <a:pt x="140" y="1826"/>
                  </a:lnTo>
                  <a:lnTo>
                    <a:pt x="136" y="1850"/>
                  </a:lnTo>
                  <a:lnTo>
                    <a:pt x="134" y="1872"/>
                  </a:lnTo>
                  <a:lnTo>
                    <a:pt x="130" y="1900"/>
                  </a:lnTo>
                  <a:lnTo>
                    <a:pt x="122" y="1936"/>
                  </a:lnTo>
                  <a:lnTo>
                    <a:pt x="116" y="1972"/>
                  </a:lnTo>
                  <a:lnTo>
                    <a:pt x="112" y="1998"/>
                  </a:lnTo>
                  <a:lnTo>
                    <a:pt x="106" y="2066"/>
                  </a:lnTo>
                  <a:lnTo>
                    <a:pt x="100" y="2126"/>
                  </a:lnTo>
                  <a:lnTo>
                    <a:pt x="100" y="2132"/>
                  </a:lnTo>
                  <a:lnTo>
                    <a:pt x="98" y="2136"/>
                  </a:lnTo>
                  <a:lnTo>
                    <a:pt x="96" y="2140"/>
                  </a:lnTo>
                  <a:lnTo>
                    <a:pt x="90" y="2150"/>
                  </a:lnTo>
                  <a:lnTo>
                    <a:pt x="76" y="2192"/>
                  </a:lnTo>
                  <a:lnTo>
                    <a:pt x="66" y="2222"/>
                  </a:lnTo>
                  <a:lnTo>
                    <a:pt x="58" y="2252"/>
                  </a:lnTo>
                  <a:lnTo>
                    <a:pt x="48" y="2296"/>
                  </a:lnTo>
                  <a:lnTo>
                    <a:pt x="48" y="2308"/>
                  </a:lnTo>
                  <a:lnTo>
                    <a:pt x="48" y="2318"/>
                  </a:lnTo>
                  <a:lnTo>
                    <a:pt x="50" y="2330"/>
                  </a:lnTo>
                  <a:lnTo>
                    <a:pt x="52" y="2344"/>
                  </a:lnTo>
                  <a:lnTo>
                    <a:pt x="50" y="2360"/>
                  </a:lnTo>
                  <a:lnTo>
                    <a:pt x="46" y="2376"/>
                  </a:lnTo>
                  <a:lnTo>
                    <a:pt x="42" y="2396"/>
                  </a:lnTo>
                  <a:lnTo>
                    <a:pt x="38" y="2414"/>
                  </a:lnTo>
                  <a:lnTo>
                    <a:pt x="38" y="2436"/>
                  </a:lnTo>
                  <a:lnTo>
                    <a:pt x="40" y="2462"/>
                  </a:lnTo>
                  <a:lnTo>
                    <a:pt x="40" y="2490"/>
                  </a:lnTo>
                  <a:lnTo>
                    <a:pt x="40" y="2516"/>
                  </a:lnTo>
                  <a:lnTo>
                    <a:pt x="32" y="2588"/>
                  </a:lnTo>
                  <a:lnTo>
                    <a:pt x="26" y="2646"/>
                  </a:lnTo>
                  <a:lnTo>
                    <a:pt x="14" y="2704"/>
                  </a:lnTo>
                  <a:lnTo>
                    <a:pt x="12" y="2706"/>
                  </a:lnTo>
                  <a:lnTo>
                    <a:pt x="8" y="2712"/>
                  </a:lnTo>
                  <a:lnTo>
                    <a:pt x="4" y="2734"/>
                  </a:lnTo>
                  <a:lnTo>
                    <a:pt x="0" y="2750"/>
                  </a:lnTo>
                  <a:lnTo>
                    <a:pt x="0" y="2774"/>
                  </a:lnTo>
                  <a:lnTo>
                    <a:pt x="2" y="2780"/>
                  </a:lnTo>
                  <a:lnTo>
                    <a:pt x="4" y="2786"/>
                  </a:lnTo>
                  <a:lnTo>
                    <a:pt x="10" y="2796"/>
                  </a:lnTo>
                  <a:lnTo>
                    <a:pt x="20" y="2808"/>
                  </a:lnTo>
                  <a:lnTo>
                    <a:pt x="24" y="2800"/>
                  </a:lnTo>
                  <a:lnTo>
                    <a:pt x="32" y="2826"/>
                  </a:lnTo>
                  <a:lnTo>
                    <a:pt x="34" y="2840"/>
                  </a:lnTo>
                  <a:lnTo>
                    <a:pt x="38" y="2862"/>
                  </a:lnTo>
                  <a:lnTo>
                    <a:pt x="42" y="2884"/>
                  </a:lnTo>
                  <a:lnTo>
                    <a:pt x="46" y="2900"/>
                  </a:lnTo>
                  <a:lnTo>
                    <a:pt x="52" y="2906"/>
                  </a:lnTo>
                  <a:lnTo>
                    <a:pt x="60" y="2912"/>
                  </a:lnTo>
                  <a:lnTo>
                    <a:pt x="84" y="2922"/>
                  </a:lnTo>
                  <a:lnTo>
                    <a:pt x="114" y="2932"/>
                  </a:lnTo>
                  <a:lnTo>
                    <a:pt x="144" y="2940"/>
                  </a:lnTo>
                  <a:lnTo>
                    <a:pt x="156" y="2944"/>
                  </a:lnTo>
                  <a:lnTo>
                    <a:pt x="168" y="2944"/>
                  </a:lnTo>
                  <a:lnTo>
                    <a:pt x="178" y="2944"/>
                  </a:lnTo>
                  <a:lnTo>
                    <a:pt x="188" y="2942"/>
                  </a:lnTo>
                  <a:lnTo>
                    <a:pt x="194" y="2940"/>
                  </a:lnTo>
                  <a:lnTo>
                    <a:pt x="200" y="2936"/>
                  </a:lnTo>
                  <a:lnTo>
                    <a:pt x="204" y="2932"/>
                  </a:lnTo>
                  <a:lnTo>
                    <a:pt x="206" y="2926"/>
                  </a:lnTo>
                  <a:lnTo>
                    <a:pt x="206" y="2922"/>
                  </a:lnTo>
                  <a:lnTo>
                    <a:pt x="206" y="2916"/>
                  </a:lnTo>
                  <a:lnTo>
                    <a:pt x="200" y="2904"/>
                  </a:lnTo>
                  <a:lnTo>
                    <a:pt x="186" y="2886"/>
                  </a:lnTo>
                  <a:lnTo>
                    <a:pt x="184" y="2882"/>
                  </a:lnTo>
                  <a:lnTo>
                    <a:pt x="184" y="2878"/>
                  </a:lnTo>
                  <a:lnTo>
                    <a:pt x="182" y="2868"/>
                  </a:lnTo>
                  <a:lnTo>
                    <a:pt x="178" y="2864"/>
                  </a:lnTo>
                  <a:lnTo>
                    <a:pt x="172" y="2860"/>
                  </a:lnTo>
                  <a:lnTo>
                    <a:pt x="166" y="2854"/>
                  </a:lnTo>
                  <a:lnTo>
                    <a:pt x="166" y="2852"/>
                  </a:lnTo>
                  <a:lnTo>
                    <a:pt x="164" y="2850"/>
                  </a:lnTo>
                  <a:lnTo>
                    <a:pt x="164" y="2838"/>
                  </a:lnTo>
                  <a:lnTo>
                    <a:pt x="158" y="2824"/>
                  </a:lnTo>
                  <a:lnTo>
                    <a:pt x="152" y="2808"/>
                  </a:lnTo>
                  <a:lnTo>
                    <a:pt x="150" y="2792"/>
                  </a:lnTo>
                  <a:lnTo>
                    <a:pt x="148" y="2786"/>
                  </a:lnTo>
                  <a:lnTo>
                    <a:pt x="146" y="2782"/>
                  </a:lnTo>
                  <a:lnTo>
                    <a:pt x="140" y="2776"/>
                  </a:lnTo>
                  <a:lnTo>
                    <a:pt x="140" y="2764"/>
                  </a:lnTo>
                  <a:lnTo>
                    <a:pt x="140" y="2756"/>
                  </a:lnTo>
                  <a:lnTo>
                    <a:pt x="144" y="2752"/>
                  </a:lnTo>
                  <a:lnTo>
                    <a:pt x="148" y="2748"/>
                  </a:lnTo>
                  <a:lnTo>
                    <a:pt x="152" y="2732"/>
                  </a:lnTo>
                  <a:lnTo>
                    <a:pt x="162" y="2656"/>
                  </a:lnTo>
                  <a:lnTo>
                    <a:pt x="180" y="2568"/>
                  </a:lnTo>
                  <a:lnTo>
                    <a:pt x="200" y="2476"/>
                  </a:lnTo>
                  <a:lnTo>
                    <a:pt x="212" y="2422"/>
                  </a:lnTo>
                  <a:lnTo>
                    <a:pt x="224" y="2366"/>
                  </a:lnTo>
                  <a:lnTo>
                    <a:pt x="234" y="2316"/>
                  </a:lnTo>
                  <a:lnTo>
                    <a:pt x="236" y="2294"/>
                  </a:lnTo>
                  <a:lnTo>
                    <a:pt x="238" y="2274"/>
                  </a:lnTo>
                  <a:lnTo>
                    <a:pt x="238" y="2256"/>
                  </a:lnTo>
                  <a:lnTo>
                    <a:pt x="242" y="2242"/>
                  </a:lnTo>
                  <a:lnTo>
                    <a:pt x="250" y="2212"/>
                  </a:lnTo>
                  <a:lnTo>
                    <a:pt x="254" y="2194"/>
                  </a:lnTo>
                  <a:lnTo>
                    <a:pt x="262" y="2176"/>
                  </a:lnTo>
                  <a:lnTo>
                    <a:pt x="272" y="2154"/>
                  </a:lnTo>
                  <a:lnTo>
                    <a:pt x="282" y="2130"/>
                  </a:lnTo>
                  <a:lnTo>
                    <a:pt x="316" y="2014"/>
                  </a:lnTo>
                  <a:lnTo>
                    <a:pt x="332" y="1956"/>
                  </a:lnTo>
                  <a:lnTo>
                    <a:pt x="338" y="1942"/>
                  </a:lnTo>
                  <a:lnTo>
                    <a:pt x="338" y="1940"/>
                  </a:lnTo>
                  <a:lnTo>
                    <a:pt x="338" y="1942"/>
                  </a:lnTo>
                  <a:lnTo>
                    <a:pt x="338" y="1944"/>
                  </a:lnTo>
                  <a:lnTo>
                    <a:pt x="338" y="1954"/>
                  </a:lnTo>
                  <a:lnTo>
                    <a:pt x="338" y="1968"/>
                  </a:lnTo>
                  <a:lnTo>
                    <a:pt x="344" y="2000"/>
                  </a:lnTo>
                  <a:lnTo>
                    <a:pt x="352" y="2036"/>
                  </a:lnTo>
                  <a:lnTo>
                    <a:pt x="344" y="2114"/>
                  </a:lnTo>
                  <a:lnTo>
                    <a:pt x="344" y="2136"/>
                  </a:lnTo>
                  <a:lnTo>
                    <a:pt x="346" y="2160"/>
                  </a:lnTo>
                  <a:lnTo>
                    <a:pt x="350" y="2192"/>
                  </a:lnTo>
                  <a:lnTo>
                    <a:pt x="348" y="2202"/>
                  </a:lnTo>
                  <a:lnTo>
                    <a:pt x="344" y="2218"/>
                  </a:lnTo>
                  <a:lnTo>
                    <a:pt x="336" y="2246"/>
                  </a:lnTo>
                  <a:lnTo>
                    <a:pt x="334" y="2260"/>
                  </a:lnTo>
                  <a:lnTo>
                    <a:pt x="334" y="2280"/>
                  </a:lnTo>
                  <a:lnTo>
                    <a:pt x="326" y="2322"/>
                  </a:lnTo>
                  <a:lnTo>
                    <a:pt x="320" y="2368"/>
                  </a:lnTo>
                  <a:lnTo>
                    <a:pt x="316" y="2408"/>
                  </a:lnTo>
                  <a:lnTo>
                    <a:pt x="314" y="2434"/>
                  </a:lnTo>
                  <a:lnTo>
                    <a:pt x="310" y="2468"/>
                  </a:lnTo>
                  <a:lnTo>
                    <a:pt x="294" y="2584"/>
                  </a:lnTo>
                  <a:lnTo>
                    <a:pt x="290" y="2592"/>
                  </a:lnTo>
                  <a:lnTo>
                    <a:pt x="286" y="2602"/>
                  </a:lnTo>
                  <a:lnTo>
                    <a:pt x="280" y="2616"/>
                  </a:lnTo>
                  <a:lnTo>
                    <a:pt x="276" y="2630"/>
                  </a:lnTo>
                  <a:lnTo>
                    <a:pt x="272" y="2652"/>
                  </a:lnTo>
                  <a:lnTo>
                    <a:pt x="272" y="2660"/>
                  </a:lnTo>
                  <a:lnTo>
                    <a:pt x="260" y="2680"/>
                  </a:lnTo>
                  <a:lnTo>
                    <a:pt x="254" y="2682"/>
                  </a:lnTo>
                  <a:lnTo>
                    <a:pt x="248" y="2698"/>
                  </a:lnTo>
                  <a:lnTo>
                    <a:pt x="264" y="2722"/>
                  </a:lnTo>
                  <a:lnTo>
                    <a:pt x="272" y="2730"/>
                  </a:lnTo>
                  <a:lnTo>
                    <a:pt x="284" y="2738"/>
                  </a:lnTo>
                  <a:lnTo>
                    <a:pt x="298" y="2748"/>
                  </a:lnTo>
                  <a:lnTo>
                    <a:pt x="310" y="2738"/>
                  </a:lnTo>
                  <a:lnTo>
                    <a:pt x="312" y="2742"/>
                  </a:lnTo>
                  <a:lnTo>
                    <a:pt x="316" y="2746"/>
                  </a:lnTo>
                  <a:lnTo>
                    <a:pt x="320" y="2752"/>
                  </a:lnTo>
                  <a:lnTo>
                    <a:pt x="328" y="2764"/>
                  </a:lnTo>
                  <a:lnTo>
                    <a:pt x="340" y="2784"/>
                  </a:lnTo>
                  <a:lnTo>
                    <a:pt x="354" y="2820"/>
                  </a:lnTo>
                  <a:lnTo>
                    <a:pt x="360" y="2828"/>
                  </a:lnTo>
                  <a:lnTo>
                    <a:pt x="368" y="2840"/>
                  </a:lnTo>
                  <a:lnTo>
                    <a:pt x="386" y="2862"/>
                  </a:lnTo>
                  <a:lnTo>
                    <a:pt x="392" y="2864"/>
                  </a:lnTo>
                  <a:lnTo>
                    <a:pt x="398" y="2868"/>
                  </a:lnTo>
                  <a:lnTo>
                    <a:pt x="414" y="2872"/>
                  </a:lnTo>
                  <a:lnTo>
                    <a:pt x="448" y="2878"/>
                  </a:lnTo>
                  <a:lnTo>
                    <a:pt x="462" y="2880"/>
                  </a:lnTo>
                  <a:lnTo>
                    <a:pt x="478" y="2880"/>
                  </a:lnTo>
                  <a:lnTo>
                    <a:pt x="498" y="2878"/>
                  </a:lnTo>
                  <a:lnTo>
                    <a:pt x="500" y="2876"/>
                  </a:lnTo>
                  <a:lnTo>
                    <a:pt x="500" y="2872"/>
                  </a:lnTo>
                  <a:lnTo>
                    <a:pt x="500" y="2864"/>
                  </a:lnTo>
                  <a:lnTo>
                    <a:pt x="498" y="2856"/>
                  </a:lnTo>
                  <a:lnTo>
                    <a:pt x="494" y="2848"/>
                  </a:lnTo>
                  <a:lnTo>
                    <a:pt x="486" y="2840"/>
                  </a:lnTo>
                  <a:lnTo>
                    <a:pt x="478" y="2832"/>
                  </a:lnTo>
                  <a:lnTo>
                    <a:pt x="466" y="2824"/>
                  </a:lnTo>
                  <a:lnTo>
                    <a:pt x="452" y="2818"/>
                  </a:lnTo>
                  <a:lnTo>
                    <a:pt x="436" y="2810"/>
                  </a:lnTo>
                  <a:lnTo>
                    <a:pt x="438" y="2786"/>
                  </a:lnTo>
                  <a:lnTo>
                    <a:pt x="438" y="2780"/>
                  </a:lnTo>
                  <a:lnTo>
                    <a:pt x="436" y="2776"/>
                  </a:lnTo>
                  <a:lnTo>
                    <a:pt x="432" y="2770"/>
                  </a:lnTo>
                  <a:lnTo>
                    <a:pt x="432" y="2766"/>
                  </a:lnTo>
                  <a:lnTo>
                    <a:pt x="432" y="2758"/>
                  </a:lnTo>
                  <a:lnTo>
                    <a:pt x="434" y="2744"/>
                  </a:lnTo>
                  <a:lnTo>
                    <a:pt x="434" y="2732"/>
                  </a:lnTo>
                  <a:lnTo>
                    <a:pt x="432" y="2720"/>
                  </a:lnTo>
                  <a:lnTo>
                    <a:pt x="432" y="2712"/>
                  </a:lnTo>
                  <a:lnTo>
                    <a:pt x="432" y="2706"/>
                  </a:lnTo>
                  <a:lnTo>
                    <a:pt x="434" y="2700"/>
                  </a:lnTo>
                  <a:lnTo>
                    <a:pt x="438" y="2686"/>
                  </a:lnTo>
                  <a:lnTo>
                    <a:pt x="440" y="2672"/>
                  </a:lnTo>
                  <a:lnTo>
                    <a:pt x="440" y="2656"/>
                  </a:lnTo>
                  <a:lnTo>
                    <a:pt x="440" y="2638"/>
                  </a:lnTo>
                  <a:lnTo>
                    <a:pt x="442" y="2614"/>
                  </a:lnTo>
                  <a:lnTo>
                    <a:pt x="454" y="2542"/>
                  </a:lnTo>
                  <a:lnTo>
                    <a:pt x="460" y="2496"/>
                  </a:lnTo>
                  <a:lnTo>
                    <a:pt x="470" y="2456"/>
                  </a:lnTo>
                  <a:lnTo>
                    <a:pt x="478" y="2418"/>
                  </a:lnTo>
                  <a:lnTo>
                    <a:pt x="484" y="2380"/>
                  </a:lnTo>
                  <a:lnTo>
                    <a:pt x="490" y="2328"/>
                  </a:lnTo>
                  <a:lnTo>
                    <a:pt x="492" y="2302"/>
                  </a:lnTo>
                  <a:lnTo>
                    <a:pt x="494" y="2282"/>
                  </a:lnTo>
                  <a:lnTo>
                    <a:pt x="504" y="2236"/>
                  </a:lnTo>
                  <a:lnTo>
                    <a:pt x="504" y="2228"/>
                  </a:lnTo>
                  <a:lnTo>
                    <a:pt x="504" y="2218"/>
                  </a:lnTo>
                  <a:lnTo>
                    <a:pt x="504" y="2202"/>
                  </a:lnTo>
                  <a:lnTo>
                    <a:pt x="504" y="2180"/>
                  </a:lnTo>
                  <a:lnTo>
                    <a:pt x="508" y="2154"/>
                  </a:lnTo>
                  <a:lnTo>
                    <a:pt x="514" y="2126"/>
                  </a:lnTo>
                  <a:lnTo>
                    <a:pt x="526" y="2082"/>
                  </a:lnTo>
                  <a:lnTo>
                    <a:pt x="544" y="1970"/>
                  </a:lnTo>
                  <a:lnTo>
                    <a:pt x="556" y="1916"/>
                  </a:lnTo>
                  <a:lnTo>
                    <a:pt x="562" y="1878"/>
                  </a:lnTo>
                  <a:lnTo>
                    <a:pt x="566" y="1832"/>
                  </a:lnTo>
                  <a:lnTo>
                    <a:pt x="570" y="1764"/>
                  </a:lnTo>
                  <a:lnTo>
                    <a:pt x="572" y="1758"/>
                  </a:lnTo>
                  <a:lnTo>
                    <a:pt x="568" y="1748"/>
                  </a:lnTo>
                  <a:lnTo>
                    <a:pt x="568" y="1740"/>
                  </a:lnTo>
                  <a:lnTo>
                    <a:pt x="568" y="1736"/>
                  </a:lnTo>
                  <a:lnTo>
                    <a:pt x="570" y="1724"/>
                  </a:lnTo>
                  <a:lnTo>
                    <a:pt x="570" y="1702"/>
                  </a:lnTo>
                  <a:lnTo>
                    <a:pt x="568" y="1660"/>
                  </a:lnTo>
                  <a:lnTo>
                    <a:pt x="568" y="1638"/>
                  </a:lnTo>
                  <a:lnTo>
                    <a:pt x="570" y="1626"/>
                  </a:lnTo>
                  <a:lnTo>
                    <a:pt x="572" y="1616"/>
                  </a:lnTo>
                  <a:lnTo>
                    <a:pt x="572" y="1602"/>
                  </a:lnTo>
                  <a:lnTo>
                    <a:pt x="568" y="1562"/>
                  </a:lnTo>
                  <a:lnTo>
                    <a:pt x="566" y="1540"/>
                  </a:lnTo>
                  <a:lnTo>
                    <a:pt x="572" y="1536"/>
                  </a:lnTo>
                  <a:lnTo>
                    <a:pt x="576" y="1528"/>
                  </a:lnTo>
                  <a:lnTo>
                    <a:pt x="580" y="1510"/>
                  </a:lnTo>
                  <a:lnTo>
                    <a:pt x="582" y="1496"/>
                  </a:lnTo>
                  <a:lnTo>
                    <a:pt x="582" y="1488"/>
                  </a:lnTo>
                  <a:lnTo>
                    <a:pt x="610" y="1484"/>
                  </a:lnTo>
                  <a:lnTo>
                    <a:pt x="616" y="1482"/>
                  </a:lnTo>
                  <a:lnTo>
                    <a:pt x="620" y="1476"/>
                  </a:lnTo>
                  <a:lnTo>
                    <a:pt x="624" y="1470"/>
                  </a:lnTo>
                  <a:lnTo>
                    <a:pt x="662" y="1468"/>
                  </a:lnTo>
                  <a:lnTo>
                    <a:pt x="720" y="1468"/>
                  </a:lnTo>
                  <a:lnTo>
                    <a:pt x="744" y="1468"/>
                  </a:lnTo>
                  <a:lnTo>
                    <a:pt x="774" y="1466"/>
                  </a:lnTo>
                  <a:lnTo>
                    <a:pt x="810" y="1462"/>
                  </a:lnTo>
                  <a:lnTo>
                    <a:pt x="828" y="1458"/>
                  </a:lnTo>
                  <a:lnTo>
                    <a:pt x="846" y="1452"/>
                  </a:lnTo>
                  <a:lnTo>
                    <a:pt x="854" y="1448"/>
                  </a:lnTo>
                  <a:lnTo>
                    <a:pt x="860" y="1442"/>
                  </a:lnTo>
                  <a:lnTo>
                    <a:pt x="866" y="1438"/>
                  </a:lnTo>
                  <a:lnTo>
                    <a:pt x="870" y="1430"/>
                  </a:lnTo>
                  <a:lnTo>
                    <a:pt x="876" y="1418"/>
                  </a:lnTo>
                  <a:lnTo>
                    <a:pt x="880" y="1404"/>
                  </a:lnTo>
                  <a:lnTo>
                    <a:pt x="880" y="1390"/>
                  </a:lnTo>
                  <a:lnTo>
                    <a:pt x="880" y="1380"/>
                  </a:lnTo>
                  <a:lnTo>
                    <a:pt x="878" y="1370"/>
                  </a:lnTo>
                  <a:close/>
                  <a:moveTo>
                    <a:pt x="192" y="1304"/>
                  </a:moveTo>
                  <a:lnTo>
                    <a:pt x="192" y="1304"/>
                  </a:lnTo>
                  <a:lnTo>
                    <a:pt x="180" y="1304"/>
                  </a:lnTo>
                  <a:lnTo>
                    <a:pt x="176" y="1302"/>
                  </a:lnTo>
                  <a:lnTo>
                    <a:pt x="174" y="1300"/>
                  </a:lnTo>
                  <a:lnTo>
                    <a:pt x="170" y="1294"/>
                  </a:lnTo>
                  <a:lnTo>
                    <a:pt x="168" y="1292"/>
                  </a:lnTo>
                  <a:lnTo>
                    <a:pt x="160" y="1286"/>
                  </a:lnTo>
                  <a:lnTo>
                    <a:pt x="158" y="1280"/>
                  </a:lnTo>
                  <a:lnTo>
                    <a:pt x="156" y="1276"/>
                  </a:lnTo>
                  <a:lnTo>
                    <a:pt x="152" y="1274"/>
                  </a:lnTo>
                  <a:lnTo>
                    <a:pt x="154" y="1270"/>
                  </a:lnTo>
                  <a:lnTo>
                    <a:pt x="154" y="1266"/>
                  </a:lnTo>
                  <a:lnTo>
                    <a:pt x="152" y="1260"/>
                  </a:lnTo>
                  <a:lnTo>
                    <a:pt x="146" y="1246"/>
                  </a:lnTo>
                  <a:lnTo>
                    <a:pt x="150" y="1224"/>
                  </a:lnTo>
                  <a:lnTo>
                    <a:pt x="160" y="1214"/>
                  </a:lnTo>
                  <a:lnTo>
                    <a:pt x="170" y="1204"/>
                  </a:lnTo>
                  <a:lnTo>
                    <a:pt x="172" y="1200"/>
                  </a:lnTo>
                  <a:lnTo>
                    <a:pt x="174" y="1194"/>
                  </a:lnTo>
                  <a:lnTo>
                    <a:pt x="186" y="1212"/>
                  </a:lnTo>
                  <a:lnTo>
                    <a:pt x="196" y="1228"/>
                  </a:lnTo>
                  <a:lnTo>
                    <a:pt x="202" y="1242"/>
                  </a:lnTo>
                  <a:lnTo>
                    <a:pt x="206" y="1264"/>
                  </a:lnTo>
                  <a:lnTo>
                    <a:pt x="208" y="1274"/>
                  </a:lnTo>
                  <a:lnTo>
                    <a:pt x="208" y="1288"/>
                  </a:lnTo>
                  <a:lnTo>
                    <a:pt x="208" y="1308"/>
                  </a:lnTo>
                  <a:lnTo>
                    <a:pt x="210" y="1312"/>
                  </a:lnTo>
                  <a:lnTo>
                    <a:pt x="204" y="1308"/>
                  </a:lnTo>
                  <a:lnTo>
                    <a:pt x="192" y="1304"/>
                  </a:lnTo>
                  <a:close/>
                </a:path>
              </a:pathLst>
            </a:custGeom>
            <a:grpFill/>
            <a:ln w="9525">
              <a:noFill/>
              <a:round/>
              <a:headEnd/>
              <a:tailEnd/>
            </a:ln>
            <a:effectLst>
              <a:reflection blurRad="6350" stA="52000" endA="300" endPos="35000" dir="5400000" sy="-100000" algn="bl" rotWithShape="0"/>
            </a:effectLst>
          </p:spPr>
          <p:txBody>
            <a:bodyPr/>
            <a:lstStyle/>
            <a:p>
              <a:pPr>
                <a:defRPr/>
              </a:pPr>
              <a:endParaRPr lang="da-DK" sz="11200" dirty="0">
                <a:latin typeface="Calibri"/>
              </a:endParaRPr>
            </a:p>
          </p:txBody>
        </p:sp>
        <p:sp>
          <p:nvSpPr>
            <p:cNvPr id="28" name="Freeform 54"/>
            <p:cNvSpPr>
              <a:spLocks/>
            </p:cNvSpPr>
            <p:nvPr/>
          </p:nvSpPr>
          <p:spPr bwMode="auto">
            <a:xfrm>
              <a:off x="2090737" y="-1489075"/>
              <a:ext cx="368300" cy="454025"/>
            </a:xfrm>
            <a:custGeom>
              <a:avLst/>
              <a:gdLst>
                <a:gd name="T0" fmla="*/ 2147483647 w 232"/>
                <a:gd name="T1" fmla="*/ 0 h 286"/>
                <a:gd name="T2" fmla="*/ 2147483647 w 232"/>
                <a:gd name="T3" fmla="*/ 2147483647 h 286"/>
                <a:gd name="T4" fmla="*/ 2147483647 w 232"/>
                <a:gd name="T5" fmla="*/ 2147483647 h 286"/>
                <a:gd name="T6" fmla="*/ 2147483647 w 232"/>
                <a:gd name="T7" fmla="*/ 2147483647 h 286"/>
                <a:gd name="T8" fmla="*/ 2147483647 w 232"/>
                <a:gd name="T9" fmla="*/ 2147483647 h 286"/>
                <a:gd name="T10" fmla="*/ 2147483647 w 232"/>
                <a:gd name="T11" fmla="*/ 2147483647 h 286"/>
                <a:gd name="T12" fmla="*/ 2147483647 w 232"/>
                <a:gd name="T13" fmla="*/ 2147483647 h 286"/>
                <a:gd name="T14" fmla="*/ 2147483647 w 232"/>
                <a:gd name="T15" fmla="*/ 2147483647 h 286"/>
                <a:gd name="T16" fmla="*/ 2147483647 w 232"/>
                <a:gd name="T17" fmla="*/ 2147483647 h 286"/>
                <a:gd name="T18" fmla="*/ 2147483647 w 232"/>
                <a:gd name="T19" fmla="*/ 2147483647 h 286"/>
                <a:gd name="T20" fmla="*/ 2147483647 w 232"/>
                <a:gd name="T21" fmla="*/ 2147483647 h 286"/>
                <a:gd name="T22" fmla="*/ 2147483647 w 232"/>
                <a:gd name="T23" fmla="*/ 2147483647 h 286"/>
                <a:gd name="T24" fmla="*/ 2147483647 w 232"/>
                <a:gd name="T25" fmla="*/ 2147483647 h 286"/>
                <a:gd name="T26" fmla="*/ 2147483647 w 232"/>
                <a:gd name="T27" fmla="*/ 2147483647 h 286"/>
                <a:gd name="T28" fmla="*/ 2147483647 w 232"/>
                <a:gd name="T29" fmla="*/ 2147483647 h 286"/>
                <a:gd name="T30" fmla="*/ 2147483647 w 232"/>
                <a:gd name="T31" fmla="*/ 2147483647 h 286"/>
                <a:gd name="T32" fmla="*/ 2147483647 w 232"/>
                <a:gd name="T33" fmla="*/ 2147483647 h 286"/>
                <a:gd name="T34" fmla="*/ 2147483647 w 232"/>
                <a:gd name="T35" fmla="*/ 2147483647 h 286"/>
                <a:gd name="T36" fmla="*/ 2147483647 w 232"/>
                <a:gd name="T37" fmla="*/ 2147483647 h 286"/>
                <a:gd name="T38" fmla="*/ 2147483647 w 232"/>
                <a:gd name="T39" fmla="*/ 2147483647 h 286"/>
                <a:gd name="T40" fmla="*/ 2147483647 w 232"/>
                <a:gd name="T41" fmla="*/ 2147483647 h 286"/>
                <a:gd name="T42" fmla="*/ 2147483647 w 232"/>
                <a:gd name="T43" fmla="*/ 2147483647 h 286"/>
                <a:gd name="T44" fmla="*/ 2147483647 w 232"/>
                <a:gd name="T45" fmla="*/ 2147483647 h 286"/>
                <a:gd name="T46" fmla="*/ 2147483647 w 232"/>
                <a:gd name="T47" fmla="*/ 2147483647 h 286"/>
                <a:gd name="T48" fmla="*/ 2147483647 w 232"/>
                <a:gd name="T49" fmla="*/ 2147483647 h 286"/>
                <a:gd name="T50" fmla="*/ 2147483647 w 232"/>
                <a:gd name="T51" fmla="*/ 2147483647 h 286"/>
                <a:gd name="T52" fmla="*/ 2147483647 w 232"/>
                <a:gd name="T53" fmla="*/ 2147483647 h 286"/>
                <a:gd name="T54" fmla="*/ 2147483647 w 232"/>
                <a:gd name="T55" fmla="*/ 2147483647 h 286"/>
                <a:gd name="T56" fmla="*/ 2147483647 w 232"/>
                <a:gd name="T57" fmla="*/ 2147483647 h 286"/>
                <a:gd name="T58" fmla="*/ 2147483647 w 232"/>
                <a:gd name="T59" fmla="*/ 2147483647 h 286"/>
                <a:gd name="T60" fmla="*/ 2147483647 w 232"/>
                <a:gd name="T61" fmla="*/ 2147483647 h 286"/>
                <a:gd name="T62" fmla="*/ 2147483647 w 232"/>
                <a:gd name="T63" fmla="*/ 2147483647 h 286"/>
                <a:gd name="T64" fmla="*/ 2147483647 w 232"/>
                <a:gd name="T65" fmla="*/ 2147483647 h 286"/>
                <a:gd name="T66" fmla="*/ 2147483647 w 232"/>
                <a:gd name="T67" fmla="*/ 2147483647 h 286"/>
                <a:gd name="T68" fmla="*/ 0 w 232"/>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2"/>
                <a:gd name="T106" fmla="*/ 0 h 286"/>
                <a:gd name="T107" fmla="*/ 232 w 232"/>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2" h="286">
                  <a:moveTo>
                    <a:pt x="32" y="0"/>
                  </a:moveTo>
                  <a:lnTo>
                    <a:pt x="32" y="0"/>
                  </a:lnTo>
                  <a:lnTo>
                    <a:pt x="90" y="50"/>
                  </a:lnTo>
                  <a:lnTo>
                    <a:pt x="134" y="86"/>
                  </a:lnTo>
                  <a:lnTo>
                    <a:pt x="154" y="100"/>
                  </a:lnTo>
                  <a:lnTo>
                    <a:pt x="166" y="108"/>
                  </a:lnTo>
                  <a:lnTo>
                    <a:pt x="190" y="86"/>
                  </a:lnTo>
                  <a:lnTo>
                    <a:pt x="206" y="68"/>
                  </a:lnTo>
                  <a:lnTo>
                    <a:pt x="216" y="58"/>
                  </a:lnTo>
                  <a:lnTo>
                    <a:pt x="218" y="58"/>
                  </a:lnTo>
                  <a:lnTo>
                    <a:pt x="220" y="60"/>
                  </a:lnTo>
                  <a:lnTo>
                    <a:pt x="222" y="66"/>
                  </a:lnTo>
                  <a:lnTo>
                    <a:pt x="222" y="82"/>
                  </a:lnTo>
                  <a:lnTo>
                    <a:pt x="220" y="108"/>
                  </a:lnTo>
                  <a:lnTo>
                    <a:pt x="218" y="138"/>
                  </a:lnTo>
                  <a:lnTo>
                    <a:pt x="208" y="136"/>
                  </a:lnTo>
                  <a:lnTo>
                    <a:pt x="214" y="172"/>
                  </a:lnTo>
                  <a:lnTo>
                    <a:pt x="222" y="194"/>
                  </a:lnTo>
                  <a:lnTo>
                    <a:pt x="226" y="218"/>
                  </a:lnTo>
                  <a:lnTo>
                    <a:pt x="230" y="248"/>
                  </a:lnTo>
                  <a:lnTo>
                    <a:pt x="232" y="286"/>
                  </a:lnTo>
                  <a:lnTo>
                    <a:pt x="222" y="230"/>
                  </a:lnTo>
                  <a:lnTo>
                    <a:pt x="212" y="188"/>
                  </a:lnTo>
                  <a:lnTo>
                    <a:pt x="206" y="170"/>
                  </a:lnTo>
                  <a:lnTo>
                    <a:pt x="198" y="160"/>
                  </a:lnTo>
                  <a:lnTo>
                    <a:pt x="198" y="126"/>
                  </a:lnTo>
                  <a:lnTo>
                    <a:pt x="188" y="120"/>
                  </a:lnTo>
                  <a:lnTo>
                    <a:pt x="178" y="114"/>
                  </a:lnTo>
                  <a:lnTo>
                    <a:pt x="168" y="112"/>
                  </a:lnTo>
                  <a:lnTo>
                    <a:pt x="164" y="112"/>
                  </a:lnTo>
                  <a:lnTo>
                    <a:pt x="160" y="114"/>
                  </a:lnTo>
                  <a:lnTo>
                    <a:pt x="148" y="122"/>
                  </a:lnTo>
                  <a:lnTo>
                    <a:pt x="138" y="132"/>
                  </a:lnTo>
                  <a:lnTo>
                    <a:pt x="126" y="142"/>
                  </a:lnTo>
                  <a:lnTo>
                    <a:pt x="112" y="154"/>
                  </a:lnTo>
                  <a:lnTo>
                    <a:pt x="122" y="148"/>
                  </a:lnTo>
                  <a:lnTo>
                    <a:pt x="138" y="140"/>
                  </a:lnTo>
                  <a:lnTo>
                    <a:pt x="144" y="138"/>
                  </a:lnTo>
                  <a:lnTo>
                    <a:pt x="146" y="136"/>
                  </a:lnTo>
                  <a:lnTo>
                    <a:pt x="170" y="158"/>
                  </a:lnTo>
                  <a:lnTo>
                    <a:pt x="168" y="162"/>
                  </a:lnTo>
                  <a:lnTo>
                    <a:pt x="164" y="170"/>
                  </a:lnTo>
                  <a:lnTo>
                    <a:pt x="162" y="182"/>
                  </a:lnTo>
                  <a:lnTo>
                    <a:pt x="158" y="196"/>
                  </a:lnTo>
                  <a:lnTo>
                    <a:pt x="158" y="218"/>
                  </a:lnTo>
                  <a:lnTo>
                    <a:pt x="158" y="244"/>
                  </a:lnTo>
                  <a:lnTo>
                    <a:pt x="162" y="276"/>
                  </a:lnTo>
                  <a:lnTo>
                    <a:pt x="134" y="216"/>
                  </a:lnTo>
                  <a:lnTo>
                    <a:pt x="112" y="172"/>
                  </a:lnTo>
                  <a:lnTo>
                    <a:pt x="102" y="156"/>
                  </a:lnTo>
                  <a:lnTo>
                    <a:pt x="96" y="146"/>
                  </a:lnTo>
                  <a:lnTo>
                    <a:pt x="52" y="98"/>
                  </a:lnTo>
                  <a:lnTo>
                    <a:pt x="28" y="72"/>
                  </a:lnTo>
                  <a:lnTo>
                    <a:pt x="16" y="56"/>
                  </a:lnTo>
                  <a:lnTo>
                    <a:pt x="12" y="50"/>
                  </a:lnTo>
                  <a:lnTo>
                    <a:pt x="8" y="40"/>
                  </a:lnTo>
                  <a:lnTo>
                    <a:pt x="0" y="30"/>
                  </a:ln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sp>
          <p:nvSpPr>
            <p:cNvPr id="29" name="Freeform 55"/>
            <p:cNvSpPr>
              <a:spLocks/>
            </p:cNvSpPr>
            <p:nvPr/>
          </p:nvSpPr>
          <p:spPr bwMode="auto">
            <a:xfrm>
              <a:off x="2309812" y="-1311275"/>
              <a:ext cx="149225" cy="422275"/>
            </a:xfrm>
            <a:custGeom>
              <a:avLst/>
              <a:gdLst>
                <a:gd name="T0" fmla="*/ 0 w 94"/>
                <a:gd name="T1" fmla="*/ 2147483647 h 266"/>
                <a:gd name="T2" fmla="*/ 2147483647 w 94"/>
                <a:gd name="T3" fmla="*/ 2147483647 h 266"/>
                <a:gd name="T4" fmla="*/ 2147483647 w 94"/>
                <a:gd name="T5" fmla="*/ 2147483647 h 266"/>
                <a:gd name="T6" fmla="*/ 2147483647 w 94"/>
                <a:gd name="T7" fmla="*/ 2147483647 h 266"/>
                <a:gd name="T8" fmla="*/ 2147483647 w 94"/>
                <a:gd name="T9" fmla="*/ 2147483647 h 266"/>
                <a:gd name="T10" fmla="*/ 2147483647 w 94"/>
                <a:gd name="T11" fmla="*/ 2147483647 h 266"/>
                <a:gd name="T12" fmla="*/ 2147483647 w 94"/>
                <a:gd name="T13" fmla="*/ 2147483647 h 266"/>
                <a:gd name="T14" fmla="*/ 2147483647 w 94"/>
                <a:gd name="T15" fmla="*/ 2147483647 h 266"/>
                <a:gd name="T16" fmla="*/ 2147483647 w 94"/>
                <a:gd name="T17" fmla="*/ 2147483647 h 266"/>
                <a:gd name="T18" fmla="*/ 2147483647 w 94"/>
                <a:gd name="T19" fmla="*/ 2147483647 h 266"/>
                <a:gd name="T20" fmla="*/ 2147483647 w 94"/>
                <a:gd name="T21" fmla="*/ 2147483647 h 266"/>
                <a:gd name="T22" fmla="*/ 2147483647 w 94"/>
                <a:gd name="T23" fmla="*/ 2147483647 h 266"/>
                <a:gd name="T24" fmla="*/ 2147483647 w 94"/>
                <a:gd name="T25" fmla="*/ 2147483647 h 266"/>
                <a:gd name="T26" fmla="*/ 2147483647 w 94"/>
                <a:gd name="T27" fmla="*/ 2147483647 h 266"/>
                <a:gd name="T28" fmla="*/ 2147483647 w 94"/>
                <a:gd name="T29" fmla="*/ 2147483647 h 266"/>
                <a:gd name="T30" fmla="*/ 2147483647 w 94"/>
                <a:gd name="T31" fmla="*/ 2147483647 h 266"/>
                <a:gd name="T32" fmla="*/ 2147483647 w 94"/>
                <a:gd name="T33" fmla="*/ 2147483647 h 266"/>
                <a:gd name="T34" fmla="*/ 2147483647 w 94"/>
                <a:gd name="T35" fmla="*/ 0 h 266"/>
                <a:gd name="T36" fmla="*/ 2147483647 w 94"/>
                <a:gd name="T37" fmla="*/ 0 h 266"/>
                <a:gd name="T38" fmla="*/ 2147483647 w 94"/>
                <a:gd name="T39" fmla="*/ 2147483647 h 266"/>
                <a:gd name="T40" fmla="*/ 0 w 94"/>
                <a:gd name="T41" fmla="*/ 2147483647 h 266"/>
                <a:gd name="T42" fmla="*/ 0 w 94"/>
                <a:gd name="T43" fmla="*/ 2147483647 h 2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4"/>
                <a:gd name="T67" fmla="*/ 0 h 266"/>
                <a:gd name="T68" fmla="*/ 94 w 94"/>
                <a:gd name="T69" fmla="*/ 266 h 2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4" h="266">
                  <a:moveTo>
                    <a:pt x="0" y="16"/>
                  </a:moveTo>
                  <a:lnTo>
                    <a:pt x="32" y="46"/>
                  </a:lnTo>
                  <a:lnTo>
                    <a:pt x="28" y="58"/>
                  </a:lnTo>
                  <a:lnTo>
                    <a:pt x="20" y="86"/>
                  </a:lnTo>
                  <a:lnTo>
                    <a:pt x="18" y="104"/>
                  </a:lnTo>
                  <a:lnTo>
                    <a:pt x="18" y="124"/>
                  </a:lnTo>
                  <a:lnTo>
                    <a:pt x="20" y="144"/>
                  </a:lnTo>
                  <a:lnTo>
                    <a:pt x="24" y="164"/>
                  </a:lnTo>
                  <a:lnTo>
                    <a:pt x="74" y="266"/>
                  </a:lnTo>
                  <a:lnTo>
                    <a:pt x="94" y="174"/>
                  </a:lnTo>
                  <a:lnTo>
                    <a:pt x="60" y="48"/>
                  </a:lnTo>
                  <a:lnTo>
                    <a:pt x="60" y="14"/>
                  </a:lnTo>
                  <a:lnTo>
                    <a:pt x="56" y="10"/>
                  </a:lnTo>
                  <a:lnTo>
                    <a:pt x="50" y="6"/>
                  </a:lnTo>
                  <a:lnTo>
                    <a:pt x="42" y="2"/>
                  </a:lnTo>
                  <a:lnTo>
                    <a:pt x="32" y="0"/>
                  </a:lnTo>
                  <a:lnTo>
                    <a:pt x="22" y="0"/>
                  </a:lnTo>
                  <a:lnTo>
                    <a:pt x="12" y="6"/>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grpSp>
      <p:grpSp>
        <p:nvGrpSpPr>
          <p:cNvPr id="31" name="Group 55"/>
          <p:cNvGrpSpPr>
            <a:grpSpLocks/>
          </p:cNvGrpSpPr>
          <p:nvPr/>
        </p:nvGrpSpPr>
        <p:grpSpPr bwMode="auto">
          <a:xfrm>
            <a:off x="6847266" y="11430377"/>
            <a:ext cx="3583792" cy="765176"/>
            <a:chOff x="2781300" y="5727700"/>
            <a:chExt cx="1939925" cy="382431"/>
          </a:xfrm>
          <a:effectLst/>
        </p:grpSpPr>
        <p:sp>
          <p:nvSpPr>
            <p:cNvPr id="33" name="AutoShape 252"/>
            <p:cNvSpPr>
              <a:spLocks noChangeArrowheads="1"/>
            </p:cNvSpPr>
            <p:nvPr/>
          </p:nvSpPr>
          <p:spPr bwMode="auto">
            <a:xfrm>
              <a:off x="2781300" y="5727700"/>
              <a:ext cx="1939925" cy="382431"/>
            </a:xfrm>
            <a:prstGeom prst="chevron">
              <a:avLst>
                <a:gd name="adj" fmla="val 25727"/>
              </a:avLst>
            </a:prstGeom>
            <a:solidFill>
              <a:srgbClr val="E69427"/>
            </a:solidFill>
            <a:ln w="9">
              <a:noFill/>
              <a:miter lim="800000"/>
              <a:headEnd/>
              <a:tailEnd/>
            </a:ln>
          </p:spPr>
          <p:txBody>
            <a:bodyPr/>
            <a:lstStyle>
              <a:lvl1pPr indent="-342900"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buFont typeface="Calibri" charset="0"/>
                <a:buAutoNum type="arabicPeriod"/>
              </a:pPr>
              <a:endParaRPr altLang="en-US" sz="3600" noProof="1">
                <a:latin typeface="Calibri" charset="0"/>
              </a:endParaRPr>
            </a:p>
          </p:txBody>
        </p:sp>
        <p:sp>
          <p:nvSpPr>
            <p:cNvPr id="34" name="Rektangel 72"/>
            <p:cNvSpPr>
              <a:spLocks noChangeArrowheads="1"/>
            </p:cNvSpPr>
            <p:nvPr/>
          </p:nvSpPr>
          <p:spPr bwMode="auto">
            <a:xfrm>
              <a:off x="3059113" y="5759450"/>
              <a:ext cx="1468437" cy="2615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r>
                <a:rPr lang="fr-FR" altLang="en-US" sz="2800" b="1" noProof="1">
                  <a:solidFill>
                    <a:srgbClr val="FFFFFF"/>
                  </a:solidFill>
                  <a:latin typeface="Calibri" charset="0"/>
                </a:rPr>
                <a:t>2017</a:t>
              </a:r>
              <a:endParaRPr lang="da-DK" altLang="en-US" sz="2800" b="1" dirty="0">
                <a:solidFill>
                  <a:srgbClr val="FFFFFF"/>
                </a:solidFill>
                <a:latin typeface="Calibri" charset="0"/>
              </a:endParaRPr>
            </a:p>
          </p:txBody>
        </p:sp>
      </p:grpSp>
      <p:grpSp>
        <p:nvGrpSpPr>
          <p:cNvPr id="35" name="Group 56"/>
          <p:cNvGrpSpPr>
            <a:grpSpLocks/>
          </p:cNvGrpSpPr>
          <p:nvPr/>
        </p:nvGrpSpPr>
        <p:grpSpPr bwMode="auto">
          <a:xfrm>
            <a:off x="10438730" y="11479843"/>
            <a:ext cx="3742662" cy="765172"/>
            <a:chOff x="4673601" y="5729288"/>
            <a:chExt cx="1879600" cy="382586"/>
          </a:xfrm>
          <a:effectLst/>
        </p:grpSpPr>
        <p:sp>
          <p:nvSpPr>
            <p:cNvPr id="37" name="AutoShape 252"/>
            <p:cNvSpPr>
              <a:spLocks noChangeArrowheads="1"/>
            </p:cNvSpPr>
            <p:nvPr/>
          </p:nvSpPr>
          <p:spPr bwMode="auto">
            <a:xfrm>
              <a:off x="4673601" y="5729288"/>
              <a:ext cx="1879600" cy="382586"/>
            </a:xfrm>
            <a:prstGeom prst="chevron">
              <a:avLst>
                <a:gd name="adj" fmla="val 25724"/>
              </a:avLst>
            </a:prstGeom>
            <a:solidFill>
              <a:srgbClr val="E69427"/>
            </a:solidFill>
            <a:ln>
              <a:noFill/>
            </a:ln>
            <a:extLst>
              <a:ext uri="{91240B29-F687-4f45-9708-019B960494DF}">
                <a14:hiddenLine xmlns:a14="http://schemas.microsoft.com/office/drawing/2010/main" xmlns="" w="9">
                  <a:solidFill>
                    <a:srgbClr val="000000"/>
                  </a:solidFill>
                  <a:miter lim="800000"/>
                  <a:headEnd/>
                  <a:tailEnd/>
                </a14:hiddenLine>
              </a:ext>
            </a:extLst>
          </p:spPr>
          <p:txBody>
            <a:bodyPr/>
            <a:lstStyle>
              <a:lvl1pPr indent="-342900"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buFont typeface="Calibri" charset="0"/>
                <a:buAutoNum type="arabicPeriod"/>
              </a:pPr>
              <a:endParaRPr altLang="en-US" sz="3600" noProof="1">
                <a:latin typeface="Calibri" charset="0"/>
              </a:endParaRPr>
            </a:p>
          </p:txBody>
        </p:sp>
        <p:sp>
          <p:nvSpPr>
            <p:cNvPr id="38" name="Rektangel 72"/>
            <p:cNvSpPr>
              <a:spLocks noChangeArrowheads="1"/>
            </p:cNvSpPr>
            <p:nvPr/>
          </p:nvSpPr>
          <p:spPr bwMode="auto">
            <a:xfrm>
              <a:off x="4891088" y="5759450"/>
              <a:ext cx="1468437"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r>
                <a:rPr lang="fr-FR" altLang="en-US" sz="2800" b="1" noProof="1">
                  <a:solidFill>
                    <a:srgbClr val="FFFFFF"/>
                  </a:solidFill>
                  <a:latin typeface="Calibri" charset="0"/>
                </a:rPr>
                <a:t>2018</a:t>
              </a:r>
              <a:endParaRPr lang="da-DK" altLang="en-US" sz="2800" b="1" dirty="0">
                <a:solidFill>
                  <a:srgbClr val="FFFFFF"/>
                </a:solidFill>
                <a:latin typeface="Calibri" charset="0"/>
              </a:endParaRPr>
            </a:p>
          </p:txBody>
        </p:sp>
      </p:grpSp>
      <p:grpSp>
        <p:nvGrpSpPr>
          <p:cNvPr id="39" name="Group 58"/>
          <p:cNvGrpSpPr>
            <a:grpSpLocks/>
          </p:cNvGrpSpPr>
          <p:nvPr/>
        </p:nvGrpSpPr>
        <p:grpSpPr bwMode="auto">
          <a:xfrm>
            <a:off x="14138861" y="11501109"/>
            <a:ext cx="3607042" cy="765172"/>
            <a:chOff x="6502400" y="5729288"/>
            <a:chExt cx="1882775" cy="382586"/>
          </a:xfrm>
          <a:effectLst/>
        </p:grpSpPr>
        <p:sp>
          <p:nvSpPr>
            <p:cNvPr id="41" name="AutoShape 252"/>
            <p:cNvSpPr>
              <a:spLocks noChangeArrowheads="1"/>
            </p:cNvSpPr>
            <p:nvPr/>
          </p:nvSpPr>
          <p:spPr bwMode="auto">
            <a:xfrm>
              <a:off x="6502400" y="5729288"/>
              <a:ext cx="1882775" cy="382586"/>
            </a:xfrm>
            <a:prstGeom prst="chevron">
              <a:avLst>
                <a:gd name="adj" fmla="val 25745"/>
              </a:avLst>
            </a:prstGeom>
            <a:solidFill>
              <a:srgbClr val="E69427"/>
            </a:solidFill>
            <a:ln>
              <a:noFill/>
            </a:ln>
            <a:extLst>
              <a:ext uri="{91240B29-F687-4f45-9708-019B960494DF}">
                <a14:hiddenLine xmlns:a14="http://schemas.microsoft.com/office/drawing/2010/main" xmlns="" w="9">
                  <a:solidFill>
                    <a:srgbClr val="000000"/>
                  </a:solidFill>
                  <a:miter lim="800000"/>
                  <a:headEnd/>
                  <a:tailEnd/>
                </a14:hiddenLine>
              </a:ext>
            </a:extLst>
          </p:spPr>
          <p:txBody>
            <a:bodyPr/>
            <a:lstStyle>
              <a:lvl1pPr indent="-342900"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buFont typeface="Calibri" charset="0"/>
                <a:buAutoNum type="arabicPeriod"/>
              </a:pPr>
              <a:endParaRPr altLang="en-US" sz="3600" noProof="1">
                <a:latin typeface="Calibri" charset="0"/>
              </a:endParaRPr>
            </a:p>
          </p:txBody>
        </p:sp>
        <p:sp>
          <p:nvSpPr>
            <p:cNvPr id="42" name="Rektangel 72"/>
            <p:cNvSpPr>
              <a:spLocks noChangeArrowheads="1"/>
            </p:cNvSpPr>
            <p:nvPr/>
          </p:nvSpPr>
          <p:spPr bwMode="auto">
            <a:xfrm>
              <a:off x="6786563" y="5759450"/>
              <a:ext cx="1468437"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r>
                <a:rPr lang="fr-FR" altLang="en-US" sz="2800" b="1" noProof="1">
                  <a:solidFill>
                    <a:srgbClr val="FFFFFF"/>
                  </a:solidFill>
                  <a:latin typeface="Calibri" charset="0"/>
                </a:rPr>
                <a:t>2019</a:t>
              </a:r>
              <a:endParaRPr lang="da-DK" altLang="en-US" sz="2800" b="1" dirty="0">
                <a:solidFill>
                  <a:srgbClr val="FFFFFF"/>
                </a:solidFill>
                <a:latin typeface="Calibri" charset="0"/>
              </a:endParaRPr>
            </a:p>
          </p:txBody>
        </p:sp>
      </p:grpSp>
      <p:sp>
        <p:nvSpPr>
          <p:cNvPr id="43" name="Rektangel 47"/>
          <p:cNvSpPr>
            <a:spLocks noChangeArrowheads="1"/>
          </p:cNvSpPr>
          <p:nvPr/>
        </p:nvSpPr>
        <p:spPr bwMode="auto">
          <a:xfrm>
            <a:off x="3231440" y="3190876"/>
            <a:ext cx="3492500" cy="34532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801688" eaLnBrk="0" hangingPunct="0">
              <a:defRPr sz="2400">
                <a:solidFill>
                  <a:schemeClr val="tx1"/>
                </a:solidFill>
                <a:latin typeface="Arial" charset="0"/>
                <a:ea typeface="ＭＳ Ｐゴシック" charset="-128"/>
              </a:defRPr>
            </a:lvl1pPr>
            <a:lvl2pPr marL="37931725" indent="-37474525" defTabSz="801688"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184150" indent="-184150" algn="l" eaLnBrk="1" hangingPunct="1">
              <a:spcBef>
                <a:spcPct val="20000"/>
              </a:spcBef>
              <a:buFont typeface="Arial" panose="020B0604020202020204" pitchFamily="34" charset="0"/>
              <a:buChar char="•"/>
            </a:pPr>
            <a:r>
              <a:rPr lang="fr-FR" altLang="en-US" sz="2800" b="1" noProof="1">
                <a:latin typeface="Calibri" charset="0"/>
              </a:rPr>
              <a:t>3</a:t>
            </a:r>
            <a:r>
              <a:rPr lang="fr-FR" altLang="en-US" sz="2800" b="1" noProof="1" smtClean="0">
                <a:latin typeface="Calibri" charset="0"/>
              </a:rPr>
              <a:t> </a:t>
            </a:r>
            <a:r>
              <a:rPr lang="fr-FR" altLang="en-US" sz="2800" b="1" noProof="1">
                <a:latin typeface="Calibri" charset="0"/>
              </a:rPr>
              <a:t>customers </a:t>
            </a:r>
          </a:p>
          <a:p>
            <a:pPr marL="184150" indent="-184150" algn="l" eaLnBrk="1" hangingPunct="1">
              <a:spcBef>
                <a:spcPct val="20000"/>
              </a:spcBef>
              <a:buFont typeface="Arial" panose="020B0604020202020204" pitchFamily="34" charset="0"/>
              <a:buChar char="•"/>
            </a:pPr>
            <a:r>
              <a:rPr lang="fr-FR" altLang="en-US" sz="2800" b="1" noProof="1">
                <a:latin typeface="Calibri" charset="0"/>
              </a:rPr>
              <a:t>Finalize legal structure</a:t>
            </a:r>
          </a:p>
          <a:p>
            <a:pPr marL="184150" indent="-184150" algn="l" eaLnBrk="1" hangingPunct="1">
              <a:spcBef>
                <a:spcPct val="20000"/>
              </a:spcBef>
              <a:buFont typeface="Arial" panose="020B0604020202020204" pitchFamily="34" charset="0"/>
              <a:buChar char="•"/>
            </a:pPr>
            <a:r>
              <a:rPr lang="fr-FR" altLang="en-US" sz="2800" b="1" noProof="1">
                <a:latin typeface="Calibri" charset="0"/>
              </a:rPr>
              <a:t>IP in E2S</a:t>
            </a:r>
          </a:p>
          <a:p>
            <a:pPr marL="184150" indent="-184150" algn="l" eaLnBrk="1" hangingPunct="1">
              <a:spcBef>
                <a:spcPct val="20000"/>
              </a:spcBef>
              <a:buFont typeface="Arial" panose="020B0604020202020204" pitchFamily="34" charset="0"/>
              <a:buChar char="•"/>
            </a:pPr>
            <a:r>
              <a:rPr lang="fr-FR" altLang="en-US" sz="2800" b="1" noProof="1">
                <a:latin typeface="Calibri" charset="0"/>
              </a:rPr>
              <a:t>Fund raising € </a:t>
            </a:r>
            <a:r>
              <a:rPr lang="fr-FR" altLang="en-US" sz="2800" b="1" noProof="1" smtClean="0">
                <a:latin typeface="Calibri" charset="0"/>
              </a:rPr>
              <a:t>0.5m</a:t>
            </a:r>
            <a:endParaRPr lang="fr-FR" altLang="en-US" sz="2800" b="1" noProof="1">
              <a:latin typeface="Calibri" charset="0"/>
            </a:endParaRPr>
          </a:p>
          <a:p>
            <a:pPr marL="184150" indent="-184150" algn="l" eaLnBrk="1" hangingPunct="1">
              <a:spcBef>
                <a:spcPct val="20000"/>
              </a:spcBef>
              <a:buFont typeface="Arial" panose="020B0604020202020204" pitchFamily="34" charset="0"/>
              <a:buChar char="•"/>
            </a:pPr>
            <a:r>
              <a:rPr lang="fr-FR" altLang="en-US" sz="2800" b="1" noProof="1">
                <a:latin typeface="Calibri" charset="0"/>
              </a:rPr>
              <a:t>1st recruitments (sales &amp; mkg, CTO…)</a:t>
            </a:r>
          </a:p>
        </p:txBody>
      </p:sp>
      <p:sp>
        <p:nvSpPr>
          <p:cNvPr id="44" name="Rektangel 47"/>
          <p:cNvSpPr>
            <a:spLocks noChangeArrowheads="1"/>
          </p:cNvSpPr>
          <p:nvPr/>
        </p:nvSpPr>
        <p:spPr bwMode="auto">
          <a:xfrm>
            <a:off x="6913157" y="3190876"/>
            <a:ext cx="3160110" cy="38841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801688" eaLnBrk="0" hangingPunct="0">
              <a:defRPr sz="2400">
                <a:solidFill>
                  <a:schemeClr val="tx1"/>
                </a:solidFill>
                <a:latin typeface="Arial" charset="0"/>
                <a:ea typeface="ＭＳ Ｐゴシック" charset="-128"/>
              </a:defRPr>
            </a:lvl1pPr>
            <a:lvl2pPr marL="37931725" indent="-37474525" defTabSz="801688"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184150" indent="-184150" algn="l" eaLnBrk="1" hangingPunct="1">
              <a:spcBef>
                <a:spcPct val="20000"/>
              </a:spcBef>
              <a:buFont typeface="Arial" panose="020B0604020202020204" pitchFamily="34" charset="0"/>
              <a:buChar char="•"/>
            </a:pPr>
            <a:r>
              <a:rPr lang="fr-FR" altLang="en-US" sz="2800" b="1" noProof="1" smtClean="0">
                <a:latin typeface="Calibri" charset="0"/>
              </a:rPr>
              <a:t>10 </a:t>
            </a:r>
            <a:r>
              <a:rPr lang="fr-FR" altLang="en-US" sz="2800" b="1" noProof="1">
                <a:latin typeface="Calibri" charset="0"/>
              </a:rPr>
              <a:t>customers</a:t>
            </a:r>
          </a:p>
          <a:p>
            <a:pPr marL="184150" indent="-184150" algn="l" eaLnBrk="1" hangingPunct="1">
              <a:spcBef>
                <a:spcPct val="20000"/>
              </a:spcBef>
              <a:buFont typeface="Arial" panose="020B0604020202020204" pitchFamily="34" charset="0"/>
              <a:buChar char="•"/>
            </a:pPr>
            <a:r>
              <a:rPr lang="fr-FR" altLang="en-US" sz="2800" b="1" noProof="1">
                <a:latin typeface="Calibri" charset="0"/>
              </a:rPr>
              <a:t>Development of </a:t>
            </a:r>
            <a:r>
              <a:rPr lang="fr-FR" altLang="en-US" sz="2800" b="1" noProof="1" smtClean="0">
                <a:latin typeface="Calibri" charset="0"/>
              </a:rPr>
              <a:t>big data</a:t>
            </a:r>
          </a:p>
          <a:p>
            <a:pPr marL="184150" indent="-184150" algn="l" eaLnBrk="1" hangingPunct="1">
              <a:spcBef>
                <a:spcPct val="20000"/>
              </a:spcBef>
              <a:buFont typeface="Arial" panose="020B0604020202020204" pitchFamily="34" charset="0"/>
              <a:buChar char="•"/>
            </a:pPr>
            <a:r>
              <a:rPr lang="fr-FR" altLang="en-US" sz="2800" b="1" noProof="1" smtClean="0">
                <a:latin typeface="Calibri" charset="0"/>
              </a:rPr>
              <a:t>Start other ERPs</a:t>
            </a:r>
            <a:endParaRPr lang="fr-FR" altLang="en-US" sz="2800" b="1" noProof="1">
              <a:latin typeface="Calibri" charset="0"/>
            </a:endParaRPr>
          </a:p>
          <a:p>
            <a:pPr marL="184150" indent="-184150" algn="l" eaLnBrk="1" hangingPunct="1">
              <a:spcBef>
                <a:spcPct val="20000"/>
              </a:spcBef>
              <a:buFont typeface="Arial" panose="020B0604020202020204" pitchFamily="34" charset="0"/>
              <a:buChar char="•"/>
            </a:pPr>
            <a:r>
              <a:rPr lang="fr-FR" altLang="en-US" sz="2800" b="1" noProof="1">
                <a:latin typeface="Calibri" charset="0"/>
              </a:rPr>
              <a:t>Prepare </a:t>
            </a:r>
            <a:r>
              <a:rPr lang="fr-FR" altLang="en-US" sz="2800" b="1" noProof="1" smtClean="0">
                <a:latin typeface="Calibri" charset="0"/>
              </a:rPr>
              <a:t>international</a:t>
            </a:r>
          </a:p>
          <a:p>
            <a:pPr marL="184150" indent="-184150" algn="l" eaLnBrk="1" hangingPunct="1">
              <a:spcBef>
                <a:spcPct val="20000"/>
              </a:spcBef>
              <a:buFont typeface="Arial" panose="020B0604020202020204" pitchFamily="34" charset="0"/>
              <a:buChar char="•"/>
            </a:pPr>
            <a:r>
              <a:rPr lang="fr-FR" altLang="en-US" sz="2800" b="1" noProof="1" smtClean="0">
                <a:latin typeface="Calibri" charset="0"/>
              </a:rPr>
              <a:t>Fund raising € 1.5m</a:t>
            </a:r>
            <a:endParaRPr lang="fr-FR" altLang="en-US" sz="2200" noProof="1">
              <a:latin typeface="Calibri" charset="0"/>
            </a:endParaRPr>
          </a:p>
        </p:txBody>
      </p:sp>
      <p:grpSp>
        <p:nvGrpSpPr>
          <p:cNvPr id="47" name="Group 53"/>
          <p:cNvGrpSpPr>
            <a:grpSpLocks/>
          </p:cNvGrpSpPr>
          <p:nvPr/>
        </p:nvGrpSpPr>
        <p:grpSpPr bwMode="auto">
          <a:xfrm>
            <a:off x="3066342" y="11455405"/>
            <a:ext cx="3846816" cy="765488"/>
            <a:chOff x="876300" y="5727700"/>
            <a:chExt cx="1946275" cy="382587"/>
          </a:xfrm>
          <a:effectLst/>
        </p:grpSpPr>
        <p:sp>
          <p:nvSpPr>
            <p:cNvPr id="49" name="AutoShape 252"/>
            <p:cNvSpPr>
              <a:spLocks noChangeArrowheads="1"/>
            </p:cNvSpPr>
            <p:nvPr/>
          </p:nvSpPr>
          <p:spPr bwMode="auto">
            <a:xfrm>
              <a:off x="876300" y="5727700"/>
              <a:ext cx="1946275" cy="382587"/>
            </a:xfrm>
            <a:prstGeom prst="chevron">
              <a:avLst>
                <a:gd name="adj" fmla="val 25718"/>
              </a:avLst>
            </a:prstGeom>
            <a:solidFill>
              <a:srgbClr val="E69427"/>
            </a:solidFill>
            <a:ln>
              <a:noFill/>
            </a:ln>
            <a:extLst>
              <a:ext uri="{91240B29-F687-4f45-9708-019B960494DF}">
                <a14:hiddenLine xmlns:a14="http://schemas.microsoft.com/office/drawing/2010/main" xmlns="" w="9">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altLang="en-US" sz="3600" noProof="1">
                <a:latin typeface="Calibri" charset="0"/>
              </a:endParaRPr>
            </a:p>
          </p:txBody>
        </p:sp>
        <p:sp>
          <p:nvSpPr>
            <p:cNvPr id="50" name="Rektangel 72"/>
            <p:cNvSpPr>
              <a:spLocks noChangeArrowheads="1"/>
            </p:cNvSpPr>
            <p:nvPr/>
          </p:nvSpPr>
          <p:spPr bwMode="auto">
            <a:xfrm>
              <a:off x="1135063" y="5759450"/>
              <a:ext cx="1468437" cy="2615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r>
                <a:rPr lang="fr-FR" altLang="en-US" sz="2800" b="1" noProof="1">
                  <a:solidFill>
                    <a:srgbClr val="FFFFFF"/>
                  </a:solidFill>
                  <a:latin typeface="Calibri" charset="0"/>
                </a:rPr>
                <a:t>2016</a:t>
              </a:r>
              <a:endParaRPr lang="da-DK" altLang="en-US" sz="2800" b="1" dirty="0">
                <a:solidFill>
                  <a:srgbClr val="FFFFFF"/>
                </a:solidFill>
                <a:latin typeface="Calibri" charset="0"/>
              </a:endParaRPr>
            </a:p>
          </p:txBody>
        </p:sp>
      </p:grpSp>
      <p:grpSp>
        <p:nvGrpSpPr>
          <p:cNvPr id="54" name="Gruppe 57"/>
          <p:cNvGrpSpPr>
            <a:grpSpLocks/>
          </p:cNvGrpSpPr>
          <p:nvPr/>
        </p:nvGrpSpPr>
        <p:grpSpPr bwMode="auto">
          <a:xfrm>
            <a:off x="11549085" y="5304115"/>
            <a:ext cx="654050" cy="2038350"/>
            <a:chOff x="5268905" y="1231897"/>
            <a:chExt cx="1384298" cy="4311644"/>
          </a:xfrm>
          <a:solidFill>
            <a:schemeClr val="tx2"/>
          </a:solidFill>
        </p:grpSpPr>
        <p:sp>
          <p:nvSpPr>
            <p:cNvPr id="55" name="Freeform 50"/>
            <p:cNvSpPr>
              <a:spLocks/>
            </p:cNvSpPr>
            <p:nvPr/>
          </p:nvSpPr>
          <p:spPr bwMode="auto">
            <a:xfrm>
              <a:off x="5268905" y="1231897"/>
              <a:ext cx="1384298" cy="4311644"/>
            </a:xfrm>
            <a:custGeom>
              <a:avLst/>
              <a:gdLst>
                <a:gd name="T0" fmla="*/ 484 w 872"/>
                <a:gd name="T1" fmla="*/ 278 h 2716"/>
                <a:gd name="T2" fmla="*/ 492 w 872"/>
                <a:gd name="T3" fmla="*/ 116 h 2716"/>
                <a:gd name="T4" fmla="*/ 530 w 872"/>
                <a:gd name="T5" fmla="*/ 46 h 2716"/>
                <a:gd name="T6" fmla="*/ 602 w 872"/>
                <a:gd name="T7" fmla="*/ 0 h 2716"/>
                <a:gd name="T8" fmla="*/ 770 w 872"/>
                <a:gd name="T9" fmla="*/ 46 h 2716"/>
                <a:gd name="T10" fmla="*/ 810 w 872"/>
                <a:gd name="T11" fmla="*/ 80 h 2716"/>
                <a:gd name="T12" fmla="*/ 796 w 872"/>
                <a:gd name="T13" fmla="*/ 138 h 2716"/>
                <a:gd name="T14" fmla="*/ 786 w 872"/>
                <a:gd name="T15" fmla="*/ 224 h 2716"/>
                <a:gd name="T16" fmla="*/ 800 w 872"/>
                <a:gd name="T17" fmla="*/ 264 h 2716"/>
                <a:gd name="T18" fmla="*/ 804 w 872"/>
                <a:gd name="T19" fmla="*/ 298 h 2716"/>
                <a:gd name="T20" fmla="*/ 778 w 872"/>
                <a:gd name="T21" fmla="*/ 304 h 2716"/>
                <a:gd name="T22" fmla="*/ 778 w 872"/>
                <a:gd name="T23" fmla="*/ 326 h 2716"/>
                <a:gd name="T24" fmla="*/ 772 w 872"/>
                <a:gd name="T25" fmla="*/ 348 h 2716"/>
                <a:gd name="T26" fmla="*/ 752 w 872"/>
                <a:gd name="T27" fmla="*/ 362 h 2716"/>
                <a:gd name="T28" fmla="*/ 734 w 872"/>
                <a:gd name="T29" fmla="*/ 402 h 2716"/>
                <a:gd name="T30" fmla="*/ 672 w 872"/>
                <a:gd name="T31" fmla="*/ 392 h 2716"/>
                <a:gd name="T32" fmla="*/ 672 w 872"/>
                <a:gd name="T33" fmla="*/ 480 h 2716"/>
                <a:gd name="T34" fmla="*/ 698 w 872"/>
                <a:gd name="T35" fmla="*/ 560 h 2716"/>
                <a:gd name="T36" fmla="*/ 752 w 872"/>
                <a:gd name="T37" fmla="*/ 748 h 2716"/>
                <a:gd name="T38" fmla="*/ 764 w 872"/>
                <a:gd name="T39" fmla="*/ 970 h 2716"/>
                <a:gd name="T40" fmla="*/ 810 w 872"/>
                <a:gd name="T41" fmla="*/ 1206 h 2716"/>
                <a:gd name="T42" fmla="*/ 840 w 872"/>
                <a:gd name="T43" fmla="*/ 1476 h 2716"/>
                <a:gd name="T44" fmla="*/ 776 w 872"/>
                <a:gd name="T45" fmla="*/ 1472 h 2716"/>
                <a:gd name="T46" fmla="*/ 726 w 872"/>
                <a:gd name="T47" fmla="*/ 1500 h 2716"/>
                <a:gd name="T48" fmla="*/ 814 w 872"/>
                <a:gd name="T49" fmla="*/ 1626 h 2716"/>
                <a:gd name="T50" fmla="*/ 862 w 872"/>
                <a:gd name="T51" fmla="*/ 1658 h 2716"/>
                <a:gd name="T52" fmla="*/ 862 w 872"/>
                <a:gd name="T53" fmla="*/ 2016 h 2716"/>
                <a:gd name="T54" fmla="*/ 624 w 872"/>
                <a:gd name="T55" fmla="*/ 2028 h 2716"/>
                <a:gd name="T56" fmla="*/ 590 w 872"/>
                <a:gd name="T57" fmla="*/ 2174 h 2716"/>
                <a:gd name="T58" fmla="*/ 550 w 872"/>
                <a:gd name="T59" fmla="*/ 2264 h 2716"/>
                <a:gd name="T60" fmla="*/ 542 w 872"/>
                <a:gd name="T61" fmla="*/ 2422 h 2716"/>
                <a:gd name="T62" fmla="*/ 550 w 872"/>
                <a:gd name="T63" fmla="*/ 2564 h 2716"/>
                <a:gd name="T64" fmla="*/ 606 w 872"/>
                <a:gd name="T65" fmla="*/ 2616 h 2716"/>
                <a:gd name="T66" fmla="*/ 716 w 872"/>
                <a:gd name="T67" fmla="*/ 2672 h 2716"/>
                <a:gd name="T68" fmla="*/ 594 w 872"/>
                <a:gd name="T69" fmla="*/ 2714 h 2716"/>
                <a:gd name="T70" fmla="*/ 444 w 872"/>
                <a:gd name="T71" fmla="*/ 2698 h 2716"/>
                <a:gd name="T72" fmla="*/ 344 w 872"/>
                <a:gd name="T73" fmla="*/ 2696 h 2716"/>
                <a:gd name="T74" fmla="*/ 326 w 872"/>
                <a:gd name="T75" fmla="*/ 2586 h 2716"/>
                <a:gd name="T76" fmla="*/ 238 w 872"/>
                <a:gd name="T77" fmla="*/ 2540 h 2716"/>
                <a:gd name="T78" fmla="*/ 318 w 872"/>
                <a:gd name="T79" fmla="*/ 2622 h 2716"/>
                <a:gd name="T80" fmla="*/ 246 w 872"/>
                <a:gd name="T81" fmla="*/ 2642 h 2716"/>
                <a:gd name="T82" fmla="*/ 142 w 872"/>
                <a:gd name="T83" fmla="*/ 2556 h 2716"/>
                <a:gd name="T84" fmla="*/ 60 w 872"/>
                <a:gd name="T85" fmla="*/ 2504 h 2716"/>
                <a:gd name="T86" fmla="*/ 18 w 872"/>
                <a:gd name="T87" fmla="*/ 2410 h 2716"/>
                <a:gd name="T88" fmla="*/ 64 w 872"/>
                <a:gd name="T89" fmla="*/ 2350 h 2716"/>
                <a:gd name="T90" fmla="*/ 150 w 872"/>
                <a:gd name="T91" fmla="*/ 2254 h 2716"/>
                <a:gd name="T92" fmla="*/ 252 w 872"/>
                <a:gd name="T93" fmla="*/ 2126 h 2716"/>
                <a:gd name="T94" fmla="*/ 292 w 872"/>
                <a:gd name="T95" fmla="*/ 2060 h 2716"/>
                <a:gd name="T96" fmla="*/ 292 w 872"/>
                <a:gd name="T97" fmla="*/ 1998 h 2716"/>
                <a:gd name="T98" fmla="*/ 292 w 872"/>
                <a:gd name="T99" fmla="*/ 1644 h 2716"/>
                <a:gd name="T100" fmla="*/ 334 w 872"/>
                <a:gd name="T101" fmla="*/ 1624 h 2716"/>
                <a:gd name="T102" fmla="*/ 360 w 872"/>
                <a:gd name="T103" fmla="*/ 1478 h 2716"/>
                <a:gd name="T104" fmla="*/ 306 w 872"/>
                <a:gd name="T105" fmla="*/ 1492 h 2716"/>
                <a:gd name="T106" fmla="*/ 330 w 872"/>
                <a:gd name="T107" fmla="*/ 1242 h 2716"/>
                <a:gd name="T108" fmla="*/ 322 w 872"/>
                <a:gd name="T109" fmla="*/ 1072 h 2716"/>
                <a:gd name="T110" fmla="*/ 294 w 872"/>
                <a:gd name="T111" fmla="*/ 1034 h 2716"/>
                <a:gd name="T112" fmla="*/ 320 w 872"/>
                <a:gd name="T113" fmla="*/ 784 h 2716"/>
                <a:gd name="T114" fmla="*/ 322 w 872"/>
                <a:gd name="T115" fmla="*/ 564 h 2716"/>
                <a:gd name="T116" fmla="*/ 400 w 872"/>
                <a:gd name="T117" fmla="*/ 438 h 2716"/>
                <a:gd name="T118" fmla="*/ 454 w 872"/>
                <a:gd name="T119" fmla="*/ 358 h 27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2"/>
                <a:gd name="T181" fmla="*/ 0 h 2716"/>
                <a:gd name="T182" fmla="*/ 872 w 872"/>
                <a:gd name="T183" fmla="*/ 2716 h 27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2" h="2716">
                  <a:moveTo>
                    <a:pt x="492" y="312"/>
                  </a:moveTo>
                  <a:lnTo>
                    <a:pt x="498" y="290"/>
                  </a:lnTo>
                  <a:lnTo>
                    <a:pt x="492" y="288"/>
                  </a:lnTo>
                  <a:lnTo>
                    <a:pt x="488" y="284"/>
                  </a:lnTo>
                  <a:lnTo>
                    <a:pt x="484" y="278"/>
                  </a:lnTo>
                  <a:lnTo>
                    <a:pt x="484" y="260"/>
                  </a:lnTo>
                  <a:lnTo>
                    <a:pt x="486" y="224"/>
                  </a:lnTo>
                  <a:lnTo>
                    <a:pt x="488" y="186"/>
                  </a:lnTo>
                  <a:lnTo>
                    <a:pt x="488" y="158"/>
                  </a:lnTo>
                  <a:lnTo>
                    <a:pt x="490" y="132"/>
                  </a:lnTo>
                  <a:lnTo>
                    <a:pt x="492" y="116"/>
                  </a:lnTo>
                  <a:lnTo>
                    <a:pt x="498" y="98"/>
                  </a:lnTo>
                  <a:lnTo>
                    <a:pt x="502" y="80"/>
                  </a:lnTo>
                  <a:lnTo>
                    <a:pt x="510" y="66"/>
                  </a:lnTo>
                  <a:lnTo>
                    <a:pt x="518" y="54"/>
                  </a:lnTo>
                  <a:lnTo>
                    <a:pt x="524" y="50"/>
                  </a:lnTo>
                  <a:lnTo>
                    <a:pt x="530" y="46"/>
                  </a:lnTo>
                  <a:lnTo>
                    <a:pt x="534" y="40"/>
                  </a:lnTo>
                  <a:lnTo>
                    <a:pt x="548" y="24"/>
                  </a:lnTo>
                  <a:lnTo>
                    <a:pt x="558" y="14"/>
                  </a:lnTo>
                  <a:lnTo>
                    <a:pt x="572" y="6"/>
                  </a:lnTo>
                  <a:lnTo>
                    <a:pt x="586" y="2"/>
                  </a:lnTo>
                  <a:lnTo>
                    <a:pt x="602" y="0"/>
                  </a:lnTo>
                  <a:lnTo>
                    <a:pt x="636" y="0"/>
                  </a:lnTo>
                  <a:lnTo>
                    <a:pt x="668" y="4"/>
                  </a:lnTo>
                  <a:lnTo>
                    <a:pt x="698" y="10"/>
                  </a:lnTo>
                  <a:lnTo>
                    <a:pt x="722" y="20"/>
                  </a:lnTo>
                  <a:lnTo>
                    <a:pt x="746" y="32"/>
                  </a:lnTo>
                  <a:lnTo>
                    <a:pt x="770" y="46"/>
                  </a:lnTo>
                  <a:lnTo>
                    <a:pt x="788" y="58"/>
                  </a:lnTo>
                  <a:lnTo>
                    <a:pt x="800" y="64"/>
                  </a:lnTo>
                  <a:lnTo>
                    <a:pt x="804" y="66"/>
                  </a:lnTo>
                  <a:lnTo>
                    <a:pt x="806" y="70"/>
                  </a:lnTo>
                  <a:lnTo>
                    <a:pt x="808" y="76"/>
                  </a:lnTo>
                  <a:lnTo>
                    <a:pt x="810" y="80"/>
                  </a:lnTo>
                  <a:lnTo>
                    <a:pt x="808" y="86"/>
                  </a:lnTo>
                  <a:lnTo>
                    <a:pt x="804" y="92"/>
                  </a:lnTo>
                  <a:lnTo>
                    <a:pt x="800" y="100"/>
                  </a:lnTo>
                  <a:lnTo>
                    <a:pt x="796" y="138"/>
                  </a:lnTo>
                  <a:lnTo>
                    <a:pt x="796" y="170"/>
                  </a:lnTo>
                  <a:lnTo>
                    <a:pt x="796" y="198"/>
                  </a:lnTo>
                  <a:lnTo>
                    <a:pt x="794" y="206"/>
                  </a:lnTo>
                  <a:lnTo>
                    <a:pt x="790" y="212"/>
                  </a:lnTo>
                  <a:lnTo>
                    <a:pt x="788" y="218"/>
                  </a:lnTo>
                  <a:lnTo>
                    <a:pt x="786" y="224"/>
                  </a:lnTo>
                  <a:lnTo>
                    <a:pt x="788" y="232"/>
                  </a:lnTo>
                  <a:lnTo>
                    <a:pt x="792" y="244"/>
                  </a:lnTo>
                  <a:lnTo>
                    <a:pt x="796" y="254"/>
                  </a:lnTo>
                  <a:lnTo>
                    <a:pt x="800" y="264"/>
                  </a:lnTo>
                  <a:lnTo>
                    <a:pt x="804" y="270"/>
                  </a:lnTo>
                  <a:lnTo>
                    <a:pt x="808" y="276"/>
                  </a:lnTo>
                  <a:lnTo>
                    <a:pt x="810" y="282"/>
                  </a:lnTo>
                  <a:lnTo>
                    <a:pt x="810" y="290"/>
                  </a:lnTo>
                  <a:lnTo>
                    <a:pt x="806" y="296"/>
                  </a:lnTo>
                  <a:lnTo>
                    <a:pt x="804" y="298"/>
                  </a:lnTo>
                  <a:lnTo>
                    <a:pt x="802" y="300"/>
                  </a:lnTo>
                  <a:lnTo>
                    <a:pt x="798" y="300"/>
                  </a:lnTo>
                  <a:lnTo>
                    <a:pt x="788" y="298"/>
                  </a:lnTo>
                  <a:lnTo>
                    <a:pt x="782" y="300"/>
                  </a:lnTo>
                  <a:lnTo>
                    <a:pt x="778" y="304"/>
                  </a:lnTo>
                  <a:lnTo>
                    <a:pt x="776" y="308"/>
                  </a:lnTo>
                  <a:lnTo>
                    <a:pt x="776" y="312"/>
                  </a:lnTo>
                  <a:lnTo>
                    <a:pt x="778" y="320"/>
                  </a:lnTo>
                  <a:lnTo>
                    <a:pt x="780" y="322"/>
                  </a:lnTo>
                  <a:lnTo>
                    <a:pt x="778" y="326"/>
                  </a:lnTo>
                  <a:lnTo>
                    <a:pt x="776" y="328"/>
                  </a:lnTo>
                  <a:lnTo>
                    <a:pt x="772" y="330"/>
                  </a:lnTo>
                  <a:lnTo>
                    <a:pt x="766" y="332"/>
                  </a:lnTo>
                  <a:lnTo>
                    <a:pt x="768" y="338"/>
                  </a:lnTo>
                  <a:lnTo>
                    <a:pt x="770" y="342"/>
                  </a:lnTo>
                  <a:lnTo>
                    <a:pt x="772" y="348"/>
                  </a:lnTo>
                  <a:lnTo>
                    <a:pt x="766" y="350"/>
                  </a:lnTo>
                  <a:lnTo>
                    <a:pt x="762" y="350"/>
                  </a:lnTo>
                  <a:lnTo>
                    <a:pt x="760" y="352"/>
                  </a:lnTo>
                  <a:lnTo>
                    <a:pt x="756" y="354"/>
                  </a:lnTo>
                  <a:lnTo>
                    <a:pt x="752" y="362"/>
                  </a:lnTo>
                  <a:lnTo>
                    <a:pt x="752" y="370"/>
                  </a:lnTo>
                  <a:lnTo>
                    <a:pt x="750" y="382"/>
                  </a:lnTo>
                  <a:lnTo>
                    <a:pt x="746" y="390"/>
                  </a:lnTo>
                  <a:lnTo>
                    <a:pt x="742" y="396"/>
                  </a:lnTo>
                  <a:lnTo>
                    <a:pt x="734" y="402"/>
                  </a:lnTo>
                  <a:lnTo>
                    <a:pt x="728" y="404"/>
                  </a:lnTo>
                  <a:lnTo>
                    <a:pt x="710" y="402"/>
                  </a:lnTo>
                  <a:lnTo>
                    <a:pt x="690" y="398"/>
                  </a:lnTo>
                  <a:lnTo>
                    <a:pt x="678" y="394"/>
                  </a:lnTo>
                  <a:lnTo>
                    <a:pt x="672" y="392"/>
                  </a:lnTo>
                  <a:lnTo>
                    <a:pt x="670" y="392"/>
                  </a:lnTo>
                  <a:lnTo>
                    <a:pt x="658" y="412"/>
                  </a:lnTo>
                  <a:lnTo>
                    <a:pt x="650" y="424"/>
                  </a:lnTo>
                  <a:lnTo>
                    <a:pt x="644" y="430"/>
                  </a:lnTo>
                  <a:lnTo>
                    <a:pt x="652" y="452"/>
                  </a:lnTo>
                  <a:lnTo>
                    <a:pt x="672" y="480"/>
                  </a:lnTo>
                  <a:lnTo>
                    <a:pt x="670" y="486"/>
                  </a:lnTo>
                  <a:lnTo>
                    <a:pt x="682" y="510"/>
                  </a:lnTo>
                  <a:lnTo>
                    <a:pt x="690" y="532"/>
                  </a:lnTo>
                  <a:lnTo>
                    <a:pt x="694" y="546"/>
                  </a:lnTo>
                  <a:lnTo>
                    <a:pt x="698" y="560"/>
                  </a:lnTo>
                  <a:lnTo>
                    <a:pt x="700" y="590"/>
                  </a:lnTo>
                  <a:lnTo>
                    <a:pt x="702" y="620"/>
                  </a:lnTo>
                  <a:lnTo>
                    <a:pt x="704" y="652"/>
                  </a:lnTo>
                  <a:lnTo>
                    <a:pt x="730" y="698"/>
                  </a:lnTo>
                  <a:lnTo>
                    <a:pt x="746" y="732"/>
                  </a:lnTo>
                  <a:lnTo>
                    <a:pt x="752" y="748"/>
                  </a:lnTo>
                  <a:lnTo>
                    <a:pt x="756" y="760"/>
                  </a:lnTo>
                  <a:lnTo>
                    <a:pt x="758" y="794"/>
                  </a:lnTo>
                  <a:lnTo>
                    <a:pt x="758" y="842"/>
                  </a:lnTo>
                  <a:lnTo>
                    <a:pt x="760" y="932"/>
                  </a:lnTo>
                  <a:lnTo>
                    <a:pt x="764" y="970"/>
                  </a:lnTo>
                  <a:lnTo>
                    <a:pt x="766" y="1000"/>
                  </a:lnTo>
                  <a:lnTo>
                    <a:pt x="774" y="1038"/>
                  </a:lnTo>
                  <a:lnTo>
                    <a:pt x="788" y="1102"/>
                  </a:lnTo>
                  <a:lnTo>
                    <a:pt x="802" y="1166"/>
                  </a:lnTo>
                  <a:lnTo>
                    <a:pt x="810" y="1206"/>
                  </a:lnTo>
                  <a:lnTo>
                    <a:pt x="816" y="1248"/>
                  </a:lnTo>
                  <a:lnTo>
                    <a:pt x="826" y="1312"/>
                  </a:lnTo>
                  <a:lnTo>
                    <a:pt x="836" y="1376"/>
                  </a:lnTo>
                  <a:lnTo>
                    <a:pt x="842" y="1416"/>
                  </a:lnTo>
                  <a:lnTo>
                    <a:pt x="842" y="1458"/>
                  </a:lnTo>
                  <a:lnTo>
                    <a:pt x="840" y="1476"/>
                  </a:lnTo>
                  <a:lnTo>
                    <a:pt x="838" y="1480"/>
                  </a:lnTo>
                  <a:lnTo>
                    <a:pt x="836" y="1482"/>
                  </a:lnTo>
                  <a:lnTo>
                    <a:pt x="808" y="1478"/>
                  </a:lnTo>
                  <a:lnTo>
                    <a:pt x="784" y="1474"/>
                  </a:lnTo>
                  <a:lnTo>
                    <a:pt x="776" y="1472"/>
                  </a:lnTo>
                  <a:lnTo>
                    <a:pt x="766" y="1472"/>
                  </a:lnTo>
                  <a:lnTo>
                    <a:pt x="754" y="1474"/>
                  </a:lnTo>
                  <a:lnTo>
                    <a:pt x="734" y="1484"/>
                  </a:lnTo>
                  <a:lnTo>
                    <a:pt x="730" y="1486"/>
                  </a:lnTo>
                  <a:lnTo>
                    <a:pt x="726" y="1500"/>
                  </a:lnTo>
                  <a:lnTo>
                    <a:pt x="720" y="1528"/>
                  </a:lnTo>
                  <a:lnTo>
                    <a:pt x="714" y="1564"/>
                  </a:lnTo>
                  <a:lnTo>
                    <a:pt x="710" y="1592"/>
                  </a:lnTo>
                  <a:lnTo>
                    <a:pt x="708" y="1620"/>
                  </a:lnTo>
                  <a:lnTo>
                    <a:pt x="814" y="1626"/>
                  </a:lnTo>
                  <a:lnTo>
                    <a:pt x="820" y="1628"/>
                  </a:lnTo>
                  <a:lnTo>
                    <a:pt x="836" y="1632"/>
                  </a:lnTo>
                  <a:lnTo>
                    <a:pt x="844" y="1636"/>
                  </a:lnTo>
                  <a:lnTo>
                    <a:pt x="852" y="1642"/>
                  </a:lnTo>
                  <a:lnTo>
                    <a:pt x="858" y="1650"/>
                  </a:lnTo>
                  <a:lnTo>
                    <a:pt x="862" y="1658"/>
                  </a:lnTo>
                  <a:lnTo>
                    <a:pt x="864" y="1718"/>
                  </a:lnTo>
                  <a:lnTo>
                    <a:pt x="868" y="1822"/>
                  </a:lnTo>
                  <a:lnTo>
                    <a:pt x="872" y="1976"/>
                  </a:lnTo>
                  <a:lnTo>
                    <a:pt x="870" y="1990"/>
                  </a:lnTo>
                  <a:lnTo>
                    <a:pt x="866" y="2006"/>
                  </a:lnTo>
                  <a:lnTo>
                    <a:pt x="862" y="2016"/>
                  </a:lnTo>
                  <a:lnTo>
                    <a:pt x="858" y="2022"/>
                  </a:lnTo>
                  <a:lnTo>
                    <a:pt x="852" y="2026"/>
                  </a:lnTo>
                  <a:lnTo>
                    <a:pt x="844" y="2028"/>
                  </a:lnTo>
                  <a:lnTo>
                    <a:pt x="726" y="2026"/>
                  </a:lnTo>
                  <a:lnTo>
                    <a:pt x="624" y="2028"/>
                  </a:lnTo>
                  <a:lnTo>
                    <a:pt x="622" y="2030"/>
                  </a:lnTo>
                  <a:lnTo>
                    <a:pt x="616" y="2044"/>
                  </a:lnTo>
                  <a:lnTo>
                    <a:pt x="610" y="2066"/>
                  </a:lnTo>
                  <a:lnTo>
                    <a:pt x="606" y="2100"/>
                  </a:lnTo>
                  <a:lnTo>
                    <a:pt x="598" y="2140"/>
                  </a:lnTo>
                  <a:lnTo>
                    <a:pt x="590" y="2174"/>
                  </a:lnTo>
                  <a:lnTo>
                    <a:pt x="578" y="2202"/>
                  </a:lnTo>
                  <a:lnTo>
                    <a:pt x="568" y="2222"/>
                  </a:lnTo>
                  <a:lnTo>
                    <a:pt x="562" y="2236"/>
                  </a:lnTo>
                  <a:lnTo>
                    <a:pt x="556" y="2246"/>
                  </a:lnTo>
                  <a:lnTo>
                    <a:pt x="550" y="2264"/>
                  </a:lnTo>
                  <a:lnTo>
                    <a:pt x="550" y="2276"/>
                  </a:lnTo>
                  <a:lnTo>
                    <a:pt x="550" y="2302"/>
                  </a:lnTo>
                  <a:lnTo>
                    <a:pt x="552" y="2332"/>
                  </a:lnTo>
                  <a:lnTo>
                    <a:pt x="550" y="2366"/>
                  </a:lnTo>
                  <a:lnTo>
                    <a:pt x="548" y="2396"/>
                  </a:lnTo>
                  <a:lnTo>
                    <a:pt x="542" y="2422"/>
                  </a:lnTo>
                  <a:lnTo>
                    <a:pt x="534" y="2454"/>
                  </a:lnTo>
                  <a:lnTo>
                    <a:pt x="534" y="2460"/>
                  </a:lnTo>
                  <a:lnTo>
                    <a:pt x="534" y="2474"/>
                  </a:lnTo>
                  <a:lnTo>
                    <a:pt x="540" y="2512"/>
                  </a:lnTo>
                  <a:lnTo>
                    <a:pt x="550" y="2564"/>
                  </a:lnTo>
                  <a:lnTo>
                    <a:pt x="548" y="2572"/>
                  </a:lnTo>
                  <a:lnTo>
                    <a:pt x="554" y="2580"/>
                  </a:lnTo>
                  <a:lnTo>
                    <a:pt x="568" y="2592"/>
                  </a:lnTo>
                  <a:lnTo>
                    <a:pt x="588" y="2606"/>
                  </a:lnTo>
                  <a:lnTo>
                    <a:pt x="606" y="2616"/>
                  </a:lnTo>
                  <a:lnTo>
                    <a:pt x="626" y="2626"/>
                  </a:lnTo>
                  <a:lnTo>
                    <a:pt x="652" y="2636"/>
                  </a:lnTo>
                  <a:lnTo>
                    <a:pt x="696" y="2650"/>
                  </a:lnTo>
                  <a:lnTo>
                    <a:pt x="704" y="2656"/>
                  </a:lnTo>
                  <a:lnTo>
                    <a:pt x="712" y="2662"/>
                  </a:lnTo>
                  <a:lnTo>
                    <a:pt x="716" y="2672"/>
                  </a:lnTo>
                  <a:lnTo>
                    <a:pt x="716" y="2678"/>
                  </a:lnTo>
                  <a:lnTo>
                    <a:pt x="722" y="2684"/>
                  </a:lnTo>
                  <a:lnTo>
                    <a:pt x="722" y="2694"/>
                  </a:lnTo>
                  <a:lnTo>
                    <a:pt x="666" y="2706"/>
                  </a:lnTo>
                  <a:lnTo>
                    <a:pt x="618" y="2712"/>
                  </a:lnTo>
                  <a:lnTo>
                    <a:pt x="594" y="2714"/>
                  </a:lnTo>
                  <a:lnTo>
                    <a:pt x="574" y="2716"/>
                  </a:lnTo>
                  <a:lnTo>
                    <a:pt x="554" y="2714"/>
                  </a:lnTo>
                  <a:lnTo>
                    <a:pt x="532" y="2710"/>
                  </a:lnTo>
                  <a:lnTo>
                    <a:pt x="490" y="2702"/>
                  </a:lnTo>
                  <a:lnTo>
                    <a:pt x="444" y="2688"/>
                  </a:lnTo>
                  <a:lnTo>
                    <a:pt x="444" y="2698"/>
                  </a:lnTo>
                  <a:lnTo>
                    <a:pt x="422" y="2704"/>
                  </a:lnTo>
                  <a:lnTo>
                    <a:pt x="400" y="2706"/>
                  </a:lnTo>
                  <a:lnTo>
                    <a:pt x="376" y="2706"/>
                  </a:lnTo>
                  <a:lnTo>
                    <a:pt x="358" y="2702"/>
                  </a:lnTo>
                  <a:lnTo>
                    <a:pt x="344" y="2696"/>
                  </a:lnTo>
                  <a:lnTo>
                    <a:pt x="336" y="2692"/>
                  </a:lnTo>
                  <a:lnTo>
                    <a:pt x="332" y="2690"/>
                  </a:lnTo>
                  <a:lnTo>
                    <a:pt x="326" y="2646"/>
                  </a:lnTo>
                  <a:lnTo>
                    <a:pt x="324" y="2610"/>
                  </a:lnTo>
                  <a:lnTo>
                    <a:pt x="324" y="2596"/>
                  </a:lnTo>
                  <a:lnTo>
                    <a:pt x="326" y="2586"/>
                  </a:lnTo>
                  <a:lnTo>
                    <a:pt x="308" y="2570"/>
                  </a:lnTo>
                  <a:lnTo>
                    <a:pt x="328" y="2362"/>
                  </a:lnTo>
                  <a:lnTo>
                    <a:pt x="284" y="2436"/>
                  </a:lnTo>
                  <a:lnTo>
                    <a:pt x="268" y="2504"/>
                  </a:lnTo>
                  <a:lnTo>
                    <a:pt x="256" y="2522"/>
                  </a:lnTo>
                  <a:lnTo>
                    <a:pt x="230" y="2508"/>
                  </a:lnTo>
                  <a:lnTo>
                    <a:pt x="238" y="2540"/>
                  </a:lnTo>
                  <a:lnTo>
                    <a:pt x="274" y="2568"/>
                  </a:lnTo>
                  <a:lnTo>
                    <a:pt x="300" y="2590"/>
                  </a:lnTo>
                  <a:lnTo>
                    <a:pt x="308" y="2598"/>
                  </a:lnTo>
                  <a:lnTo>
                    <a:pt x="314" y="2606"/>
                  </a:lnTo>
                  <a:lnTo>
                    <a:pt x="318" y="2622"/>
                  </a:lnTo>
                  <a:lnTo>
                    <a:pt x="316" y="2624"/>
                  </a:lnTo>
                  <a:lnTo>
                    <a:pt x="316" y="2626"/>
                  </a:lnTo>
                  <a:lnTo>
                    <a:pt x="308" y="2628"/>
                  </a:lnTo>
                  <a:lnTo>
                    <a:pt x="290" y="2634"/>
                  </a:lnTo>
                  <a:lnTo>
                    <a:pt x="262" y="2640"/>
                  </a:lnTo>
                  <a:lnTo>
                    <a:pt x="246" y="2642"/>
                  </a:lnTo>
                  <a:lnTo>
                    <a:pt x="232" y="2642"/>
                  </a:lnTo>
                  <a:lnTo>
                    <a:pt x="220" y="2642"/>
                  </a:lnTo>
                  <a:lnTo>
                    <a:pt x="212" y="2638"/>
                  </a:lnTo>
                  <a:lnTo>
                    <a:pt x="196" y="2622"/>
                  </a:lnTo>
                  <a:lnTo>
                    <a:pt x="178" y="2602"/>
                  </a:lnTo>
                  <a:lnTo>
                    <a:pt x="142" y="2556"/>
                  </a:lnTo>
                  <a:lnTo>
                    <a:pt x="124" y="2536"/>
                  </a:lnTo>
                  <a:lnTo>
                    <a:pt x="104" y="2514"/>
                  </a:lnTo>
                  <a:lnTo>
                    <a:pt x="82" y="2492"/>
                  </a:lnTo>
                  <a:lnTo>
                    <a:pt x="70" y="2512"/>
                  </a:lnTo>
                  <a:lnTo>
                    <a:pt x="60" y="2504"/>
                  </a:lnTo>
                  <a:lnTo>
                    <a:pt x="36" y="2484"/>
                  </a:lnTo>
                  <a:lnTo>
                    <a:pt x="24" y="2470"/>
                  </a:lnTo>
                  <a:lnTo>
                    <a:pt x="12" y="2458"/>
                  </a:lnTo>
                  <a:lnTo>
                    <a:pt x="4" y="2444"/>
                  </a:lnTo>
                  <a:lnTo>
                    <a:pt x="0" y="2430"/>
                  </a:lnTo>
                  <a:lnTo>
                    <a:pt x="18" y="2410"/>
                  </a:lnTo>
                  <a:lnTo>
                    <a:pt x="20" y="2402"/>
                  </a:lnTo>
                  <a:lnTo>
                    <a:pt x="30" y="2386"/>
                  </a:lnTo>
                  <a:lnTo>
                    <a:pt x="38" y="2376"/>
                  </a:lnTo>
                  <a:lnTo>
                    <a:pt x="46" y="2368"/>
                  </a:lnTo>
                  <a:lnTo>
                    <a:pt x="58" y="2360"/>
                  </a:lnTo>
                  <a:lnTo>
                    <a:pt x="70" y="2358"/>
                  </a:lnTo>
                  <a:lnTo>
                    <a:pt x="64" y="2350"/>
                  </a:lnTo>
                  <a:lnTo>
                    <a:pt x="94" y="2328"/>
                  </a:lnTo>
                  <a:lnTo>
                    <a:pt x="116" y="2306"/>
                  </a:lnTo>
                  <a:lnTo>
                    <a:pt x="124" y="2296"/>
                  </a:lnTo>
                  <a:lnTo>
                    <a:pt x="130" y="2288"/>
                  </a:lnTo>
                  <a:lnTo>
                    <a:pt x="150" y="2254"/>
                  </a:lnTo>
                  <a:lnTo>
                    <a:pt x="182" y="2204"/>
                  </a:lnTo>
                  <a:lnTo>
                    <a:pt x="216" y="2158"/>
                  </a:lnTo>
                  <a:lnTo>
                    <a:pt x="228" y="2142"/>
                  </a:lnTo>
                  <a:lnTo>
                    <a:pt x="236" y="2134"/>
                  </a:lnTo>
                  <a:lnTo>
                    <a:pt x="252" y="2126"/>
                  </a:lnTo>
                  <a:lnTo>
                    <a:pt x="252" y="2122"/>
                  </a:lnTo>
                  <a:lnTo>
                    <a:pt x="254" y="2112"/>
                  </a:lnTo>
                  <a:lnTo>
                    <a:pt x="262" y="2096"/>
                  </a:lnTo>
                  <a:lnTo>
                    <a:pt x="268" y="2088"/>
                  </a:lnTo>
                  <a:lnTo>
                    <a:pt x="276" y="2078"/>
                  </a:lnTo>
                  <a:lnTo>
                    <a:pt x="292" y="2060"/>
                  </a:lnTo>
                  <a:lnTo>
                    <a:pt x="306" y="2040"/>
                  </a:lnTo>
                  <a:lnTo>
                    <a:pt x="320" y="2016"/>
                  </a:lnTo>
                  <a:lnTo>
                    <a:pt x="316" y="2016"/>
                  </a:lnTo>
                  <a:lnTo>
                    <a:pt x="304" y="2010"/>
                  </a:lnTo>
                  <a:lnTo>
                    <a:pt x="298" y="2004"/>
                  </a:lnTo>
                  <a:lnTo>
                    <a:pt x="292" y="1998"/>
                  </a:lnTo>
                  <a:lnTo>
                    <a:pt x="288" y="1988"/>
                  </a:lnTo>
                  <a:lnTo>
                    <a:pt x="288" y="1976"/>
                  </a:lnTo>
                  <a:lnTo>
                    <a:pt x="290" y="1798"/>
                  </a:lnTo>
                  <a:lnTo>
                    <a:pt x="294" y="1646"/>
                  </a:lnTo>
                  <a:lnTo>
                    <a:pt x="292" y="1644"/>
                  </a:lnTo>
                  <a:lnTo>
                    <a:pt x="290" y="1638"/>
                  </a:lnTo>
                  <a:lnTo>
                    <a:pt x="292" y="1634"/>
                  </a:lnTo>
                  <a:lnTo>
                    <a:pt x="294" y="1632"/>
                  </a:lnTo>
                  <a:lnTo>
                    <a:pt x="300" y="1630"/>
                  </a:lnTo>
                  <a:lnTo>
                    <a:pt x="308" y="1628"/>
                  </a:lnTo>
                  <a:lnTo>
                    <a:pt x="334" y="1624"/>
                  </a:lnTo>
                  <a:lnTo>
                    <a:pt x="364" y="1618"/>
                  </a:lnTo>
                  <a:lnTo>
                    <a:pt x="398" y="1610"/>
                  </a:lnTo>
                  <a:lnTo>
                    <a:pt x="376" y="1504"/>
                  </a:lnTo>
                  <a:lnTo>
                    <a:pt x="362" y="1480"/>
                  </a:lnTo>
                  <a:lnTo>
                    <a:pt x="360" y="1478"/>
                  </a:lnTo>
                  <a:lnTo>
                    <a:pt x="354" y="1478"/>
                  </a:lnTo>
                  <a:lnTo>
                    <a:pt x="338" y="1482"/>
                  </a:lnTo>
                  <a:lnTo>
                    <a:pt x="324" y="1488"/>
                  </a:lnTo>
                  <a:lnTo>
                    <a:pt x="318" y="1492"/>
                  </a:lnTo>
                  <a:lnTo>
                    <a:pt x="316" y="1496"/>
                  </a:lnTo>
                  <a:lnTo>
                    <a:pt x="306" y="1492"/>
                  </a:lnTo>
                  <a:lnTo>
                    <a:pt x="314" y="1426"/>
                  </a:lnTo>
                  <a:lnTo>
                    <a:pt x="318" y="1378"/>
                  </a:lnTo>
                  <a:lnTo>
                    <a:pt x="320" y="1346"/>
                  </a:lnTo>
                  <a:lnTo>
                    <a:pt x="322" y="1300"/>
                  </a:lnTo>
                  <a:lnTo>
                    <a:pt x="326" y="1272"/>
                  </a:lnTo>
                  <a:lnTo>
                    <a:pt x="330" y="1242"/>
                  </a:lnTo>
                  <a:lnTo>
                    <a:pt x="334" y="1206"/>
                  </a:lnTo>
                  <a:lnTo>
                    <a:pt x="338" y="1166"/>
                  </a:lnTo>
                  <a:lnTo>
                    <a:pt x="340" y="1118"/>
                  </a:lnTo>
                  <a:lnTo>
                    <a:pt x="330" y="1092"/>
                  </a:lnTo>
                  <a:lnTo>
                    <a:pt x="322" y="1072"/>
                  </a:lnTo>
                  <a:lnTo>
                    <a:pt x="316" y="1066"/>
                  </a:lnTo>
                  <a:lnTo>
                    <a:pt x="314" y="1060"/>
                  </a:lnTo>
                  <a:lnTo>
                    <a:pt x="302" y="1048"/>
                  </a:lnTo>
                  <a:lnTo>
                    <a:pt x="296" y="1042"/>
                  </a:lnTo>
                  <a:lnTo>
                    <a:pt x="294" y="1034"/>
                  </a:lnTo>
                  <a:lnTo>
                    <a:pt x="294" y="986"/>
                  </a:lnTo>
                  <a:lnTo>
                    <a:pt x="294" y="930"/>
                  </a:lnTo>
                  <a:lnTo>
                    <a:pt x="298" y="898"/>
                  </a:lnTo>
                  <a:lnTo>
                    <a:pt x="308" y="848"/>
                  </a:lnTo>
                  <a:lnTo>
                    <a:pt x="320" y="784"/>
                  </a:lnTo>
                  <a:lnTo>
                    <a:pt x="318" y="736"/>
                  </a:lnTo>
                  <a:lnTo>
                    <a:pt x="314" y="696"/>
                  </a:lnTo>
                  <a:lnTo>
                    <a:pt x="314" y="660"/>
                  </a:lnTo>
                  <a:lnTo>
                    <a:pt x="316" y="626"/>
                  </a:lnTo>
                  <a:lnTo>
                    <a:pt x="318" y="584"/>
                  </a:lnTo>
                  <a:lnTo>
                    <a:pt x="322" y="564"/>
                  </a:lnTo>
                  <a:lnTo>
                    <a:pt x="326" y="544"/>
                  </a:lnTo>
                  <a:lnTo>
                    <a:pt x="332" y="524"/>
                  </a:lnTo>
                  <a:lnTo>
                    <a:pt x="340" y="508"/>
                  </a:lnTo>
                  <a:lnTo>
                    <a:pt x="352" y="492"/>
                  </a:lnTo>
                  <a:lnTo>
                    <a:pt x="366" y="474"/>
                  </a:lnTo>
                  <a:lnTo>
                    <a:pt x="400" y="438"/>
                  </a:lnTo>
                  <a:lnTo>
                    <a:pt x="428" y="410"/>
                  </a:lnTo>
                  <a:lnTo>
                    <a:pt x="440" y="400"/>
                  </a:lnTo>
                  <a:lnTo>
                    <a:pt x="446" y="380"/>
                  </a:lnTo>
                  <a:lnTo>
                    <a:pt x="450" y="366"/>
                  </a:lnTo>
                  <a:lnTo>
                    <a:pt x="452" y="360"/>
                  </a:lnTo>
                  <a:lnTo>
                    <a:pt x="454" y="358"/>
                  </a:lnTo>
                  <a:lnTo>
                    <a:pt x="460" y="350"/>
                  </a:lnTo>
                  <a:lnTo>
                    <a:pt x="468" y="336"/>
                  </a:lnTo>
                  <a:lnTo>
                    <a:pt x="476" y="320"/>
                  </a:lnTo>
                  <a:lnTo>
                    <a:pt x="492" y="312"/>
                  </a:lnTo>
                  <a:close/>
                </a:path>
              </a:pathLst>
            </a:custGeom>
            <a:grpFill/>
            <a:ln w="9525">
              <a:noFill/>
              <a:round/>
              <a:headEnd/>
              <a:tailEnd/>
            </a:ln>
            <a:effectLst>
              <a:reflection blurRad="6350" stA="52000" endA="300" endPos="35000" dir="5400000" sy="-100000" algn="bl" rotWithShape="0"/>
            </a:effectLst>
          </p:spPr>
          <p:txBody>
            <a:bodyPr/>
            <a:lstStyle/>
            <a:p>
              <a:pPr>
                <a:defRPr/>
              </a:pPr>
              <a:endParaRPr lang="da-DK" sz="11200" dirty="0">
                <a:latin typeface="Calibri"/>
              </a:endParaRPr>
            </a:p>
          </p:txBody>
        </p:sp>
        <p:sp>
          <p:nvSpPr>
            <p:cNvPr id="56" name="Freeform 51"/>
            <p:cNvSpPr>
              <a:spLocks/>
            </p:cNvSpPr>
            <p:nvPr/>
          </p:nvSpPr>
          <p:spPr bwMode="auto">
            <a:xfrm>
              <a:off x="6002337" y="1730370"/>
              <a:ext cx="336551" cy="428624"/>
            </a:xfrm>
            <a:custGeom>
              <a:avLst/>
              <a:gdLst>
                <a:gd name="T0" fmla="*/ 0 w 212"/>
                <a:gd name="T1" fmla="*/ 2147483647 h 270"/>
                <a:gd name="T2" fmla="*/ 2147483647 w 212"/>
                <a:gd name="T3" fmla="*/ 2147483647 h 270"/>
                <a:gd name="T4" fmla="*/ 2147483647 w 212"/>
                <a:gd name="T5" fmla="*/ 0 h 270"/>
                <a:gd name="T6" fmla="*/ 2147483647 w 212"/>
                <a:gd name="T7" fmla="*/ 0 h 270"/>
                <a:gd name="T8" fmla="*/ 2147483647 w 212"/>
                <a:gd name="T9" fmla="*/ 2147483647 h 270"/>
                <a:gd name="T10" fmla="*/ 2147483647 w 212"/>
                <a:gd name="T11" fmla="*/ 2147483647 h 270"/>
                <a:gd name="T12" fmla="*/ 2147483647 w 212"/>
                <a:gd name="T13" fmla="*/ 2147483647 h 270"/>
                <a:gd name="T14" fmla="*/ 2147483647 w 212"/>
                <a:gd name="T15" fmla="*/ 2147483647 h 270"/>
                <a:gd name="T16" fmla="*/ 2147483647 w 212"/>
                <a:gd name="T17" fmla="*/ 2147483647 h 270"/>
                <a:gd name="T18" fmla="*/ 2147483647 w 212"/>
                <a:gd name="T19" fmla="*/ 2147483647 h 270"/>
                <a:gd name="T20" fmla="*/ 2147483647 w 212"/>
                <a:gd name="T21" fmla="*/ 2147483647 h 270"/>
                <a:gd name="T22" fmla="*/ 2147483647 w 212"/>
                <a:gd name="T23" fmla="*/ 2147483647 h 270"/>
                <a:gd name="T24" fmla="*/ 2147483647 w 212"/>
                <a:gd name="T25" fmla="*/ 2147483647 h 270"/>
                <a:gd name="T26" fmla="*/ 2147483647 w 212"/>
                <a:gd name="T27" fmla="*/ 2147483647 h 270"/>
                <a:gd name="T28" fmla="*/ 2147483647 w 212"/>
                <a:gd name="T29" fmla="*/ 2147483647 h 270"/>
                <a:gd name="T30" fmla="*/ 2147483647 w 212"/>
                <a:gd name="T31" fmla="*/ 2147483647 h 270"/>
                <a:gd name="T32" fmla="*/ 2147483647 w 212"/>
                <a:gd name="T33" fmla="*/ 2147483647 h 270"/>
                <a:gd name="T34" fmla="*/ 2147483647 w 212"/>
                <a:gd name="T35" fmla="*/ 2147483647 h 270"/>
                <a:gd name="T36" fmla="*/ 2147483647 w 212"/>
                <a:gd name="T37" fmla="*/ 2147483647 h 270"/>
                <a:gd name="T38" fmla="*/ 2147483647 w 212"/>
                <a:gd name="T39" fmla="*/ 2147483647 h 270"/>
                <a:gd name="T40" fmla="*/ 2147483647 w 212"/>
                <a:gd name="T41" fmla="*/ 2147483647 h 270"/>
                <a:gd name="T42" fmla="*/ 2147483647 w 212"/>
                <a:gd name="T43" fmla="*/ 2147483647 h 270"/>
                <a:gd name="T44" fmla="*/ 2147483647 w 212"/>
                <a:gd name="T45" fmla="*/ 2147483647 h 270"/>
                <a:gd name="T46" fmla="*/ 2147483647 w 212"/>
                <a:gd name="T47" fmla="*/ 2147483647 h 270"/>
                <a:gd name="T48" fmla="*/ 2147483647 w 212"/>
                <a:gd name="T49" fmla="*/ 2147483647 h 270"/>
                <a:gd name="T50" fmla="*/ 2147483647 w 212"/>
                <a:gd name="T51" fmla="*/ 2147483647 h 270"/>
                <a:gd name="T52" fmla="*/ 2147483647 w 212"/>
                <a:gd name="T53" fmla="*/ 2147483647 h 270"/>
                <a:gd name="T54" fmla="*/ 2147483647 w 212"/>
                <a:gd name="T55" fmla="*/ 2147483647 h 270"/>
                <a:gd name="T56" fmla="*/ 2147483647 w 212"/>
                <a:gd name="T57" fmla="*/ 2147483647 h 270"/>
                <a:gd name="T58" fmla="*/ 2147483647 w 212"/>
                <a:gd name="T59" fmla="*/ 2147483647 h 270"/>
                <a:gd name="T60" fmla="*/ 2147483647 w 212"/>
                <a:gd name="T61" fmla="*/ 2147483647 h 270"/>
                <a:gd name="T62" fmla="*/ 2147483647 w 212"/>
                <a:gd name="T63" fmla="*/ 2147483647 h 270"/>
                <a:gd name="T64" fmla="*/ 2147483647 w 212"/>
                <a:gd name="T65" fmla="*/ 2147483647 h 270"/>
                <a:gd name="T66" fmla="*/ 2147483647 w 212"/>
                <a:gd name="T67" fmla="*/ 2147483647 h 270"/>
                <a:gd name="T68" fmla="*/ 2147483647 w 212"/>
                <a:gd name="T69" fmla="*/ 2147483647 h 270"/>
                <a:gd name="T70" fmla="*/ 2147483647 w 212"/>
                <a:gd name="T71" fmla="*/ 2147483647 h 270"/>
                <a:gd name="T72" fmla="*/ 0 w 212"/>
                <a:gd name="T73" fmla="*/ 2147483647 h 270"/>
                <a:gd name="T74" fmla="*/ 0 w 212"/>
                <a:gd name="T75" fmla="*/ 2147483647 h 2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2"/>
                <a:gd name="T115" fmla="*/ 0 h 270"/>
                <a:gd name="T116" fmla="*/ 212 w 212"/>
                <a:gd name="T117" fmla="*/ 270 h 27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2" h="270">
                  <a:moveTo>
                    <a:pt x="0" y="40"/>
                  </a:moveTo>
                  <a:lnTo>
                    <a:pt x="16" y="8"/>
                  </a:lnTo>
                  <a:lnTo>
                    <a:pt x="34" y="0"/>
                  </a:lnTo>
                  <a:lnTo>
                    <a:pt x="76" y="18"/>
                  </a:lnTo>
                  <a:lnTo>
                    <a:pt x="110" y="36"/>
                  </a:lnTo>
                  <a:lnTo>
                    <a:pt x="124" y="44"/>
                  </a:lnTo>
                  <a:lnTo>
                    <a:pt x="134" y="52"/>
                  </a:lnTo>
                  <a:lnTo>
                    <a:pt x="150" y="68"/>
                  </a:lnTo>
                  <a:lnTo>
                    <a:pt x="166" y="88"/>
                  </a:lnTo>
                  <a:lnTo>
                    <a:pt x="182" y="112"/>
                  </a:lnTo>
                  <a:lnTo>
                    <a:pt x="192" y="138"/>
                  </a:lnTo>
                  <a:lnTo>
                    <a:pt x="170" y="158"/>
                  </a:lnTo>
                  <a:lnTo>
                    <a:pt x="188" y="190"/>
                  </a:lnTo>
                  <a:lnTo>
                    <a:pt x="190" y="192"/>
                  </a:lnTo>
                  <a:lnTo>
                    <a:pt x="194" y="200"/>
                  </a:lnTo>
                  <a:lnTo>
                    <a:pt x="200" y="216"/>
                  </a:lnTo>
                  <a:lnTo>
                    <a:pt x="210" y="254"/>
                  </a:lnTo>
                  <a:lnTo>
                    <a:pt x="212" y="266"/>
                  </a:lnTo>
                  <a:lnTo>
                    <a:pt x="212" y="270"/>
                  </a:lnTo>
                  <a:lnTo>
                    <a:pt x="184" y="218"/>
                  </a:lnTo>
                  <a:lnTo>
                    <a:pt x="160" y="166"/>
                  </a:lnTo>
                  <a:lnTo>
                    <a:pt x="124" y="122"/>
                  </a:lnTo>
                  <a:lnTo>
                    <a:pt x="96" y="88"/>
                  </a:lnTo>
                  <a:lnTo>
                    <a:pt x="86" y="76"/>
                  </a:lnTo>
                  <a:lnTo>
                    <a:pt x="78" y="70"/>
                  </a:lnTo>
                  <a:lnTo>
                    <a:pt x="64" y="62"/>
                  </a:lnTo>
                  <a:lnTo>
                    <a:pt x="48" y="54"/>
                  </a:lnTo>
                  <a:lnTo>
                    <a:pt x="20" y="44"/>
                  </a:lnTo>
                  <a:lnTo>
                    <a:pt x="0" y="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sp>
          <p:nvSpPr>
            <p:cNvPr id="57" name="Freeform 52"/>
            <p:cNvSpPr>
              <a:spLocks/>
            </p:cNvSpPr>
            <p:nvPr/>
          </p:nvSpPr>
          <p:spPr bwMode="auto">
            <a:xfrm>
              <a:off x="6145221" y="3257544"/>
              <a:ext cx="155574" cy="193674"/>
            </a:xfrm>
            <a:custGeom>
              <a:avLst/>
              <a:gdLst>
                <a:gd name="T0" fmla="*/ 2147483647 w 98"/>
                <a:gd name="T1" fmla="*/ 0 h 122"/>
                <a:gd name="T2" fmla="*/ 2147483647 w 98"/>
                <a:gd name="T3" fmla="*/ 2147483647 h 122"/>
                <a:gd name="T4" fmla="*/ 2147483647 w 98"/>
                <a:gd name="T5" fmla="*/ 2147483647 h 122"/>
                <a:gd name="T6" fmla="*/ 2147483647 w 98"/>
                <a:gd name="T7" fmla="*/ 2147483647 h 122"/>
                <a:gd name="T8" fmla="*/ 2147483647 w 98"/>
                <a:gd name="T9" fmla="*/ 2147483647 h 122"/>
                <a:gd name="T10" fmla="*/ 2147483647 w 98"/>
                <a:gd name="T11" fmla="*/ 2147483647 h 122"/>
                <a:gd name="T12" fmla="*/ 2147483647 w 98"/>
                <a:gd name="T13" fmla="*/ 2147483647 h 122"/>
                <a:gd name="T14" fmla="*/ 2147483647 w 98"/>
                <a:gd name="T15" fmla="*/ 2147483647 h 122"/>
                <a:gd name="T16" fmla="*/ 2147483647 w 98"/>
                <a:gd name="T17" fmla="*/ 2147483647 h 122"/>
                <a:gd name="T18" fmla="*/ 2147483647 w 98"/>
                <a:gd name="T19" fmla="*/ 2147483647 h 122"/>
                <a:gd name="T20" fmla="*/ 2147483647 w 98"/>
                <a:gd name="T21" fmla="*/ 2147483647 h 122"/>
                <a:gd name="T22" fmla="*/ 2147483647 w 98"/>
                <a:gd name="T23" fmla="*/ 2147483647 h 122"/>
                <a:gd name="T24" fmla="*/ 2147483647 w 98"/>
                <a:gd name="T25" fmla="*/ 2147483647 h 122"/>
                <a:gd name="T26" fmla="*/ 2147483647 w 98"/>
                <a:gd name="T27" fmla="*/ 2147483647 h 122"/>
                <a:gd name="T28" fmla="*/ 2147483647 w 98"/>
                <a:gd name="T29" fmla="*/ 2147483647 h 122"/>
                <a:gd name="T30" fmla="*/ 2147483647 w 98"/>
                <a:gd name="T31" fmla="*/ 2147483647 h 122"/>
                <a:gd name="T32" fmla="*/ 2147483647 w 98"/>
                <a:gd name="T33" fmla="*/ 2147483647 h 122"/>
                <a:gd name="T34" fmla="*/ 2147483647 w 98"/>
                <a:gd name="T35" fmla="*/ 2147483647 h 122"/>
                <a:gd name="T36" fmla="*/ 2147483647 w 98"/>
                <a:gd name="T37" fmla="*/ 2147483647 h 122"/>
                <a:gd name="T38" fmla="*/ 0 w 98"/>
                <a:gd name="T39" fmla="*/ 2147483647 h 122"/>
                <a:gd name="T40" fmla="*/ 0 w 98"/>
                <a:gd name="T41" fmla="*/ 2147483647 h 122"/>
                <a:gd name="T42" fmla="*/ 2147483647 w 98"/>
                <a:gd name="T43" fmla="*/ 2147483647 h 122"/>
                <a:gd name="T44" fmla="*/ 2147483647 w 98"/>
                <a:gd name="T45" fmla="*/ 2147483647 h 122"/>
                <a:gd name="T46" fmla="*/ 2147483647 w 98"/>
                <a:gd name="T47" fmla="*/ 2147483647 h 122"/>
                <a:gd name="T48" fmla="*/ 2147483647 w 98"/>
                <a:gd name="T49" fmla="*/ 2147483647 h 122"/>
                <a:gd name="T50" fmla="*/ 2147483647 w 98"/>
                <a:gd name="T51" fmla="*/ 2147483647 h 122"/>
                <a:gd name="T52" fmla="*/ 2147483647 w 98"/>
                <a:gd name="T53" fmla="*/ 0 h 122"/>
                <a:gd name="T54" fmla="*/ 2147483647 w 98"/>
                <a:gd name="T55" fmla="*/ 0 h 12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8"/>
                <a:gd name="T85" fmla="*/ 0 h 122"/>
                <a:gd name="T86" fmla="*/ 98 w 98"/>
                <a:gd name="T87" fmla="*/ 122 h 12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8" h="122">
                  <a:moveTo>
                    <a:pt x="92" y="0"/>
                  </a:moveTo>
                  <a:lnTo>
                    <a:pt x="94" y="12"/>
                  </a:lnTo>
                  <a:lnTo>
                    <a:pt x="90" y="18"/>
                  </a:lnTo>
                  <a:lnTo>
                    <a:pt x="98" y="44"/>
                  </a:lnTo>
                  <a:lnTo>
                    <a:pt x="82" y="62"/>
                  </a:lnTo>
                  <a:lnTo>
                    <a:pt x="68" y="80"/>
                  </a:lnTo>
                  <a:lnTo>
                    <a:pt x="56" y="100"/>
                  </a:lnTo>
                  <a:lnTo>
                    <a:pt x="42" y="120"/>
                  </a:lnTo>
                  <a:lnTo>
                    <a:pt x="38" y="122"/>
                  </a:lnTo>
                  <a:lnTo>
                    <a:pt x="38" y="106"/>
                  </a:lnTo>
                  <a:lnTo>
                    <a:pt x="38" y="92"/>
                  </a:lnTo>
                  <a:lnTo>
                    <a:pt x="36" y="78"/>
                  </a:lnTo>
                  <a:lnTo>
                    <a:pt x="32" y="60"/>
                  </a:lnTo>
                  <a:lnTo>
                    <a:pt x="30" y="54"/>
                  </a:lnTo>
                  <a:lnTo>
                    <a:pt x="0" y="64"/>
                  </a:lnTo>
                  <a:lnTo>
                    <a:pt x="12" y="52"/>
                  </a:lnTo>
                  <a:lnTo>
                    <a:pt x="26" y="42"/>
                  </a:lnTo>
                  <a:lnTo>
                    <a:pt x="46" y="28"/>
                  </a:lnTo>
                  <a:lnTo>
                    <a:pt x="80" y="8"/>
                  </a:lnTo>
                  <a:lnTo>
                    <a:pt x="9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sp>
          <p:nvSpPr>
            <p:cNvPr id="58" name="Freeform 53"/>
            <p:cNvSpPr>
              <a:spLocks/>
            </p:cNvSpPr>
            <p:nvPr/>
          </p:nvSpPr>
          <p:spPr bwMode="auto">
            <a:xfrm>
              <a:off x="6272207" y="1949448"/>
              <a:ext cx="114301" cy="317499"/>
            </a:xfrm>
            <a:custGeom>
              <a:avLst/>
              <a:gdLst>
                <a:gd name="T0" fmla="*/ 2147483647 w 72"/>
                <a:gd name="T1" fmla="*/ 0 h 200"/>
                <a:gd name="T2" fmla="*/ 2147483647 w 72"/>
                <a:gd name="T3" fmla="*/ 2147483647 h 200"/>
                <a:gd name="T4" fmla="*/ 2147483647 w 72"/>
                <a:gd name="T5" fmla="*/ 2147483647 h 200"/>
                <a:gd name="T6" fmla="*/ 2147483647 w 72"/>
                <a:gd name="T7" fmla="*/ 2147483647 h 200"/>
                <a:gd name="T8" fmla="*/ 2147483647 w 72"/>
                <a:gd name="T9" fmla="*/ 2147483647 h 200"/>
                <a:gd name="T10" fmla="*/ 2147483647 w 72"/>
                <a:gd name="T11" fmla="*/ 2147483647 h 200"/>
                <a:gd name="T12" fmla="*/ 2147483647 w 72"/>
                <a:gd name="T13" fmla="*/ 2147483647 h 200"/>
                <a:gd name="T14" fmla="*/ 2147483647 w 72"/>
                <a:gd name="T15" fmla="*/ 2147483647 h 200"/>
                <a:gd name="T16" fmla="*/ 2147483647 w 72"/>
                <a:gd name="T17" fmla="*/ 2147483647 h 200"/>
                <a:gd name="T18" fmla="*/ 2147483647 w 72"/>
                <a:gd name="T19" fmla="*/ 2147483647 h 200"/>
                <a:gd name="T20" fmla="*/ 2147483647 w 72"/>
                <a:gd name="T21" fmla="*/ 2147483647 h 200"/>
                <a:gd name="T22" fmla="*/ 2147483647 w 72"/>
                <a:gd name="T23" fmla="*/ 2147483647 h 200"/>
                <a:gd name="T24" fmla="*/ 2147483647 w 72"/>
                <a:gd name="T25" fmla="*/ 2147483647 h 200"/>
                <a:gd name="T26" fmla="*/ 2147483647 w 72"/>
                <a:gd name="T27" fmla="*/ 2147483647 h 200"/>
                <a:gd name="T28" fmla="*/ 2147483647 w 72"/>
                <a:gd name="T29" fmla="*/ 2147483647 h 200"/>
                <a:gd name="T30" fmla="*/ 2147483647 w 72"/>
                <a:gd name="T31" fmla="*/ 2147483647 h 200"/>
                <a:gd name="T32" fmla="*/ 2147483647 w 72"/>
                <a:gd name="T33" fmla="*/ 2147483647 h 200"/>
                <a:gd name="T34" fmla="*/ 2147483647 w 72"/>
                <a:gd name="T35" fmla="*/ 2147483647 h 200"/>
                <a:gd name="T36" fmla="*/ 2147483647 w 72"/>
                <a:gd name="T37" fmla="*/ 2147483647 h 200"/>
                <a:gd name="T38" fmla="*/ 0 w 72"/>
                <a:gd name="T39" fmla="*/ 2147483647 h 200"/>
                <a:gd name="T40" fmla="*/ 2147483647 w 72"/>
                <a:gd name="T41" fmla="*/ 0 h 2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2"/>
                <a:gd name="T64" fmla="*/ 0 h 200"/>
                <a:gd name="T65" fmla="*/ 72 w 72"/>
                <a:gd name="T66" fmla="*/ 200 h 2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2" h="200">
                  <a:moveTo>
                    <a:pt x="20" y="0"/>
                  </a:moveTo>
                  <a:lnTo>
                    <a:pt x="40" y="28"/>
                  </a:lnTo>
                  <a:lnTo>
                    <a:pt x="38" y="34"/>
                  </a:lnTo>
                  <a:lnTo>
                    <a:pt x="44" y="44"/>
                  </a:lnTo>
                  <a:lnTo>
                    <a:pt x="50" y="58"/>
                  </a:lnTo>
                  <a:lnTo>
                    <a:pt x="58" y="74"/>
                  </a:lnTo>
                  <a:lnTo>
                    <a:pt x="64" y="98"/>
                  </a:lnTo>
                  <a:lnTo>
                    <a:pt x="70" y="126"/>
                  </a:lnTo>
                  <a:lnTo>
                    <a:pt x="72" y="158"/>
                  </a:lnTo>
                  <a:lnTo>
                    <a:pt x="72" y="198"/>
                  </a:lnTo>
                  <a:lnTo>
                    <a:pt x="72" y="200"/>
                  </a:lnTo>
                  <a:lnTo>
                    <a:pt x="42" y="132"/>
                  </a:lnTo>
                  <a:lnTo>
                    <a:pt x="32" y="94"/>
                  </a:lnTo>
                  <a:lnTo>
                    <a:pt x="24" y="66"/>
                  </a:lnTo>
                  <a:lnTo>
                    <a:pt x="20" y="56"/>
                  </a:lnTo>
                  <a:lnTo>
                    <a:pt x="18" y="52"/>
                  </a:lnTo>
                  <a:lnTo>
                    <a:pt x="0" y="20"/>
                  </a:lnTo>
                  <a:lnTo>
                    <a:pt x="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grpSp>
      <p:sp>
        <p:nvSpPr>
          <p:cNvPr id="59" name="Rektangel 25"/>
          <p:cNvSpPr/>
          <p:nvPr/>
        </p:nvSpPr>
        <p:spPr bwMode="auto">
          <a:xfrm>
            <a:off x="6953434" y="8705508"/>
            <a:ext cx="3119832" cy="1524657"/>
          </a:xfrm>
          <a:prstGeom prst="rect">
            <a:avLst/>
          </a:prstGeom>
          <a:solidFill>
            <a:schemeClr val="accent2"/>
          </a:solidFill>
          <a:ln w="3175" cap="flat" cmpd="sng" algn="ctr">
            <a:noFill/>
            <a:prstDash val="solid"/>
          </a:ln>
          <a:effectLst/>
        </p:spPr>
        <p:txBody>
          <a:bodyPr anchor="ctr"/>
          <a:lstStyle>
            <a:lvl1pPr indent="-342900"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buFont typeface="Calibri" charset="0"/>
              <a:buAutoNum type="arabicPeriod"/>
            </a:pPr>
            <a:endParaRPr altLang="en-US" sz="3600" noProof="1">
              <a:solidFill>
                <a:srgbClr val="FFFFFF"/>
              </a:solidFill>
              <a:latin typeface="Calibri" charset="0"/>
            </a:endParaRPr>
          </a:p>
        </p:txBody>
      </p:sp>
      <p:sp>
        <p:nvSpPr>
          <p:cNvPr id="60" name="Rektangel 44"/>
          <p:cNvSpPr>
            <a:spLocks noChangeArrowheads="1"/>
          </p:cNvSpPr>
          <p:nvPr/>
        </p:nvSpPr>
        <p:spPr bwMode="auto">
          <a:xfrm>
            <a:off x="6938415" y="8652799"/>
            <a:ext cx="2854324" cy="15696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r>
              <a:rPr lang="fr-FR" altLang="en-US" sz="3200" noProof="1" smtClean="0">
                <a:solidFill>
                  <a:schemeClr val="bg1"/>
                </a:solidFill>
                <a:latin typeface="Calibri" charset="0"/>
              </a:rPr>
              <a:t>80 </a:t>
            </a:r>
            <a:r>
              <a:rPr lang="fr-FR" altLang="en-US" sz="3200" noProof="1">
                <a:solidFill>
                  <a:schemeClr val="bg1"/>
                </a:solidFill>
                <a:latin typeface="Calibri" charset="0"/>
              </a:rPr>
              <a:t>tests</a:t>
            </a:r>
          </a:p>
          <a:p>
            <a:pPr algn="ctr" eaLnBrk="1" hangingPunct="1"/>
            <a:r>
              <a:rPr lang="fr-FR" altLang="en-US" sz="3200" noProof="1" smtClean="0">
                <a:solidFill>
                  <a:schemeClr val="bg1"/>
                </a:solidFill>
                <a:latin typeface="Calibri" charset="0"/>
              </a:rPr>
              <a:t>Big Data</a:t>
            </a:r>
          </a:p>
          <a:p>
            <a:pPr algn="ctr" eaLnBrk="1" hangingPunct="1"/>
            <a:r>
              <a:rPr lang="fr-FR" altLang="en-US" sz="3200" noProof="1" smtClean="0">
                <a:solidFill>
                  <a:schemeClr val="bg1"/>
                </a:solidFill>
                <a:latin typeface="Calibri" charset="0"/>
              </a:rPr>
              <a:t>Workflow</a:t>
            </a:r>
            <a:endParaRPr lang="da-DK" altLang="en-US" sz="3200" dirty="0">
              <a:solidFill>
                <a:schemeClr val="bg1"/>
              </a:solidFill>
              <a:latin typeface="Calibri" charset="0"/>
            </a:endParaRPr>
          </a:p>
        </p:txBody>
      </p:sp>
      <p:grpSp>
        <p:nvGrpSpPr>
          <p:cNvPr id="65" name="Group 58"/>
          <p:cNvGrpSpPr>
            <a:grpSpLocks/>
          </p:cNvGrpSpPr>
          <p:nvPr/>
        </p:nvGrpSpPr>
        <p:grpSpPr bwMode="auto">
          <a:xfrm>
            <a:off x="17734944" y="11518927"/>
            <a:ext cx="3601056" cy="765172"/>
            <a:chOff x="6502400" y="5729288"/>
            <a:chExt cx="1882775" cy="382586"/>
          </a:xfrm>
          <a:effectLst/>
        </p:grpSpPr>
        <p:sp>
          <p:nvSpPr>
            <p:cNvPr id="67" name="AutoShape 252"/>
            <p:cNvSpPr>
              <a:spLocks noChangeArrowheads="1"/>
            </p:cNvSpPr>
            <p:nvPr/>
          </p:nvSpPr>
          <p:spPr bwMode="auto">
            <a:xfrm>
              <a:off x="6502400" y="5729288"/>
              <a:ext cx="1882775" cy="382586"/>
            </a:xfrm>
            <a:prstGeom prst="chevron">
              <a:avLst>
                <a:gd name="adj" fmla="val 25745"/>
              </a:avLst>
            </a:prstGeom>
            <a:solidFill>
              <a:srgbClr val="E69427"/>
            </a:solidFill>
            <a:ln>
              <a:noFill/>
            </a:ln>
            <a:extLst>
              <a:ext uri="{91240B29-F687-4f45-9708-019B960494DF}">
                <a14:hiddenLine xmlns:a14="http://schemas.microsoft.com/office/drawing/2010/main" xmlns="" w="9">
                  <a:solidFill>
                    <a:srgbClr val="000000"/>
                  </a:solidFill>
                  <a:miter lim="800000"/>
                  <a:headEnd/>
                  <a:tailEnd/>
                </a14:hiddenLine>
              </a:ext>
            </a:extLst>
          </p:spPr>
          <p:txBody>
            <a:bodyPr/>
            <a:lstStyle>
              <a:lvl1pPr indent="-342900"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buFont typeface="Calibri" charset="0"/>
                <a:buAutoNum type="arabicPeriod"/>
              </a:pPr>
              <a:endParaRPr altLang="en-US" sz="3600" noProof="1">
                <a:latin typeface="Calibri" charset="0"/>
              </a:endParaRPr>
            </a:p>
          </p:txBody>
        </p:sp>
        <p:sp>
          <p:nvSpPr>
            <p:cNvPr id="68" name="Rektangel 72"/>
            <p:cNvSpPr>
              <a:spLocks noChangeArrowheads="1"/>
            </p:cNvSpPr>
            <p:nvPr/>
          </p:nvSpPr>
          <p:spPr bwMode="auto">
            <a:xfrm>
              <a:off x="6786563" y="5759450"/>
              <a:ext cx="1468437"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r>
                <a:rPr lang="fr-FR" altLang="en-US" sz="2800" b="1" noProof="1">
                  <a:solidFill>
                    <a:srgbClr val="FFFFFF"/>
                  </a:solidFill>
                  <a:latin typeface="Calibri" charset="0"/>
                </a:rPr>
                <a:t>2020</a:t>
              </a:r>
              <a:endParaRPr lang="da-DK" altLang="en-US" sz="2800" b="1" dirty="0">
                <a:solidFill>
                  <a:srgbClr val="FFFFFF"/>
                </a:solidFill>
                <a:latin typeface="Calibri" charset="0"/>
              </a:endParaRPr>
            </a:p>
          </p:txBody>
        </p:sp>
      </p:grpSp>
      <p:grpSp>
        <p:nvGrpSpPr>
          <p:cNvPr id="71" name="Groupe 70"/>
          <p:cNvGrpSpPr/>
          <p:nvPr/>
        </p:nvGrpSpPr>
        <p:grpSpPr>
          <a:xfrm>
            <a:off x="10474160" y="7173452"/>
            <a:ext cx="3321584" cy="1569660"/>
            <a:chOff x="3819410" y="3586726"/>
            <a:chExt cx="1559916" cy="784830"/>
          </a:xfrm>
        </p:grpSpPr>
        <p:sp>
          <p:nvSpPr>
            <p:cNvPr id="69" name="Rektangel 25"/>
            <p:cNvSpPr/>
            <p:nvPr/>
          </p:nvSpPr>
          <p:spPr bwMode="auto">
            <a:xfrm>
              <a:off x="3819410" y="3665257"/>
              <a:ext cx="1559916" cy="649029"/>
            </a:xfrm>
            <a:prstGeom prst="rect">
              <a:avLst/>
            </a:prstGeom>
            <a:solidFill>
              <a:schemeClr val="tx2"/>
            </a:solidFill>
            <a:ln w="3175" cap="flat" cmpd="sng" algn="ctr">
              <a:noFill/>
              <a:prstDash val="solid"/>
            </a:ln>
            <a:effectLst/>
          </p:spPr>
          <p:txBody>
            <a:bodyPr anchor="ctr"/>
            <a:lstStyle>
              <a:lvl1pPr indent="-342900"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buFont typeface="Calibri" charset="0"/>
                <a:buAutoNum type="arabicPeriod"/>
              </a:pPr>
              <a:endParaRPr altLang="en-US" sz="3600" noProof="1">
                <a:solidFill>
                  <a:srgbClr val="FFFFFF"/>
                </a:solidFill>
                <a:latin typeface="Calibri" charset="0"/>
              </a:endParaRPr>
            </a:p>
          </p:txBody>
        </p:sp>
        <p:sp>
          <p:nvSpPr>
            <p:cNvPr id="70" name="Rektangel 44"/>
            <p:cNvSpPr>
              <a:spLocks noChangeArrowheads="1"/>
            </p:cNvSpPr>
            <p:nvPr/>
          </p:nvSpPr>
          <p:spPr bwMode="auto">
            <a:xfrm>
              <a:off x="3888199" y="3586726"/>
              <a:ext cx="1427162" cy="7848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r>
                <a:rPr lang="fr-FR" altLang="en-US" sz="3200" noProof="1" smtClean="0">
                  <a:solidFill>
                    <a:schemeClr val="bg1"/>
                  </a:solidFill>
                  <a:latin typeface="Calibri" charset="0"/>
                </a:rPr>
                <a:t>120 tests</a:t>
              </a:r>
            </a:p>
            <a:p>
              <a:pPr algn="ctr" eaLnBrk="1" hangingPunct="1"/>
              <a:r>
                <a:rPr lang="fr-FR" altLang="en-US" sz="3200" noProof="1" smtClean="0">
                  <a:solidFill>
                    <a:schemeClr val="bg1"/>
                  </a:solidFill>
                  <a:latin typeface="Calibri" charset="0"/>
                </a:rPr>
                <a:t>Dashboard designer</a:t>
              </a:r>
              <a:endParaRPr lang="da-DK" altLang="en-US" sz="3200" dirty="0">
                <a:solidFill>
                  <a:schemeClr val="bg1"/>
                </a:solidFill>
                <a:latin typeface="Calibri" charset="0"/>
              </a:endParaRPr>
            </a:p>
          </p:txBody>
        </p:sp>
      </p:grpSp>
      <p:grpSp>
        <p:nvGrpSpPr>
          <p:cNvPr id="72" name="Groupe 71"/>
          <p:cNvGrpSpPr/>
          <p:nvPr/>
        </p:nvGrpSpPr>
        <p:grpSpPr>
          <a:xfrm>
            <a:off x="14202012" y="6207202"/>
            <a:ext cx="3119832" cy="1298058"/>
            <a:chOff x="3819410" y="3665257"/>
            <a:chExt cx="1559916" cy="649029"/>
          </a:xfrm>
        </p:grpSpPr>
        <p:sp>
          <p:nvSpPr>
            <p:cNvPr id="73" name="Rektangel 25"/>
            <p:cNvSpPr/>
            <p:nvPr/>
          </p:nvSpPr>
          <p:spPr bwMode="auto">
            <a:xfrm>
              <a:off x="3819410" y="3665257"/>
              <a:ext cx="1559916" cy="649029"/>
            </a:xfrm>
            <a:prstGeom prst="rect">
              <a:avLst/>
            </a:prstGeom>
            <a:solidFill>
              <a:schemeClr val="bg1">
                <a:lumMod val="50000"/>
              </a:schemeClr>
            </a:solidFill>
            <a:ln w="3175" cap="flat" cmpd="sng" algn="ctr">
              <a:noFill/>
              <a:prstDash val="solid"/>
            </a:ln>
            <a:effectLst/>
          </p:spPr>
          <p:txBody>
            <a:bodyPr anchor="ctr"/>
            <a:lstStyle>
              <a:lvl1pPr indent="-342900"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buFont typeface="Calibri" charset="0"/>
                <a:buAutoNum type="arabicPeriod"/>
              </a:pPr>
              <a:endParaRPr altLang="en-US" sz="3600" noProof="1">
                <a:solidFill>
                  <a:srgbClr val="FFFFFF"/>
                </a:solidFill>
                <a:latin typeface="Calibri" charset="0"/>
              </a:endParaRPr>
            </a:p>
          </p:txBody>
        </p:sp>
        <p:sp>
          <p:nvSpPr>
            <p:cNvPr id="74" name="Rektangel 44"/>
            <p:cNvSpPr>
              <a:spLocks noChangeArrowheads="1"/>
            </p:cNvSpPr>
            <p:nvPr/>
          </p:nvSpPr>
          <p:spPr bwMode="auto">
            <a:xfrm>
              <a:off x="3884243" y="3816308"/>
              <a:ext cx="1427162" cy="292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r>
                <a:rPr lang="fr-FR" altLang="en-US" sz="3200" noProof="1" smtClean="0">
                  <a:solidFill>
                    <a:schemeClr val="bg1"/>
                  </a:solidFill>
                  <a:latin typeface="Calibri" charset="0"/>
                </a:rPr>
                <a:t>160 </a:t>
              </a:r>
              <a:r>
                <a:rPr lang="fr-FR" altLang="en-US" sz="3200" noProof="1">
                  <a:solidFill>
                    <a:schemeClr val="bg1"/>
                  </a:solidFill>
                  <a:latin typeface="Calibri" charset="0"/>
                </a:rPr>
                <a:t>tests</a:t>
              </a:r>
              <a:endParaRPr lang="da-DK" altLang="en-US" sz="3200" dirty="0">
                <a:solidFill>
                  <a:schemeClr val="bg1"/>
                </a:solidFill>
                <a:latin typeface="Calibri" charset="0"/>
              </a:endParaRPr>
            </a:p>
          </p:txBody>
        </p:sp>
      </p:grpSp>
      <p:cxnSp>
        <p:nvCxnSpPr>
          <p:cNvPr id="75" name="Lige forbindelse 29"/>
          <p:cNvCxnSpPr/>
          <p:nvPr/>
        </p:nvCxnSpPr>
        <p:spPr bwMode="auto">
          <a:xfrm rot="5400000" flipH="1" flipV="1">
            <a:off x="13422684" y="7074528"/>
            <a:ext cx="8521700" cy="3176"/>
          </a:xfrm>
          <a:prstGeom prst="line">
            <a:avLst/>
          </a:prstGeom>
          <a:ln w="635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76" name="Groupe 75"/>
          <p:cNvGrpSpPr/>
          <p:nvPr/>
        </p:nvGrpSpPr>
        <p:grpSpPr>
          <a:xfrm>
            <a:off x="17810944" y="4890301"/>
            <a:ext cx="3119832" cy="1298058"/>
            <a:chOff x="3819410" y="3665257"/>
            <a:chExt cx="1559916" cy="649029"/>
          </a:xfrm>
        </p:grpSpPr>
        <p:sp>
          <p:nvSpPr>
            <p:cNvPr id="77" name="Rektangel 25"/>
            <p:cNvSpPr/>
            <p:nvPr/>
          </p:nvSpPr>
          <p:spPr bwMode="auto">
            <a:xfrm>
              <a:off x="3819410" y="3665257"/>
              <a:ext cx="1559916" cy="649029"/>
            </a:xfrm>
            <a:prstGeom prst="rect">
              <a:avLst/>
            </a:prstGeom>
            <a:solidFill>
              <a:schemeClr val="accent3"/>
            </a:solidFill>
            <a:ln w="3175" cap="flat" cmpd="sng" algn="ctr">
              <a:noFill/>
              <a:prstDash val="solid"/>
            </a:ln>
            <a:effectLst/>
          </p:spPr>
          <p:txBody>
            <a:bodyPr anchor="ctr"/>
            <a:lstStyle>
              <a:lvl1pPr indent="-342900"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buFont typeface="Calibri" charset="0"/>
                <a:buAutoNum type="arabicPeriod"/>
              </a:pPr>
              <a:endParaRPr altLang="en-US" sz="3600" noProof="1">
                <a:solidFill>
                  <a:srgbClr val="FFFFFF"/>
                </a:solidFill>
                <a:latin typeface="Calibri" charset="0"/>
              </a:endParaRPr>
            </a:p>
          </p:txBody>
        </p:sp>
        <p:sp>
          <p:nvSpPr>
            <p:cNvPr id="78" name="Rektangel 44"/>
            <p:cNvSpPr>
              <a:spLocks noChangeArrowheads="1"/>
            </p:cNvSpPr>
            <p:nvPr/>
          </p:nvSpPr>
          <p:spPr bwMode="auto">
            <a:xfrm>
              <a:off x="3885787" y="3719538"/>
              <a:ext cx="1427162" cy="5386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ctr" eaLnBrk="1" hangingPunct="1"/>
              <a:r>
                <a:rPr lang="fr-FR" altLang="en-US" sz="3200" noProof="1">
                  <a:solidFill>
                    <a:schemeClr val="bg1"/>
                  </a:solidFill>
                  <a:latin typeface="Calibri" charset="0"/>
                </a:rPr>
                <a:t>200 tests</a:t>
              </a:r>
            </a:p>
            <a:p>
              <a:pPr algn="ctr" eaLnBrk="1" hangingPunct="1"/>
              <a:r>
                <a:rPr lang="fr-FR" altLang="en-US" sz="3200" noProof="1">
                  <a:solidFill>
                    <a:schemeClr val="bg1"/>
                  </a:solidFill>
                  <a:latin typeface="Calibri" charset="0"/>
                </a:rPr>
                <a:t>Other ERPs</a:t>
              </a:r>
              <a:endParaRPr lang="da-DK" altLang="en-US" sz="3200" dirty="0">
                <a:solidFill>
                  <a:schemeClr val="bg1"/>
                </a:solidFill>
                <a:latin typeface="Calibri" charset="0"/>
              </a:endParaRPr>
            </a:p>
          </p:txBody>
        </p:sp>
      </p:grpSp>
      <p:grpSp>
        <p:nvGrpSpPr>
          <p:cNvPr id="79" name="Gruppe 62"/>
          <p:cNvGrpSpPr>
            <a:grpSpLocks/>
          </p:cNvGrpSpPr>
          <p:nvPr/>
        </p:nvGrpSpPr>
        <p:grpSpPr bwMode="auto">
          <a:xfrm>
            <a:off x="19071473" y="2136386"/>
            <a:ext cx="717550" cy="2400300"/>
            <a:chOff x="1624012" y="-2755900"/>
            <a:chExt cx="1397000" cy="4673600"/>
          </a:xfrm>
          <a:solidFill>
            <a:schemeClr val="accent3"/>
          </a:solidFill>
        </p:grpSpPr>
        <p:sp>
          <p:nvSpPr>
            <p:cNvPr id="80" name="Freeform 34"/>
            <p:cNvSpPr>
              <a:spLocks noEditPoints="1"/>
            </p:cNvSpPr>
            <p:nvPr/>
          </p:nvSpPr>
          <p:spPr bwMode="auto">
            <a:xfrm>
              <a:off x="1624012" y="-2755900"/>
              <a:ext cx="1397000" cy="4673600"/>
            </a:xfrm>
            <a:custGeom>
              <a:avLst/>
              <a:gdLst>
                <a:gd name="T0" fmla="*/ 756 w 880"/>
                <a:gd name="T1" fmla="*/ 1092 h 2944"/>
                <a:gd name="T2" fmla="*/ 626 w 880"/>
                <a:gd name="T3" fmla="*/ 900 h 2944"/>
                <a:gd name="T4" fmla="*/ 664 w 880"/>
                <a:gd name="T5" fmla="*/ 700 h 2944"/>
                <a:gd name="T6" fmla="*/ 738 w 880"/>
                <a:gd name="T7" fmla="*/ 400 h 2944"/>
                <a:gd name="T8" fmla="*/ 742 w 880"/>
                <a:gd name="T9" fmla="*/ 294 h 2944"/>
                <a:gd name="T10" fmla="*/ 786 w 880"/>
                <a:gd name="T11" fmla="*/ 154 h 2944"/>
                <a:gd name="T12" fmla="*/ 830 w 880"/>
                <a:gd name="T13" fmla="*/ 80 h 2944"/>
                <a:gd name="T14" fmla="*/ 800 w 880"/>
                <a:gd name="T15" fmla="*/ 82 h 2944"/>
                <a:gd name="T16" fmla="*/ 806 w 880"/>
                <a:gd name="T17" fmla="*/ 50 h 2944"/>
                <a:gd name="T18" fmla="*/ 780 w 880"/>
                <a:gd name="T19" fmla="*/ 50 h 2944"/>
                <a:gd name="T20" fmla="*/ 786 w 880"/>
                <a:gd name="T21" fmla="*/ 24 h 2944"/>
                <a:gd name="T22" fmla="*/ 760 w 880"/>
                <a:gd name="T23" fmla="*/ 8 h 2944"/>
                <a:gd name="T24" fmla="*/ 710 w 880"/>
                <a:gd name="T25" fmla="*/ 54 h 2944"/>
                <a:gd name="T26" fmla="*/ 690 w 880"/>
                <a:gd name="T27" fmla="*/ 168 h 2944"/>
                <a:gd name="T28" fmla="*/ 652 w 880"/>
                <a:gd name="T29" fmla="*/ 294 h 2944"/>
                <a:gd name="T30" fmla="*/ 560 w 880"/>
                <a:gd name="T31" fmla="*/ 538 h 2944"/>
                <a:gd name="T32" fmla="*/ 512 w 880"/>
                <a:gd name="T33" fmla="*/ 658 h 2944"/>
                <a:gd name="T34" fmla="*/ 454 w 880"/>
                <a:gd name="T35" fmla="*/ 598 h 2944"/>
                <a:gd name="T36" fmla="*/ 424 w 880"/>
                <a:gd name="T37" fmla="*/ 548 h 2944"/>
                <a:gd name="T38" fmla="*/ 354 w 880"/>
                <a:gd name="T39" fmla="*/ 510 h 2944"/>
                <a:gd name="T40" fmla="*/ 206 w 880"/>
                <a:gd name="T41" fmla="*/ 622 h 2944"/>
                <a:gd name="T42" fmla="*/ 242 w 880"/>
                <a:gd name="T43" fmla="*/ 784 h 2944"/>
                <a:gd name="T44" fmla="*/ 272 w 880"/>
                <a:gd name="T45" fmla="*/ 826 h 2944"/>
                <a:gd name="T46" fmla="*/ 92 w 880"/>
                <a:gd name="T47" fmla="*/ 918 h 2944"/>
                <a:gd name="T48" fmla="*/ 46 w 880"/>
                <a:gd name="T49" fmla="*/ 1060 h 2944"/>
                <a:gd name="T50" fmla="*/ 18 w 880"/>
                <a:gd name="T51" fmla="*/ 1246 h 2944"/>
                <a:gd name="T52" fmla="*/ 64 w 880"/>
                <a:gd name="T53" fmla="*/ 1394 h 2944"/>
                <a:gd name="T54" fmla="*/ 164 w 880"/>
                <a:gd name="T55" fmla="*/ 1514 h 2944"/>
                <a:gd name="T56" fmla="*/ 140 w 880"/>
                <a:gd name="T57" fmla="*/ 1734 h 2944"/>
                <a:gd name="T58" fmla="*/ 134 w 880"/>
                <a:gd name="T59" fmla="*/ 1872 h 2944"/>
                <a:gd name="T60" fmla="*/ 96 w 880"/>
                <a:gd name="T61" fmla="*/ 2140 h 2944"/>
                <a:gd name="T62" fmla="*/ 52 w 880"/>
                <a:gd name="T63" fmla="*/ 2344 h 2944"/>
                <a:gd name="T64" fmla="*/ 26 w 880"/>
                <a:gd name="T65" fmla="*/ 2646 h 2944"/>
                <a:gd name="T66" fmla="*/ 2 w 880"/>
                <a:gd name="T67" fmla="*/ 2780 h 2944"/>
                <a:gd name="T68" fmla="*/ 46 w 880"/>
                <a:gd name="T69" fmla="*/ 2900 h 2944"/>
                <a:gd name="T70" fmla="*/ 200 w 880"/>
                <a:gd name="T71" fmla="*/ 2936 h 2944"/>
                <a:gd name="T72" fmla="*/ 182 w 880"/>
                <a:gd name="T73" fmla="*/ 2868 h 2944"/>
                <a:gd name="T74" fmla="*/ 150 w 880"/>
                <a:gd name="T75" fmla="*/ 2792 h 2944"/>
                <a:gd name="T76" fmla="*/ 162 w 880"/>
                <a:gd name="T77" fmla="*/ 2656 h 2944"/>
                <a:gd name="T78" fmla="*/ 238 w 880"/>
                <a:gd name="T79" fmla="*/ 2256 h 2944"/>
                <a:gd name="T80" fmla="*/ 338 w 880"/>
                <a:gd name="T81" fmla="*/ 1940 h 2944"/>
                <a:gd name="T82" fmla="*/ 344 w 880"/>
                <a:gd name="T83" fmla="*/ 2136 h 2944"/>
                <a:gd name="T84" fmla="*/ 320 w 880"/>
                <a:gd name="T85" fmla="*/ 2368 h 2944"/>
                <a:gd name="T86" fmla="*/ 276 w 880"/>
                <a:gd name="T87" fmla="*/ 2630 h 2944"/>
                <a:gd name="T88" fmla="*/ 298 w 880"/>
                <a:gd name="T89" fmla="*/ 2748 h 2944"/>
                <a:gd name="T90" fmla="*/ 368 w 880"/>
                <a:gd name="T91" fmla="*/ 2840 h 2944"/>
                <a:gd name="T92" fmla="*/ 500 w 880"/>
                <a:gd name="T93" fmla="*/ 2876 h 2944"/>
                <a:gd name="T94" fmla="*/ 436 w 880"/>
                <a:gd name="T95" fmla="*/ 2810 h 2944"/>
                <a:gd name="T96" fmla="*/ 432 w 880"/>
                <a:gd name="T97" fmla="*/ 2720 h 2944"/>
                <a:gd name="T98" fmla="*/ 442 w 880"/>
                <a:gd name="T99" fmla="*/ 2614 h 2944"/>
                <a:gd name="T100" fmla="*/ 494 w 880"/>
                <a:gd name="T101" fmla="*/ 2282 h 2944"/>
                <a:gd name="T102" fmla="*/ 544 w 880"/>
                <a:gd name="T103" fmla="*/ 1970 h 2944"/>
                <a:gd name="T104" fmla="*/ 568 w 880"/>
                <a:gd name="T105" fmla="*/ 1740 h 2944"/>
                <a:gd name="T106" fmla="*/ 568 w 880"/>
                <a:gd name="T107" fmla="*/ 1562 h 2944"/>
                <a:gd name="T108" fmla="*/ 620 w 880"/>
                <a:gd name="T109" fmla="*/ 1476 h 2944"/>
                <a:gd name="T110" fmla="*/ 854 w 880"/>
                <a:gd name="T111" fmla="*/ 1448 h 2944"/>
                <a:gd name="T112" fmla="*/ 180 w 880"/>
                <a:gd name="T113" fmla="*/ 1304 h 2944"/>
                <a:gd name="T114" fmla="*/ 152 w 880"/>
                <a:gd name="T115" fmla="*/ 1274 h 2944"/>
                <a:gd name="T116" fmla="*/ 174 w 880"/>
                <a:gd name="T117" fmla="*/ 1194 h 2944"/>
                <a:gd name="T118" fmla="*/ 204 w 880"/>
                <a:gd name="T119" fmla="*/ 1308 h 29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2944"/>
                <a:gd name="T182" fmla="*/ 880 w 880"/>
                <a:gd name="T183" fmla="*/ 2944 h 29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2944">
                  <a:moveTo>
                    <a:pt x="878" y="1370"/>
                  </a:moveTo>
                  <a:lnTo>
                    <a:pt x="878" y="1370"/>
                  </a:lnTo>
                  <a:lnTo>
                    <a:pt x="848" y="1274"/>
                  </a:lnTo>
                  <a:lnTo>
                    <a:pt x="824" y="1204"/>
                  </a:lnTo>
                  <a:lnTo>
                    <a:pt x="808" y="1162"/>
                  </a:lnTo>
                  <a:lnTo>
                    <a:pt x="804" y="1154"/>
                  </a:lnTo>
                  <a:lnTo>
                    <a:pt x="796" y="1144"/>
                  </a:lnTo>
                  <a:lnTo>
                    <a:pt x="782" y="1126"/>
                  </a:lnTo>
                  <a:lnTo>
                    <a:pt x="762" y="1110"/>
                  </a:lnTo>
                  <a:lnTo>
                    <a:pt x="756" y="1092"/>
                  </a:lnTo>
                  <a:lnTo>
                    <a:pt x="748" y="1078"/>
                  </a:lnTo>
                  <a:lnTo>
                    <a:pt x="738" y="1066"/>
                  </a:lnTo>
                  <a:lnTo>
                    <a:pt x="724" y="1046"/>
                  </a:lnTo>
                  <a:lnTo>
                    <a:pt x="710" y="1022"/>
                  </a:lnTo>
                  <a:lnTo>
                    <a:pt x="694" y="990"/>
                  </a:lnTo>
                  <a:lnTo>
                    <a:pt x="684" y="974"/>
                  </a:lnTo>
                  <a:lnTo>
                    <a:pt x="674" y="958"/>
                  </a:lnTo>
                  <a:lnTo>
                    <a:pt x="652" y="932"/>
                  </a:lnTo>
                  <a:lnTo>
                    <a:pt x="636" y="912"/>
                  </a:lnTo>
                  <a:lnTo>
                    <a:pt x="626" y="900"/>
                  </a:lnTo>
                  <a:lnTo>
                    <a:pt x="596" y="842"/>
                  </a:lnTo>
                  <a:lnTo>
                    <a:pt x="598" y="838"/>
                  </a:lnTo>
                  <a:lnTo>
                    <a:pt x="604" y="822"/>
                  </a:lnTo>
                  <a:lnTo>
                    <a:pt x="614" y="802"/>
                  </a:lnTo>
                  <a:lnTo>
                    <a:pt x="630" y="772"/>
                  </a:lnTo>
                  <a:lnTo>
                    <a:pt x="646" y="740"/>
                  </a:lnTo>
                  <a:lnTo>
                    <a:pt x="658" y="718"/>
                  </a:lnTo>
                  <a:lnTo>
                    <a:pt x="664" y="700"/>
                  </a:lnTo>
                  <a:lnTo>
                    <a:pt x="670" y="678"/>
                  </a:lnTo>
                  <a:lnTo>
                    <a:pt x="678" y="632"/>
                  </a:lnTo>
                  <a:lnTo>
                    <a:pt x="684" y="596"/>
                  </a:lnTo>
                  <a:lnTo>
                    <a:pt x="688" y="568"/>
                  </a:lnTo>
                  <a:lnTo>
                    <a:pt x="700" y="522"/>
                  </a:lnTo>
                  <a:lnTo>
                    <a:pt x="714" y="476"/>
                  </a:lnTo>
                  <a:lnTo>
                    <a:pt x="728" y="434"/>
                  </a:lnTo>
                  <a:lnTo>
                    <a:pt x="738" y="400"/>
                  </a:lnTo>
                  <a:lnTo>
                    <a:pt x="738" y="392"/>
                  </a:lnTo>
                  <a:lnTo>
                    <a:pt x="738" y="390"/>
                  </a:lnTo>
                  <a:lnTo>
                    <a:pt x="740" y="382"/>
                  </a:lnTo>
                  <a:lnTo>
                    <a:pt x="746" y="364"/>
                  </a:lnTo>
                  <a:lnTo>
                    <a:pt x="756" y="338"/>
                  </a:lnTo>
                  <a:lnTo>
                    <a:pt x="764" y="314"/>
                  </a:lnTo>
                  <a:lnTo>
                    <a:pt x="760" y="308"/>
                  </a:lnTo>
                  <a:lnTo>
                    <a:pt x="754" y="302"/>
                  </a:lnTo>
                  <a:lnTo>
                    <a:pt x="742" y="294"/>
                  </a:lnTo>
                  <a:lnTo>
                    <a:pt x="750" y="232"/>
                  </a:lnTo>
                  <a:lnTo>
                    <a:pt x="754" y="230"/>
                  </a:lnTo>
                  <a:lnTo>
                    <a:pt x="762" y="224"/>
                  </a:lnTo>
                  <a:lnTo>
                    <a:pt x="768" y="218"/>
                  </a:lnTo>
                  <a:lnTo>
                    <a:pt x="772" y="208"/>
                  </a:lnTo>
                  <a:lnTo>
                    <a:pt x="778" y="186"/>
                  </a:lnTo>
                  <a:lnTo>
                    <a:pt x="782" y="168"/>
                  </a:lnTo>
                  <a:lnTo>
                    <a:pt x="786" y="154"/>
                  </a:lnTo>
                  <a:lnTo>
                    <a:pt x="790" y="138"/>
                  </a:lnTo>
                  <a:lnTo>
                    <a:pt x="790" y="128"/>
                  </a:lnTo>
                  <a:lnTo>
                    <a:pt x="796" y="122"/>
                  </a:lnTo>
                  <a:lnTo>
                    <a:pt x="804" y="114"/>
                  </a:lnTo>
                  <a:lnTo>
                    <a:pt x="810" y="104"/>
                  </a:lnTo>
                  <a:lnTo>
                    <a:pt x="814" y="100"/>
                  </a:lnTo>
                  <a:lnTo>
                    <a:pt x="820" y="94"/>
                  </a:lnTo>
                  <a:lnTo>
                    <a:pt x="824" y="86"/>
                  </a:lnTo>
                  <a:lnTo>
                    <a:pt x="830" y="80"/>
                  </a:lnTo>
                  <a:lnTo>
                    <a:pt x="834" y="74"/>
                  </a:lnTo>
                  <a:lnTo>
                    <a:pt x="836" y="70"/>
                  </a:lnTo>
                  <a:lnTo>
                    <a:pt x="836" y="64"/>
                  </a:lnTo>
                  <a:lnTo>
                    <a:pt x="834" y="64"/>
                  </a:lnTo>
                  <a:lnTo>
                    <a:pt x="832" y="64"/>
                  </a:lnTo>
                  <a:lnTo>
                    <a:pt x="826" y="66"/>
                  </a:lnTo>
                  <a:lnTo>
                    <a:pt x="820" y="70"/>
                  </a:lnTo>
                  <a:lnTo>
                    <a:pt x="812" y="74"/>
                  </a:lnTo>
                  <a:lnTo>
                    <a:pt x="806" y="78"/>
                  </a:lnTo>
                  <a:lnTo>
                    <a:pt x="800" y="82"/>
                  </a:lnTo>
                  <a:lnTo>
                    <a:pt x="782" y="100"/>
                  </a:lnTo>
                  <a:lnTo>
                    <a:pt x="770" y="110"/>
                  </a:lnTo>
                  <a:lnTo>
                    <a:pt x="768" y="108"/>
                  </a:lnTo>
                  <a:lnTo>
                    <a:pt x="780" y="86"/>
                  </a:lnTo>
                  <a:lnTo>
                    <a:pt x="788" y="76"/>
                  </a:lnTo>
                  <a:lnTo>
                    <a:pt x="794" y="66"/>
                  </a:lnTo>
                  <a:lnTo>
                    <a:pt x="798" y="62"/>
                  </a:lnTo>
                  <a:lnTo>
                    <a:pt x="802" y="56"/>
                  </a:lnTo>
                  <a:lnTo>
                    <a:pt x="806" y="50"/>
                  </a:lnTo>
                  <a:lnTo>
                    <a:pt x="812" y="46"/>
                  </a:lnTo>
                  <a:lnTo>
                    <a:pt x="816" y="40"/>
                  </a:lnTo>
                  <a:lnTo>
                    <a:pt x="818" y="32"/>
                  </a:lnTo>
                  <a:lnTo>
                    <a:pt x="818" y="30"/>
                  </a:lnTo>
                  <a:lnTo>
                    <a:pt x="816" y="28"/>
                  </a:lnTo>
                  <a:lnTo>
                    <a:pt x="812" y="26"/>
                  </a:lnTo>
                  <a:lnTo>
                    <a:pt x="808" y="26"/>
                  </a:lnTo>
                  <a:lnTo>
                    <a:pt x="800" y="30"/>
                  </a:lnTo>
                  <a:lnTo>
                    <a:pt x="780" y="50"/>
                  </a:lnTo>
                  <a:lnTo>
                    <a:pt x="758" y="76"/>
                  </a:lnTo>
                  <a:lnTo>
                    <a:pt x="758" y="62"/>
                  </a:lnTo>
                  <a:lnTo>
                    <a:pt x="762" y="56"/>
                  </a:lnTo>
                  <a:lnTo>
                    <a:pt x="768" y="48"/>
                  </a:lnTo>
                  <a:lnTo>
                    <a:pt x="772" y="38"/>
                  </a:lnTo>
                  <a:lnTo>
                    <a:pt x="776" y="34"/>
                  </a:lnTo>
                  <a:lnTo>
                    <a:pt x="780" y="30"/>
                  </a:lnTo>
                  <a:lnTo>
                    <a:pt x="786" y="24"/>
                  </a:lnTo>
                  <a:lnTo>
                    <a:pt x="790" y="16"/>
                  </a:lnTo>
                  <a:lnTo>
                    <a:pt x="792" y="10"/>
                  </a:lnTo>
                  <a:lnTo>
                    <a:pt x="790" y="6"/>
                  </a:lnTo>
                  <a:lnTo>
                    <a:pt x="788" y="4"/>
                  </a:lnTo>
                  <a:lnTo>
                    <a:pt x="784" y="4"/>
                  </a:lnTo>
                  <a:lnTo>
                    <a:pt x="780" y="4"/>
                  </a:lnTo>
                  <a:lnTo>
                    <a:pt x="770" y="10"/>
                  </a:lnTo>
                  <a:lnTo>
                    <a:pt x="756" y="22"/>
                  </a:lnTo>
                  <a:lnTo>
                    <a:pt x="760" y="16"/>
                  </a:lnTo>
                  <a:lnTo>
                    <a:pt x="760" y="8"/>
                  </a:lnTo>
                  <a:lnTo>
                    <a:pt x="760" y="4"/>
                  </a:lnTo>
                  <a:lnTo>
                    <a:pt x="756" y="0"/>
                  </a:lnTo>
                  <a:lnTo>
                    <a:pt x="752" y="0"/>
                  </a:lnTo>
                  <a:lnTo>
                    <a:pt x="748" y="2"/>
                  </a:lnTo>
                  <a:lnTo>
                    <a:pt x="746" y="4"/>
                  </a:lnTo>
                  <a:lnTo>
                    <a:pt x="734" y="16"/>
                  </a:lnTo>
                  <a:lnTo>
                    <a:pt x="728" y="28"/>
                  </a:lnTo>
                  <a:lnTo>
                    <a:pt x="714" y="54"/>
                  </a:lnTo>
                  <a:lnTo>
                    <a:pt x="710" y="54"/>
                  </a:lnTo>
                  <a:lnTo>
                    <a:pt x="704" y="60"/>
                  </a:lnTo>
                  <a:lnTo>
                    <a:pt x="700" y="68"/>
                  </a:lnTo>
                  <a:lnTo>
                    <a:pt x="686" y="118"/>
                  </a:lnTo>
                  <a:lnTo>
                    <a:pt x="686" y="126"/>
                  </a:lnTo>
                  <a:lnTo>
                    <a:pt x="686" y="134"/>
                  </a:lnTo>
                  <a:lnTo>
                    <a:pt x="688" y="146"/>
                  </a:lnTo>
                  <a:lnTo>
                    <a:pt x="690" y="168"/>
                  </a:lnTo>
                  <a:lnTo>
                    <a:pt x="692" y="188"/>
                  </a:lnTo>
                  <a:lnTo>
                    <a:pt x="692" y="202"/>
                  </a:lnTo>
                  <a:lnTo>
                    <a:pt x="692" y="212"/>
                  </a:lnTo>
                  <a:lnTo>
                    <a:pt x="682" y="242"/>
                  </a:lnTo>
                  <a:lnTo>
                    <a:pt x="674" y="260"/>
                  </a:lnTo>
                  <a:lnTo>
                    <a:pt x="670" y="260"/>
                  </a:lnTo>
                  <a:lnTo>
                    <a:pt x="666" y="260"/>
                  </a:lnTo>
                  <a:lnTo>
                    <a:pt x="660" y="272"/>
                  </a:lnTo>
                  <a:lnTo>
                    <a:pt x="652" y="294"/>
                  </a:lnTo>
                  <a:lnTo>
                    <a:pt x="638" y="326"/>
                  </a:lnTo>
                  <a:lnTo>
                    <a:pt x="636" y="326"/>
                  </a:lnTo>
                  <a:lnTo>
                    <a:pt x="630" y="332"/>
                  </a:lnTo>
                  <a:lnTo>
                    <a:pt x="628" y="336"/>
                  </a:lnTo>
                  <a:lnTo>
                    <a:pt x="626" y="342"/>
                  </a:lnTo>
                  <a:lnTo>
                    <a:pt x="620" y="360"/>
                  </a:lnTo>
                  <a:lnTo>
                    <a:pt x="580" y="472"/>
                  </a:lnTo>
                  <a:lnTo>
                    <a:pt x="560" y="538"/>
                  </a:lnTo>
                  <a:lnTo>
                    <a:pt x="544" y="594"/>
                  </a:lnTo>
                  <a:lnTo>
                    <a:pt x="542" y="600"/>
                  </a:lnTo>
                  <a:lnTo>
                    <a:pt x="538" y="606"/>
                  </a:lnTo>
                  <a:lnTo>
                    <a:pt x="526" y="626"/>
                  </a:lnTo>
                  <a:lnTo>
                    <a:pt x="520" y="640"/>
                  </a:lnTo>
                  <a:lnTo>
                    <a:pt x="518" y="650"/>
                  </a:lnTo>
                  <a:lnTo>
                    <a:pt x="514" y="662"/>
                  </a:lnTo>
                  <a:lnTo>
                    <a:pt x="512" y="658"/>
                  </a:lnTo>
                  <a:lnTo>
                    <a:pt x="508" y="654"/>
                  </a:lnTo>
                  <a:lnTo>
                    <a:pt x="504" y="652"/>
                  </a:lnTo>
                  <a:lnTo>
                    <a:pt x="500" y="640"/>
                  </a:lnTo>
                  <a:lnTo>
                    <a:pt x="504" y="636"/>
                  </a:lnTo>
                  <a:lnTo>
                    <a:pt x="506" y="630"/>
                  </a:lnTo>
                  <a:lnTo>
                    <a:pt x="508" y="622"/>
                  </a:lnTo>
                  <a:lnTo>
                    <a:pt x="506" y="620"/>
                  </a:lnTo>
                  <a:lnTo>
                    <a:pt x="500" y="616"/>
                  </a:lnTo>
                  <a:lnTo>
                    <a:pt x="482" y="608"/>
                  </a:lnTo>
                  <a:lnTo>
                    <a:pt x="454" y="598"/>
                  </a:lnTo>
                  <a:lnTo>
                    <a:pt x="450" y="582"/>
                  </a:lnTo>
                  <a:lnTo>
                    <a:pt x="448" y="578"/>
                  </a:lnTo>
                  <a:lnTo>
                    <a:pt x="446" y="574"/>
                  </a:lnTo>
                  <a:lnTo>
                    <a:pt x="440" y="568"/>
                  </a:lnTo>
                  <a:lnTo>
                    <a:pt x="434" y="560"/>
                  </a:lnTo>
                  <a:lnTo>
                    <a:pt x="432" y="556"/>
                  </a:lnTo>
                  <a:lnTo>
                    <a:pt x="426" y="552"/>
                  </a:lnTo>
                  <a:lnTo>
                    <a:pt x="424" y="548"/>
                  </a:lnTo>
                  <a:lnTo>
                    <a:pt x="422" y="544"/>
                  </a:lnTo>
                  <a:lnTo>
                    <a:pt x="424" y="538"/>
                  </a:lnTo>
                  <a:lnTo>
                    <a:pt x="422" y="534"/>
                  </a:lnTo>
                  <a:lnTo>
                    <a:pt x="420" y="526"/>
                  </a:lnTo>
                  <a:lnTo>
                    <a:pt x="414" y="518"/>
                  </a:lnTo>
                  <a:lnTo>
                    <a:pt x="404" y="514"/>
                  </a:lnTo>
                  <a:lnTo>
                    <a:pt x="392" y="512"/>
                  </a:lnTo>
                  <a:lnTo>
                    <a:pt x="374" y="510"/>
                  </a:lnTo>
                  <a:lnTo>
                    <a:pt x="354" y="510"/>
                  </a:lnTo>
                  <a:lnTo>
                    <a:pt x="344" y="510"/>
                  </a:lnTo>
                  <a:lnTo>
                    <a:pt x="332" y="514"/>
                  </a:lnTo>
                  <a:lnTo>
                    <a:pt x="322" y="518"/>
                  </a:lnTo>
                  <a:lnTo>
                    <a:pt x="310" y="524"/>
                  </a:lnTo>
                  <a:lnTo>
                    <a:pt x="298" y="532"/>
                  </a:lnTo>
                  <a:lnTo>
                    <a:pt x="284" y="540"/>
                  </a:lnTo>
                  <a:lnTo>
                    <a:pt x="258" y="562"/>
                  </a:lnTo>
                  <a:lnTo>
                    <a:pt x="236" y="582"/>
                  </a:lnTo>
                  <a:lnTo>
                    <a:pt x="218" y="604"/>
                  </a:lnTo>
                  <a:lnTo>
                    <a:pt x="212" y="612"/>
                  </a:lnTo>
                  <a:lnTo>
                    <a:pt x="206" y="622"/>
                  </a:lnTo>
                  <a:lnTo>
                    <a:pt x="204" y="632"/>
                  </a:lnTo>
                  <a:lnTo>
                    <a:pt x="202" y="642"/>
                  </a:lnTo>
                  <a:lnTo>
                    <a:pt x="200" y="662"/>
                  </a:lnTo>
                  <a:lnTo>
                    <a:pt x="202" y="680"/>
                  </a:lnTo>
                  <a:lnTo>
                    <a:pt x="206" y="696"/>
                  </a:lnTo>
                  <a:lnTo>
                    <a:pt x="210" y="712"/>
                  </a:lnTo>
                  <a:lnTo>
                    <a:pt x="216" y="728"/>
                  </a:lnTo>
                  <a:lnTo>
                    <a:pt x="230" y="758"/>
                  </a:lnTo>
                  <a:lnTo>
                    <a:pt x="242" y="784"/>
                  </a:lnTo>
                  <a:lnTo>
                    <a:pt x="256" y="808"/>
                  </a:lnTo>
                  <a:lnTo>
                    <a:pt x="262" y="814"/>
                  </a:lnTo>
                  <a:lnTo>
                    <a:pt x="270" y="820"/>
                  </a:lnTo>
                  <a:lnTo>
                    <a:pt x="280" y="824"/>
                  </a:lnTo>
                  <a:lnTo>
                    <a:pt x="282" y="824"/>
                  </a:lnTo>
                  <a:lnTo>
                    <a:pt x="280" y="824"/>
                  </a:lnTo>
                  <a:lnTo>
                    <a:pt x="276" y="824"/>
                  </a:lnTo>
                  <a:lnTo>
                    <a:pt x="272" y="826"/>
                  </a:lnTo>
                  <a:lnTo>
                    <a:pt x="264" y="830"/>
                  </a:lnTo>
                  <a:lnTo>
                    <a:pt x="254" y="840"/>
                  </a:lnTo>
                  <a:lnTo>
                    <a:pt x="248" y="846"/>
                  </a:lnTo>
                  <a:lnTo>
                    <a:pt x="242" y="844"/>
                  </a:lnTo>
                  <a:lnTo>
                    <a:pt x="158" y="882"/>
                  </a:lnTo>
                  <a:lnTo>
                    <a:pt x="116" y="902"/>
                  </a:lnTo>
                  <a:lnTo>
                    <a:pt x="100" y="912"/>
                  </a:lnTo>
                  <a:lnTo>
                    <a:pt x="92" y="918"/>
                  </a:lnTo>
                  <a:lnTo>
                    <a:pt x="88" y="924"/>
                  </a:lnTo>
                  <a:lnTo>
                    <a:pt x="84" y="932"/>
                  </a:lnTo>
                  <a:lnTo>
                    <a:pt x="80" y="954"/>
                  </a:lnTo>
                  <a:lnTo>
                    <a:pt x="70" y="988"/>
                  </a:lnTo>
                  <a:lnTo>
                    <a:pt x="64" y="1008"/>
                  </a:lnTo>
                  <a:lnTo>
                    <a:pt x="56" y="1022"/>
                  </a:lnTo>
                  <a:lnTo>
                    <a:pt x="50" y="1034"/>
                  </a:lnTo>
                  <a:lnTo>
                    <a:pt x="48" y="1044"/>
                  </a:lnTo>
                  <a:lnTo>
                    <a:pt x="46" y="1060"/>
                  </a:lnTo>
                  <a:lnTo>
                    <a:pt x="46" y="1086"/>
                  </a:lnTo>
                  <a:lnTo>
                    <a:pt x="48" y="1120"/>
                  </a:lnTo>
                  <a:lnTo>
                    <a:pt x="38" y="1144"/>
                  </a:lnTo>
                  <a:lnTo>
                    <a:pt x="32" y="1166"/>
                  </a:lnTo>
                  <a:lnTo>
                    <a:pt x="26" y="1186"/>
                  </a:lnTo>
                  <a:lnTo>
                    <a:pt x="24" y="1202"/>
                  </a:lnTo>
                  <a:lnTo>
                    <a:pt x="22" y="1228"/>
                  </a:lnTo>
                  <a:lnTo>
                    <a:pt x="20" y="1238"/>
                  </a:lnTo>
                  <a:lnTo>
                    <a:pt x="18" y="1244"/>
                  </a:lnTo>
                  <a:lnTo>
                    <a:pt x="18" y="1246"/>
                  </a:lnTo>
                  <a:lnTo>
                    <a:pt x="8" y="1288"/>
                  </a:lnTo>
                  <a:lnTo>
                    <a:pt x="2" y="1310"/>
                  </a:lnTo>
                  <a:lnTo>
                    <a:pt x="0" y="1324"/>
                  </a:lnTo>
                  <a:lnTo>
                    <a:pt x="2" y="1336"/>
                  </a:lnTo>
                  <a:lnTo>
                    <a:pt x="4" y="1340"/>
                  </a:lnTo>
                  <a:lnTo>
                    <a:pt x="12" y="1348"/>
                  </a:lnTo>
                  <a:lnTo>
                    <a:pt x="34" y="1370"/>
                  </a:lnTo>
                  <a:lnTo>
                    <a:pt x="48" y="1382"/>
                  </a:lnTo>
                  <a:lnTo>
                    <a:pt x="64" y="1394"/>
                  </a:lnTo>
                  <a:lnTo>
                    <a:pt x="172" y="1458"/>
                  </a:lnTo>
                  <a:lnTo>
                    <a:pt x="176" y="1460"/>
                  </a:lnTo>
                  <a:lnTo>
                    <a:pt x="178" y="1464"/>
                  </a:lnTo>
                  <a:lnTo>
                    <a:pt x="182" y="1470"/>
                  </a:lnTo>
                  <a:lnTo>
                    <a:pt x="184" y="1472"/>
                  </a:lnTo>
                  <a:lnTo>
                    <a:pt x="184" y="1476"/>
                  </a:lnTo>
                  <a:lnTo>
                    <a:pt x="172" y="1496"/>
                  </a:lnTo>
                  <a:lnTo>
                    <a:pt x="164" y="1514"/>
                  </a:lnTo>
                  <a:lnTo>
                    <a:pt x="156" y="1532"/>
                  </a:lnTo>
                  <a:lnTo>
                    <a:pt x="152" y="1548"/>
                  </a:lnTo>
                  <a:lnTo>
                    <a:pt x="150" y="1556"/>
                  </a:lnTo>
                  <a:lnTo>
                    <a:pt x="150" y="1570"/>
                  </a:lnTo>
                  <a:lnTo>
                    <a:pt x="136" y="1708"/>
                  </a:lnTo>
                  <a:lnTo>
                    <a:pt x="136" y="1718"/>
                  </a:lnTo>
                  <a:lnTo>
                    <a:pt x="136" y="1724"/>
                  </a:lnTo>
                  <a:lnTo>
                    <a:pt x="138" y="1730"/>
                  </a:lnTo>
                  <a:lnTo>
                    <a:pt x="140" y="1734"/>
                  </a:lnTo>
                  <a:lnTo>
                    <a:pt x="144" y="1736"/>
                  </a:lnTo>
                  <a:lnTo>
                    <a:pt x="146" y="1738"/>
                  </a:lnTo>
                  <a:lnTo>
                    <a:pt x="144" y="1750"/>
                  </a:lnTo>
                  <a:lnTo>
                    <a:pt x="144" y="1764"/>
                  </a:lnTo>
                  <a:lnTo>
                    <a:pt x="144" y="1780"/>
                  </a:lnTo>
                  <a:lnTo>
                    <a:pt x="144" y="1800"/>
                  </a:lnTo>
                  <a:lnTo>
                    <a:pt x="140" y="1826"/>
                  </a:lnTo>
                  <a:lnTo>
                    <a:pt x="136" y="1850"/>
                  </a:lnTo>
                  <a:lnTo>
                    <a:pt x="134" y="1872"/>
                  </a:lnTo>
                  <a:lnTo>
                    <a:pt x="130" y="1900"/>
                  </a:lnTo>
                  <a:lnTo>
                    <a:pt x="122" y="1936"/>
                  </a:lnTo>
                  <a:lnTo>
                    <a:pt x="116" y="1972"/>
                  </a:lnTo>
                  <a:lnTo>
                    <a:pt x="112" y="1998"/>
                  </a:lnTo>
                  <a:lnTo>
                    <a:pt x="106" y="2066"/>
                  </a:lnTo>
                  <a:lnTo>
                    <a:pt x="100" y="2126"/>
                  </a:lnTo>
                  <a:lnTo>
                    <a:pt x="100" y="2132"/>
                  </a:lnTo>
                  <a:lnTo>
                    <a:pt x="98" y="2136"/>
                  </a:lnTo>
                  <a:lnTo>
                    <a:pt x="96" y="2140"/>
                  </a:lnTo>
                  <a:lnTo>
                    <a:pt x="90" y="2150"/>
                  </a:lnTo>
                  <a:lnTo>
                    <a:pt x="76" y="2192"/>
                  </a:lnTo>
                  <a:lnTo>
                    <a:pt x="66" y="2222"/>
                  </a:lnTo>
                  <a:lnTo>
                    <a:pt x="58" y="2252"/>
                  </a:lnTo>
                  <a:lnTo>
                    <a:pt x="48" y="2296"/>
                  </a:lnTo>
                  <a:lnTo>
                    <a:pt x="48" y="2308"/>
                  </a:lnTo>
                  <a:lnTo>
                    <a:pt x="48" y="2318"/>
                  </a:lnTo>
                  <a:lnTo>
                    <a:pt x="50" y="2330"/>
                  </a:lnTo>
                  <a:lnTo>
                    <a:pt x="52" y="2344"/>
                  </a:lnTo>
                  <a:lnTo>
                    <a:pt x="50" y="2360"/>
                  </a:lnTo>
                  <a:lnTo>
                    <a:pt x="46" y="2376"/>
                  </a:lnTo>
                  <a:lnTo>
                    <a:pt x="42" y="2396"/>
                  </a:lnTo>
                  <a:lnTo>
                    <a:pt x="38" y="2414"/>
                  </a:lnTo>
                  <a:lnTo>
                    <a:pt x="38" y="2436"/>
                  </a:lnTo>
                  <a:lnTo>
                    <a:pt x="40" y="2462"/>
                  </a:lnTo>
                  <a:lnTo>
                    <a:pt x="40" y="2490"/>
                  </a:lnTo>
                  <a:lnTo>
                    <a:pt x="40" y="2516"/>
                  </a:lnTo>
                  <a:lnTo>
                    <a:pt x="32" y="2588"/>
                  </a:lnTo>
                  <a:lnTo>
                    <a:pt x="26" y="2646"/>
                  </a:lnTo>
                  <a:lnTo>
                    <a:pt x="14" y="2704"/>
                  </a:lnTo>
                  <a:lnTo>
                    <a:pt x="12" y="2706"/>
                  </a:lnTo>
                  <a:lnTo>
                    <a:pt x="8" y="2712"/>
                  </a:lnTo>
                  <a:lnTo>
                    <a:pt x="4" y="2734"/>
                  </a:lnTo>
                  <a:lnTo>
                    <a:pt x="0" y="2750"/>
                  </a:lnTo>
                  <a:lnTo>
                    <a:pt x="0" y="2774"/>
                  </a:lnTo>
                  <a:lnTo>
                    <a:pt x="2" y="2780"/>
                  </a:lnTo>
                  <a:lnTo>
                    <a:pt x="4" y="2786"/>
                  </a:lnTo>
                  <a:lnTo>
                    <a:pt x="10" y="2796"/>
                  </a:lnTo>
                  <a:lnTo>
                    <a:pt x="20" y="2808"/>
                  </a:lnTo>
                  <a:lnTo>
                    <a:pt x="24" y="2800"/>
                  </a:lnTo>
                  <a:lnTo>
                    <a:pt x="32" y="2826"/>
                  </a:lnTo>
                  <a:lnTo>
                    <a:pt x="34" y="2840"/>
                  </a:lnTo>
                  <a:lnTo>
                    <a:pt x="38" y="2862"/>
                  </a:lnTo>
                  <a:lnTo>
                    <a:pt x="42" y="2884"/>
                  </a:lnTo>
                  <a:lnTo>
                    <a:pt x="46" y="2900"/>
                  </a:lnTo>
                  <a:lnTo>
                    <a:pt x="52" y="2906"/>
                  </a:lnTo>
                  <a:lnTo>
                    <a:pt x="60" y="2912"/>
                  </a:lnTo>
                  <a:lnTo>
                    <a:pt x="84" y="2922"/>
                  </a:lnTo>
                  <a:lnTo>
                    <a:pt x="114" y="2932"/>
                  </a:lnTo>
                  <a:lnTo>
                    <a:pt x="144" y="2940"/>
                  </a:lnTo>
                  <a:lnTo>
                    <a:pt x="156" y="2944"/>
                  </a:lnTo>
                  <a:lnTo>
                    <a:pt x="168" y="2944"/>
                  </a:lnTo>
                  <a:lnTo>
                    <a:pt x="178" y="2944"/>
                  </a:lnTo>
                  <a:lnTo>
                    <a:pt x="188" y="2942"/>
                  </a:lnTo>
                  <a:lnTo>
                    <a:pt x="194" y="2940"/>
                  </a:lnTo>
                  <a:lnTo>
                    <a:pt x="200" y="2936"/>
                  </a:lnTo>
                  <a:lnTo>
                    <a:pt x="204" y="2932"/>
                  </a:lnTo>
                  <a:lnTo>
                    <a:pt x="206" y="2926"/>
                  </a:lnTo>
                  <a:lnTo>
                    <a:pt x="206" y="2922"/>
                  </a:lnTo>
                  <a:lnTo>
                    <a:pt x="206" y="2916"/>
                  </a:lnTo>
                  <a:lnTo>
                    <a:pt x="200" y="2904"/>
                  </a:lnTo>
                  <a:lnTo>
                    <a:pt x="186" y="2886"/>
                  </a:lnTo>
                  <a:lnTo>
                    <a:pt x="184" y="2882"/>
                  </a:lnTo>
                  <a:lnTo>
                    <a:pt x="184" y="2878"/>
                  </a:lnTo>
                  <a:lnTo>
                    <a:pt x="182" y="2868"/>
                  </a:lnTo>
                  <a:lnTo>
                    <a:pt x="178" y="2864"/>
                  </a:lnTo>
                  <a:lnTo>
                    <a:pt x="172" y="2860"/>
                  </a:lnTo>
                  <a:lnTo>
                    <a:pt x="166" y="2854"/>
                  </a:lnTo>
                  <a:lnTo>
                    <a:pt x="166" y="2852"/>
                  </a:lnTo>
                  <a:lnTo>
                    <a:pt x="164" y="2850"/>
                  </a:lnTo>
                  <a:lnTo>
                    <a:pt x="164" y="2838"/>
                  </a:lnTo>
                  <a:lnTo>
                    <a:pt x="158" y="2824"/>
                  </a:lnTo>
                  <a:lnTo>
                    <a:pt x="152" y="2808"/>
                  </a:lnTo>
                  <a:lnTo>
                    <a:pt x="150" y="2792"/>
                  </a:lnTo>
                  <a:lnTo>
                    <a:pt x="148" y="2786"/>
                  </a:lnTo>
                  <a:lnTo>
                    <a:pt x="146" y="2782"/>
                  </a:lnTo>
                  <a:lnTo>
                    <a:pt x="140" y="2776"/>
                  </a:lnTo>
                  <a:lnTo>
                    <a:pt x="140" y="2764"/>
                  </a:lnTo>
                  <a:lnTo>
                    <a:pt x="140" y="2756"/>
                  </a:lnTo>
                  <a:lnTo>
                    <a:pt x="144" y="2752"/>
                  </a:lnTo>
                  <a:lnTo>
                    <a:pt x="148" y="2748"/>
                  </a:lnTo>
                  <a:lnTo>
                    <a:pt x="152" y="2732"/>
                  </a:lnTo>
                  <a:lnTo>
                    <a:pt x="162" y="2656"/>
                  </a:lnTo>
                  <a:lnTo>
                    <a:pt x="180" y="2568"/>
                  </a:lnTo>
                  <a:lnTo>
                    <a:pt x="200" y="2476"/>
                  </a:lnTo>
                  <a:lnTo>
                    <a:pt x="212" y="2422"/>
                  </a:lnTo>
                  <a:lnTo>
                    <a:pt x="224" y="2366"/>
                  </a:lnTo>
                  <a:lnTo>
                    <a:pt x="234" y="2316"/>
                  </a:lnTo>
                  <a:lnTo>
                    <a:pt x="236" y="2294"/>
                  </a:lnTo>
                  <a:lnTo>
                    <a:pt x="238" y="2274"/>
                  </a:lnTo>
                  <a:lnTo>
                    <a:pt x="238" y="2256"/>
                  </a:lnTo>
                  <a:lnTo>
                    <a:pt x="242" y="2242"/>
                  </a:lnTo>
                  <a:lnTo>
                    <a:pt x="250" y="2212"/>
                  </a:lnTo>
                  <a:lnTo>
                    <a:pt x="254" y="2194"/>
                  </a:lnTo>
                  <a:lnTo>
                    <a:pt x="262" y="2176"/>
                  </a:lnTo>
                  <a:lnTo>
                    <a:pt x="272" y="2154"/>
                  </a:lnTo>
                  <a:lnTo>
                    <a:pt x="282" y="2130"/>
                  </a:lnTo>
                  <a:lnTo>
                    <a:pt x="316" y="2014"/>
                  </a:lnTo>
                  <a:lnTo>
                    <a:pt x="332" y="1956"/>
                  </a:lnTo>
                  <a:lnTo>
                    <a:pt x="338" y="1942"/>
                  </a:lnTo>
                  <a:lnTo>
                    <a:pt x="338" y="1940"/>
                  </a:lnTo>
                  <a:lnTo>
                    <a:pt x="338" y="1942"/>
                  </a:lnTo>
                  <a:lnTo>
                    <a:pt x="338" y="1944"/>
                  </a:lnTo>
                  <a:lnTo>
                    <a:pt x="338" y="1954"/>
                  </a:lnTo>
                  <a:lnTo>
                    <a:pt x="338" y="1968"/>
                  </a:lnTo>
                  <a:lnTo>
                    <a:pt x="344" y="2000"/>
                  </a:lnTo>
                  <a:lnTo>
                    <a:pt x="352" y="2036"/>
                  </a:lnTo>
                  <a:lnTo>
                    <a:pt x="344" y="2114"/>
                  </a:lnTo>
                  <a:lnTo>
                    <a:pt x="344" y="2136"/>
                  </a:lnTo>
                  <a:lnTo>
                    <a:pt x="346" y="2160"/>
                  </a:lnTo>
                  <a:lnTo>
                    <a:pt x="350" y="2192"/>
                  </a:lnTo>
                  <a:lnTo>
                    <a:pt x="348" y="2202"/>
                  </a:lnTo>
                  <a:lnTo>
                    <a:pt x="344" y="2218"/>
                  </a:lnTo>
                  <a:lnTo>
                    <a:pt x="336" y="2246"/>
                  </a:lnTo>
                  <a:lnTo>
                    <a:pt x="334" y="2260"/>
                  </a:lnTo>
                  <a:lnTo>
                    <a:pt x="334" y="2280"/>
                  </a:lnTo>
                  <a:lnTo>
                    <a:pt x="326" y="2322"/>
                  </a:lnTo>
                  <a:lnTo>
                    <a:pt x="320" y="2368"/>
                  </a:lnTo>
                  <a:lnTo>
                    <a:pt x="316" y="2408"/>
                  </a:lnTo>
                  <a:lnTo>
                    <a:pt x="314" y="2434"/>
                  </a:lnTo>
                  <a:lnTo>
                    <a:pt x="310" y="2468"/>
                  </a:lnTo>
                  <a:lnTo>
                    <a:pt x="294" y="2584"/>
                  </a:lnTo>
                  <a:lnTo>
                    <a:pt x="290" y="2592"/>
                  </a:lnTo>
                  <a:lnTo>
                    <a:pt x="286" y="2602"/>
                  </a:lnTo>
                  <a:lnTo>
                    <a:pt x="280" y="2616"/>
                  </a:lnTo>
                  <a:lnTo>
                    <a:pt x="276" y="2630"/>
                  </a:lnTo>
                  <a:lnTo>
                    <a:pt x="272" y="2652"/>
                  </a:lnTo>
                  <a:lnTo>
                    <a:pt x="272" y="2660"/>
                  </a:lnTo>
                  <a:lnTo>
                    <a:pt x="260" y="2680"/>
                  </a:lnTo>
                  <a:lnTo>
                    <a:pt x="254" y="2682"/>
                  </a:lnTo>
                  <a:lnTo>
                    <a:pt x="248" y="2698"/>
                  </a:lnTo>
                  <a:lnTo>
                    <a:pt x="264" y="2722"/>
                  </a:lnTo>
                  <a:lnTo>
                    <a:pt x="272" y="2730"/>
                  </a:lnTo>
                  <a:lnTo>
                    <a:pt x="284" y="2738"/>
                  </a:lnTo>
                  <a:lnTo>
                    <a:pt x="298" y="2748"/>
                  </a:lnTo>
                  <a:lnTo>
                    <a:pt x="310" y="2738"/>
                  </a:lnTo>
                  <a:lnTo>
                    <a:pt x="312" y="2742"/>
                  </a:lnTo>
                  <a:lnTo>
                    <a:pt x="316" y="2746"/>
                  </a:lnTo>
                  <a:lnTo>
                    <a:pt x="320" y="2752"/>
                  </a:lnTo>
                  <a:lnTo>
                    <a:pt x="328" y="2764"/>
                  </a:lnTo>
                  <a:lnTo>
                    <a:pt x="340" y="2784"/>
                  </a:lnTo>
                  <a:lnTo>
                    <a:pt x="354" y="2820"/>
                  </a:lnTo>
                  <a:lnTo>
                    <a:pt x="360" y="2828"/>
                  </a:lnTo>
                  <a:lnTo>
                    <a:pt x="368" y="2840"/>
                  </a:lnTo>
                  <a:lnTo>
                    <a:pt x="386" y="2862"/>
                  </a:lnTo>
                  <a:lnTo>
                    <a:pt x="392" y="2864"/>
                  </a:lnTo>
                  <a:lnTo>
                    <a:pt x="398" y="2868"/>
                  </a:lnTo>
                  <a:lnTo>
                    <a:pt x="414" y="2872"/>
                  </a:lnTo>
                  <a:lnTo>
                    <a:pt x="448" y="2878"/>
                  </a:lnTo>
                  <a:lnTo>
                    <a:pt x="462" y="2880"/>
                  </a:lnTo>
                  <a:lnTo>
                    <a:pt x="478" y="2880"/>
                  </a:lnTo>
                  <a:lnTo>
                    <a:pt x="498" y="2878"/>
                  </a:lnTo>
                  <a:lnTo>
                    <a:pt x="500" y="2876"/>
                  </a:lnTo>
                  <a:lnTo>
                    <a:pt x="500" y="2872"/>
                  </a:lnTo>
                  <a:lnTo>
                    <a:pt x="500" y="2864"/>
                  </a:lnTo>
                  <a:lnTo>
                    <a:pt x="498" y="2856"/>
                  </a:lnTo>
                  <a:lnTo>
                    <a:pt x="494" y="2848"/>
                  </a:lnTo>
                  <a:lnTo>
                    <a:pt x="486" y="2840"/>
                  </a:lnTo>
                  <a:lnTo>
                    <a:pt x="478" y="2832"/>
                  </a:lnTo>
                  <a:lnTo>
                    <a:pt x="466" y="2824"/>
                  </a:lnTo>
                  <a:lnTo>
                    <a:pt x="452" y="2818"/>
                  </a:lnTo>
                  <a:lnTo>
                    <a:pt x="436" y="2810"/>
                  </a:lnTo>
                  <a:lnTo>
                    <a:pt x="438" y="2786"/>
                  </a:lnTo>
                  <a:lnTo>
                    <a:pt x="438" y="2780"/>
                  </a:lnTo>
                  <a:lnTo>
                    <a:pt x="436" y="2776"/>
                  </a:lnTo>
                  <a:lnTo>
                    <a:pt x="432" y="2770"/>
                  </a:lnTo>
                  <a:lnTo>
                    <a:pt x="432" y="2766"/>
                  </a:lnTo>
                  <a:lnTo>
                    <a:pt x="432" y="2758"/>
                  </a:lnTo>
                  <a:lnTo>
                    <a:pt x="434" y="2744"/>
                  </a:lnTo>
                  <a:lnTo>
                    <a:pt x="434" y="2732"/>
                  </a:lnTo>
                  <a:lnTo>
                    <a:pt x="432" y="2720"/>
                  </a:lnTo>
                  <a:lnTo>
                    <a:pt x="432" y="2712"/>
                  </a:lnTo>
                  <a:lnTo>
                    <a:pt x="432" y="2706"/>
                  </a:lnTo>
                  <a:lnTo>
                    <a:pt x="434" y="2700"/>
                  </a:lnTo>
                  <a:lnTo>
                    <a:pt x="438" y="2686"/>
                  </a:lnTo>
                  <a:lnTo>
                    <a:pt x="440" y="2672"/>
                  </a:lnTo>
                  <a:lnTo>
                    <a:pt x="440" y="2656"/>
                  </a:lnTo>
                  <a:lnTo>
                    <a:pt x="440" y="2638"/>
                  </a:lnTo>
                  <a:lnTo>
                    <a:pt x="442" y="2614"/>
                  </a:lnTo>
                  <a:lnTo>
                    <a:pt x="454" y="2542"/>
                  </a:lnTo>
                  <a:lnTo>
                    <a:pt x="460" y="2496"/>
                  </a:lnTo>
                  <a:lnTo>
                    <a:pt x="470" y="2456"/>
                  </a:lnTo>
                  <a:lnTo>
                    <a:pt x="478" y="2418"/>
                  </a:lnTo>
                  <a:lnTo>
                    <a:pt x="484" y="2380"/>
                  </a:lnTo>
                  <a:lnTo>
                    <a:pt x="490" y="2328"/>
                  </a:lnTo>
                  <a:lnTo>
                    <a:pt x="492" y="2302"/>
                  </a:lnTo>
                  <a:lnTo>
                    <a:pt x="494" y="2282"/>
                  </a:lnTo>
                  <a:lnTo>
                    <a:pt x="504" y="2236"/>
                  </a:lnTo>
                  <a:lnTo>
                    <a:pt x="504" y="2228"/>
                  </a:lnTo>
                  <a:lnTo>
                    <a:pt x="504" y="2218"/>
                  </a:lnTo>
                  <a:lnTo>
                    <a:pt x="504" y="2202"/>
                  </a:lnTo>
                  <a:lnTo>
                    <a:pt x="504" y="2180"/>
                  </a:lnTo>
                  <a:lnTo>
                    <a:pt x="508" y="2154"/>
                  </a:lnTo>
                  <a:lnTo>
                    <a:pt x="514" y="2126"/>
                  </a:lnTo>
                  <a:lnTo>
                    <a:pt x="526" y="2082"/>
                  </a:lnTo>
                  <a:lnTo>
                    <a:pt x="544" y="1970"/>
                  </a:lnTo>
                  <a:lnTo>
                    <a:pt x="556" y="1916"/>
                  </a:lnTo>
                  <a:lnTo>
                    <a:pt x="562" y="1878"/>
                  </a:lnTo>
                  <a:lnTo>
                    <a:pt x="566" y="1832"/>
                  </a:lnTo>
                  <a:lnTo>
                    <a:pt x="570" y="1764"/>
                  </a:lnTo>
                  <a:lnTo>
                    <a:pt x="572" y="1758"/>
                  </a:lnTo>
                  <a:lnTo>
                    <a:pt x="568" y="1748"/>
                  </a:lnTo>
                  <a:lnTo>
                    <a:pt x="568" y="1740"/>
                  </a:lnTo>
                  <a:lnTo>
                    <a:pt x="568" y="1736"/>
                  </a:lnTo>
                  <a:lnTo>
                    <a:pt x="570" y="1724"/>
                  </a:lnTo>
                  <a:lnTo>
                    <a:pt x="570" y="1702"/>
                  </a:lnTo>
                  <a:lnTo>
                    <a:pt x="568" y="1660"/>
                  </a:lnTo>
                  <a:lnTo>
                    <a:pt x="568" y="1638"/>
                  </a:lnTo>
                  <a:lnTo>
                    <a:pt x="570" y="1626"/>
                  </a:lnTo>
                  <a:lnTo>
                    <a:pt x="572" y="1616"/>
                  </a:lnTo>
                  <a:lnTo>
                    <a:pt x="572" y="1602"/>
                  </a:lnTo>
                  <a:lnTo>
                    <a:pt x="568" y="1562"/>
                  </a:lnTo>
                  <a:lnTo>
                    <a:pt x="566" y="1540"/>
                  </a:lnTo>
                  <a:lnTo>
                    <a:pt x="572" y="1536"/>
                  </a:lnTo>
                  <a:lnTo>
                    <a:pt x="576" y="1528"/>
                  </a:lnTo>
                  <a:lnTo>
                    <a:pt x="580" y="1510"/>
                  </a:lnTo>
                  <a:lnTo>
                    <a:pt x="582" y="1496"/>
                  </a:lnTo>
                  <a:lnTo>
                    <a:pt x="582" y="1488"/>
                  </a:lnTo>
                  <a:lnTo>
                    <a:pt x="610" y="1484"/>
                  </a:lnTo>
                  <a:lnTo>
                    <a:pt x="616" y="1482"/>
                  </a:lnTo>
                  <a:lnTo>
                    <a:pt x="620" y="1476"/>
                  </a:lnTo>
                  <a:lnTo>
                    <a:pt x="624" y="1470"/>
                  </a:lnTo>
                  <a:lnTo>
                    <a:pt x="662" y="1468"/>
                  </a:lnTo>
                  <a:lnTo>
                    <a:pt x="720" y="1468"/>
                  </a:lnTo>
                  <a:lnTo>
                    <a:pt x="744" y="1468"/>
                  </a:lnTo>
                  <a:lnTo>
                    <a:pt x="774" y="1466"/>
                  </a:lnTo>
                  <a:lnTo>
                    <a:pt x="810" y="1462"/>
                  </a:lnTo>
                  <a:lnTo>
                    <a:pt x="828" y="1458"/>
                  </a:lnTo>
                  <a:lnTo>
                    <a:pt x="846" y="1452"/>
                  </a:lnTo>
                  <a:lnTo>
                    <a:pt x="854" y="1448"/>
                  </a:lnTo>
                  <a:lnTo>
                    <a:pt x="860" y="1442"/>
                  </a:lnTo>
                  <a:lnTo>
                    <a:pt x="866" y="1438"/>
                  </a:lnTo>
                  <a:lnTo>
                    <a:pt x="870" y="1430"/>
                  </a:lnTo>
                  <a:lnTo>
                    <a:pt x="876" y="1418"/>
                  </a:lnTo>
                  <a:lnTo>
                    <a:pt x="880" y="1404"/>
                  </a:lnTo>
                  <a:lnTo>
                    <a:pt x="880" y="1390"/>
                  </a:lnTo>
                  <a:lnTo>
                    <a:pt x="880" y="1380"/>
                  </a:lnTo>
                  <a:lnTo>
                    <a:pt x="878" y="1370"/>
                  </a:lnTo>
                  <a:close/>
                  <a:moveTo>
                    <a:pt x="192" y="1304"/>
                  </a:moveTo>
                  <a:lnTo>
                    <a:pt x="192" y="1304"/>
                  </a:lnTo>
                  <a:lnTo>
                    <a:pt x="180" y="1304"/>
                  </a:lnTo>
                  <a:lnTo>
                    <a:pt x="176" y="1302"/>
                  </a:lnTo>
                  <a:lnTo>
                    <a:pt x="174" y="1300"/>
                  </a:lnTo>
                  <a:lnTo>
                    <a:pt x="170" y="1294"/>
                  </a:lnTo>
                  <a:lnTo>
                    <a:pt x="168" y="1292"/>
                  </a:lnTo>
                  <a:lnTo>
                    <a:pt x="160" y="1286"/>
                  </a:lnTo>
                  <a:lnTo>
                    <a:pt x="158" y="1280"/>
                  </a:lnTo>
                  <a:lnTo>
                    <a:pt x="156" y="1276"/>
                  </a:lnTo>
                  <a:lnTo>
                    <a:pt x="152" y="1274"/>
                  </a:lnTo>
                  <a:lnTo>
                    <a:pt x="154" y="1270"/>
                  </a:lnTo>
                  <a:lnTo>
                    <a:pt x="154" y="1266"/>
                  </a:lnTo>
                  <a:lnTo>
                    <a:pt x="152" y="1260"/>
                  </a:lnTo>
                  <a:lnTo>
                    <a:pt x="146" y="1246"/>
                  </a:lnTo>
                  <a:lnTo>
                    <a:pt x="150" y="1224"/>
                  </a:lnTo>
                  <a:lnTo>
                    <a:pt x="160" y="1214"/>
                  </a:lnTo>
                  <a:lnTo>
                    <a:pt x="170" y="1204"/>
                  </a:lnTo>
                  <a:lnTo>
                    <a:pt x="172" y="1200"/>
                  </a:lnTo>
                  <a:lnTo>
                    <a:pt x="174" y="1194"/>
                  </a:lnTo>
                  <a:lnTo>
                    <a:pt x="186" y="1212"/>
                  </a:lnTo>
                  <a:lnTo>
                    <a:pt x="196" y="1228"/>
                  </a:lnTo>
                  <a:lnTo>
                    <a:pt x="202" y="1242"/>
                  </a:lnTo>
                  <a:lnTo>
                    <a:pt x="206" y="1264"/>
                  </a:lnTo>
                  <a:lnTo>
                    <a:pt x="208" y="1274"/>
                  </a:lnTo>
                  <a:lnTo>
                    <a:pt x="208" y="1288"/>
                  </a:lnTo>
                  <a:lnTo>
                    <a:pt x="208" y="1308"/>
                  </a:lnTo>
                  <a:lnTo>
                    <a:pt x="210" y="1312"/>
                  </a:lnTo>
                  <a:lnTo>
                    <a:pt x="204" y="1308"/>
                  </a:lnTo>
                  <a:lnTo>
                    <a:pt x="192" y="1304"/>
                  </a:lnTo>
                  <a:close/>
                </a:path>
              </a:pathLst>
            </a:custGeom>
            <a:grpFill/>
            <a:ln w="9525">
              <a:noFill/>
              <a:round/>
              <a:headEnd/>
              <a:tailEnd/>
            </a:ln>
            <a:effectLst>
              <a:reflection blurRad="6350" stA="52000" endA="300" endPos="35000" dir="5400000" sy="-100000" algn="bl" rotWithShape="0"/>
            </a:effectLst>
          </p:spPr>
          <p:txBody>
            <a:bodyPr/>
            <a:lstStyle/>
            <a:p>
              <a:pPr>
                <a:defRPr/>
              </a:pPr>
              <a:endParaRPr lang="da-DK" sz="11200" dirty="0">
                <a:latin typeface="Calibri"/>
              </a:endParaRPr>
            </a:p>
          </p:txBody>
        </p:sp>
        <p:sp>
          <p:nvSpPr>
            <p:cNvPr id="81" name="Freeform 54"/>
            <p:cNvSpPr>
              <a:spLocks/>
            </p:cNvSpPr>
            <p:nvPr/>
          </p:nvSpPr>
          <p:spPr bwMode="auto">
            <a:xfrm>
              <a:off x="2090737" y="-1489075"/>
              <a:ext cx="368300" cy="454025"/>
            </a:xfrm>
            <a:custGeom>
              <a:avLst/>
              <a:gdLst>
                <a:gd name="T0" fmla="*/ 2147483647 w 232"/>
                <a:gd name="T1" fmla="*/ 0 h 286"/>
                <a:gd name="T2" fmla="*/ 2147483647 w 232"/>
                <a:gd name="T3" fmla="*/ 2147483647 h 286"/>
                <a:gd name="T4" fmla="*/ 2147483647 w 232"/>
                <a:gd name="T5" fmla="*/ 2147483647 h 286"/>
                <a:gd name="T6" fmla="*/ 2147483647 w 232"/>
                <a:gd name="T7" fmla="*/ 2147483647 h 286"/>
                <a:gd name="T8" fmla="*/ 2147483647 w 232"/>
                <a:gd name="T9" fmla="*/ 2147483647 h 286"/>
                <a:gd name="T10" fmla="*/ 2147483647 w 232"/>
                <a:gd name="T11" fmla="*/ 2147483647 h 286"/>
                <a:gd name="T12" fmla="*/ 2147483647 w 232"/>
                <a:gd name="T13" fmla="*/ 2147483647 h 286"/>
                <a:gd name="T14" fmla="*/ 2147483647 w 232"/>
                <a:gd name="T15" fmla="*/ 2147483647 h 286"/>
                <a:gd name="T16" fmla="*/ 2147483647 w 232"/>
                <a:gd name="T17" fmla="*/ 2147483647 h 286"/>
                <a:gd name="T18" fmla="*/ 2147483647 w 232"/>
                <a:gd name="T19" fmla="*/ 2147483647 h 286"/>
                <a:gd name="T20" fmla="*/ 2147483647 w 232"/>
                <a:gd name="T21" fmla="*/ 2147483647 h 286"/>
                <a:gd name="T22" fmla="*/ 2147483647 w 232"/>
                <a:gd name="T23" fmla="*/ 2147483647 h 286"/>
                <a:gd name="T24" fmla="*/ 2147483647 w 232"/>
                <a:gd name="T25" fmla="*/ 2147483647 h 286"/>
                <a:gd name="T26" fmla="*/ 2147483647 w 232"/>
                <a:gd name="T27" fmla="*/ 2147483647 h 286"/>
                <a:gd name="T28" fmla="*/ 2147483647 w 232"/>
                <a:gd name="T29" fmla="*/ 2147483647 h 286"/>
                <a:gd name="T30" fmla="*/ 2147483647 w 232"/>
                <a:gd name="T31" fmla="*/ 2147483647 h 286"/>
                <a:gd name="T32" fmla="*/ 2147483647 w 232"/>
                <a:gd name="T33" fmla="*/ 2147483647 h 286"/>
                <a:gd name="T34" fmla="*/ 2147483647 w 232"/>
                <a:gd name="T35" fmla="*/ 2147483647 h 286"/>
                <a:gd name="T36" fmla="*/ 2147483647 w 232"/>
                <a:gd name="T37" fmla="*/ 2147483647 h 286"/>
                <a:gd name="T38" fmla="*/ 2147483647 w 232"/>
                <a:gd name="T39" fmla="*/ 2147483647 h 286"/>
                <a:gd name="T40" fmla="*/ 2147483647 w 232"/>
                <a:gd name="T41" fmla="*/ 2147483647 h 286"/>
                <a:gd name="T42" fmla="*/ 2147483647 w 232"/>
                <a:gd name="T43" fmla="*/ 2147483647 h 286"/>
                <a:gd name="T44" fmla="*/ 2147483647 w 232"/>
                <a:gd name="T45" fmla="*/ 2147483647 h 286"/>
                <a:gd name="T46" fmla="*/ 2147483647 w 232"/>
                <a:gd name="T47" fmla="*/ 2147483647 h 286"/>
                <a:gd name="T48" fmla="*/ 2147483647 w 232"/>
                <a:gd name="T49" fmla="*/ 2147483647 h 286"/>
                <a:gd name="T50" fmla="*/ 2147483647 w 232"/>
                <a:gd name="T51" fmla="*/ 2147483647 h 286"/>
                <a:gd name="T52" fmla="*/ 2147483647 w 232"/>
                <a:gd name="T53" fmla="*/ 2147483647 h 286"/>
                <a:gd name="T54" fmla="*/ 2147483647 w 232"/>
                <a:gd name="T55" fmla="*/ 2147483647 h 286"/>
                <a:gd name="T56" fmla="*/ 2147483647 w 232"/>
                <a:gd name="T57" fmla="*/ 2147483647 h 286"/>
                <a:gd name="T58" fmla="*/ 2147483647 w 232"/>
                <a:gd name="T59" fmla="*/ 2147483647 h 286"/>
                <a:gd name="T60" fmla="*/ 2147483647 w 232"/>
                <a:gd name="T61" fmla="*/ 2147483647 h 286"/>
                <a:gd name="T62" fmla="*/ 2147483647 w 232"/>
                <a:gd name="T63" fmla="*/ 2147483647 h 286"/>
                <a:gd name="T64" fmla="*/ 2147483647 w 232"/>
                <a:gd name="T65" fmla="*/ 2147483647 h 286"/>
                <a:gd name="T66" fmla="*/ 2147483647 w 232"/>
                <a:gd name="T67" fmla="*/ 2147483647 h 286"/>
                <a:gd name="T68" fmla="*/ 0 w 232"/>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2"/>
                <a:gd name="T106" fmla="*/ 0 h 286"/>
                <a:gd name="T107" fmla="*/ 232 w 232"/>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2" h="286">
                  <a:moveTo>
                    <a:pt x="32" y="0"/>
                  </a:moveTo>
                  <a:lnTo>
                    <a:pt x="32" y="0"/>
                  </a:lnTo>
                  <a:lnTo>
                    <a:pt x="90" y="50"/>
                  </a:lnTo>
                  <a:lnTo>
                    <a:pt x="134" y="86"/>
                  </a:lnTo>
                  <a:lnTo>
                    <a:pt x="154" y="100"/>
                  </a:lnTo>
                  <a:lnTo>
                    <a:pt x="166" y="108"/>
                  </a:lnTo>
                  <a:lnTo>
                    <a:pt x="190" y="86"/>
                  </a:lnTo>
                  <a:lnTo>
                    <a:pt x="206" y="68"/>
                  </a:lnTo>
                  <a:lnTo>
                    <a:pt x="216" y="58"/>
                  </a:lnTo>
                  <a:lnTo>
                    <a:pt x="218" y="58"/>
                  </a:lnTo>
                  <a:lnTo>
                    <a:pt x="220" y="60"/>
                  </a:lnTo>
                  <a:lnTo>
                    <a:pt x="222" y="66"/>
                  </a:lnTo>
                  <a:lnTo>
                    <a:pt x="222" y="82"/>
                  </a:lnTo>
                  <a:lnTo>
                    <a:pt x="220" y="108"/>
                  </a:lnTo>
                  <a:lnTo>
                    <a:pt x="218" y="138"/>
                  </a:lnTo>
                  <a:lnTo>
                    <a:pt x="208" y="136"/>
                  </a:lnTo>
                  <a:lnTo>
                    <a:pt x="214" y="172"/>
                  </a:lnTo>
                  <a:lnTo>
                    <a:pt x="222" y="194"/>
                  </a:lnTo>
                  <a:lnTo>
                    <a:pt x="226" y="218"/>
                  </a:lnTo>
                  <a:lnTo>
                    <a:pt x="230" y="248"/>
                  </a:lnTo>
                  <a:lnTo>
                    <a:pt x="232" y="286"/>
                  </a:lnTo>
                  <a:lnTo>
                    <a:pt x="222" y="230"/>
                  </a:lnTo>
                  <a:lnTo>
                    <a:pt x="212" y="188"/>
                  </a:lnTo>
                  <a:lnTo>
                    <a:pt x="206" y="170"/>
                  </a:lnTo>
                  <a:lnTo>
                    <a:pt x="198" y="160"/>
                  </a:lnTo>
                  <a:lnTo>
                    <a:pt x="198" y="126"/>
                  </a:lnTo>
                  <a:lnTo>
                    <a:pt x="188" y="120"/>
                  </a:lnTo>
                  <a:lnTo>
                    <a:pt x="178" y="114"/>
                  </a:lnTo>
                  <a:lnTo>
                    <a:pt x="168" y="112"/>
                  </a:lnTo>
                  <a:lnTo>
                    <a:pt x="164" y="112"/>
                  </a:lnTo>
                  <a:lnTo>
                    <a:pt x="160" y="114"/>
                  </a:lnTo>
                  <a:lnTo>
                    <a:pt x="148" y="122"/>
                  </a:lnTo>
                  <a:lnTo>
                    <a:pt x="138" y="132"/>
                  </a:lnTo>
                  <a:lnTo>
                    <a:pt x="126" y="142"/>
                  </a:lnTo>
                  <a:lnTo>
                    <a:pt x="112" y="154"/>
                  </a:lnTo>
                  <a:lnTo>
                    <a:pt x="122" y="148"/>
                  </a:lnTo>
                  <a:lnTo>
                    <a:pt x="138" y="140"/>
                  </a:lnTo>
                  <a:lnTo>
                    <a:pt x="144" y="138"/>
                  </a:lnTo>
                  <a:lnTo>
                    <a:pt x="146" y="136"/>
                  </a:lnTo>
                  <a:lnTo>
                    <a:pt x="170" y="158"/>
                  </a:lnTo>
                  <a:lnTo>
                    <a:pt x="168" y="162"/>
                  </a:lnTo>
                  <a:lnTo>
                    <a:pt x="164" y="170"/>
                  </a:lnTo>
                  <a:lnTo>
                    <a:pt x="162" y="182"/>
                  </a:lnTo>
                  <a:lnTo>
                    <a:pt x="158" y="196"/>
                  </a:lnTo>
                  <a:lnTo>
                    <a:pt x="158" y="218"/>
                  </a:lnTo>
                  <a:lnTo>
                    <a:pt x="158" y="244"/>
                  </a:lnTo>
                  <a:lnTo>
                    <a:pt x="162" y="276"/>
                  </a:lnTo>
                  <a:lnTo>
                    <a:pt x="134" y="216"/>
                  </a:lnTo>
                  <a:lnTo>
                    <a:pt x="112" y="172"/>
                  </a:lnTo>
                  <a:lnTo>
                    <a:pt x="102" y="156"/>
                  </a:lnTo>
                  <a:lnTo>
                    <a:pt x="96" y="146"/>
                  </a:lnTo>
                  <a:lnTo>
                    <a:pt x="52" y="98"/>
                  </a:lnTo>
                  <a:lnTo>
                    <a:pt x="28" y="72"/>
                  </a:lnTo>
                  <a:lnTo>
                    <a:pt x="16" y="56"/>
                  </a:lnTo>
                  <a:lnTo>
                    <a:pt x="12" y="50"/>
                  </a:lnTo>
                  <a:lnTo>
                    <a:pt x="8" y="40"/>
                  </a:lnTo>
                  <a:lnTo>
                    <a:pt x="0" y="30"/>
                  </a:lnTo>
                  <a:lnTo>
                    <a:pt x="3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sp>
          <p:nvSpPr>
            <p:cNvPr id="82" name="Freeform 55"/>
            <p:cNvSpPr>
              <a:spLocks/>
            </p:cNvSpPr>
            <p:nvPr/>
          </p:nvSpPr>
          <p:spPr bwMode="auto">
            <a:xfrm>
              <a:off x="2309812" y="-1311275"/>
              <a:ext cx="149225" cy="422275"/>
            </a:xfrm>
            <a:custGeom>
              <a:avLst/>
              <a:gdLst>
                <a:gd name="T0" fmla="*/ 0 w 94"/>
                <a:gd name="T1" fmla="*/ 2147483647 h 266"/>
                <a:gd name="T2" fmla="*/ 2147483647 w 94"/>
                <a:gd name="T3" fmla="*/ 2147483647 h 266"/>
                <a:gd name="T4" fmla="*/ 2147483647 w 94"/>
                <a:gd name="T5" fmla="*/ 2147483647 h 266"/>
                <a:gd name="T6" fmla="*/ 2147483647 w 94"/>
                <a:gd name="T7" fmla="*/ 2147483647 h 266"/>
                <a:gd name="T8" fmla="*/ 2147483647 w 94"/>
                <a:gd name="T9" fmla="*/ 2147483647 h 266"/>
                <a:gd name="T10" fmla="*/ 2147483647 w 94"/>
                <a:gd name="T11" fmla="*/ 2147483647 h 266"/>
                <a:gd name="T12" fmla="*/ 2147483647 w 94"/>
                <a:gd name="T13" fmla="*/ 2147483647 h 266"/>
                <a:gd name="T14" fmla="*/ 2147483647 w 94"/>
                <a:gd name="T15" fmla="*/ 2147483647 h 266"/>
                <a:gd name="T16" fmla="*/ 2147483647 w 94"/>
                <a:gd name="T17" fmla="*/ 2147483647 h 266"/>
                <a:gd name="T18" fmla="*/ 2147483647 w 94"/>
                <a:gd name="T19" fmla="*/ 2147483647 h 266"/>
                <a:gd name="T20" fmla="*/ 2147483647 w 94"/>
                <a:gd name="T21" fmla="*/ 2147483647 h 266"/>
                <a:gd name="T22" fmla="*/ 2147483647 w 94"/>
                <a:gd name="T23" fmla="*/ 2147483647 h 266"/>
                <a:gd name="T24" fmla="*/ 2147483647 w 94"/>
                <a:gd name="T25" fmla="*/ 2147483647 h 266"/>
                <a:gd name="T26" fmla="*/ 2147483647 w 94"/>
                <a:gd name="T27" fmla="*/ 2147483647 h 266"/>
                <a:gd name="T28" fmla="*/ 2147483647 w 94"/>
                <a:gd name="T29" fmla="*/ 2147483647 h 266"/>
                <a:gd name="T30" fmla="*/ 2147483647 w 94"/>
                <a:gd name="T31" fmla="*/ 2147483647 h 266"/>
                <a:gd name="T32" fmla="*/ 2147483647 w 94"/>
                <a:gd name="T33" fmla="*/ 2147483647 h 266"/>
                <a:gd name="T34" fmla="*/ 2147483647 w 94"/>
                <a:gd name="T35" fmla="*/ 0 h 266"/>
                <a:gd name="T36" fmla="*/ 2147483647 w 94"/>
                <a:gd name="T37" fmla="*/ 0 h 266"/>
                <a:gd name="T38" fmla="*/ 2147483647 w 94"/>
                <a:gd name="T39" fmla="*/ 2147483647 h 266"/>
                <a:gd name="T40" fmla="*/ 0 w 94"/>
                <a:gd name="T41" fmla="*/ 2147483647 h 266"/>
                <a:gd name="T42" fmla="*/ 0 w 94"/>
                <a:gd name="T43" fmla="*/ 2147483647 h 2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4"/>
                <a:gd name="T67" fmla="*/ 0 h 266"/>
                <a:gd name="T68" fmla="*/ 94 w 94"/>
                <a:gd name="T69" fmla="*/ 266 h 2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4" h="266">
                  <a:moveTo>
                    <a:pt x="0" y="16"/>
                  </a:moveTo>
                  <a:lnTo>
                    <a:pt x="32" y="46"/>
                  </a:lnTo>
                  <a:lnTo>
                    <a:pt x="28" y="58"/>
                  </a:lnTo>
                  <a:lnTo>
                    <a:pt x="20" y="86"/>
                  </a:lnTo>
                  <a:lnTo>
                    <a:pt x="18" y="104"/>
                  </a:lnTo>
                  <a:lnTo>
                    <a:pt x="18" y="124"/>
                  </a:lnTo>
                  <a:lnTo>
                    <a:pt x="20" y="144"/>
                  </a:lnTo>
                  <a:lnTo>
                    <a:pt x="24" y="164"/>
                  </a:lnTo>
                  <a:lnTo>
                    <a:pt x="74" y="266"/>
                  </a:lnTo>
                  <a:lnTo>
                    <a:pt x="94" y="174"/>
                  </a:lnTo>
                  <a:lnTo>
                    <a:pt x="60" y="48"/>
                  </a:lnTo>
                  <a:lnTo>
                    <a:pt x="60" y="14"/>
                  </a:lnTo>
                  <a:lnTo>
                    <a:pt x="56" y="10"/>
                  </a:lnTo>
                  <a:lnTo>
                    <a:pt x="50" y="6"/>
                  </a:lnTo>
                  <a:lnTo>
                    <a:pt x="42" y="2"/>
                  </a:lnTo>
                  <a:lnTo>
                    <a:pt x="32" y="0"/>
                  </a:lnTo>
                  <a:lnTo>
                    <a:pt x="22" y="0"/>
                  </a:lnTo>
                  <a:lnTo>
                    <a:pt x="12" y="6"/>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endParaRPr lang="en-US" altLang="en-US" sz="3600">
                <a:latin typeface="Calibri" charset="0"/>
              </a:endParaRPr>
            </a:p>
          </p:txBody>
        </p:sp>
      </p:grpSp>
      <p:sp>
        <p:nvSpPr>
          <p:cNvPr id="83" name="Rektangel 47"/>
          <p:cNvSpPr>
            <a:spLocks noChangeArrowheads="1"/>
          </p:cNvSpPr>
          <p:nvPr/>
        </p:nvSpPr>
        <p:spPr bwMode="auto">
          <a:xfrm>
            <a:off x="17790182" y="6384490"/>
            <a:ext cx="3578224" cy="33670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801688" eaLnBrk="0" hangingPunct="0">
              <a:defRPr sz="2400">
                <a:solidFill>
                  <a:schemeClr val="tx1"/>
                </a:solidFill>
                <a:latin typeface="Arial" charset="0"/>
                <a:ea typeface="ＭＳ Ｐゴシック" charset="-128"/>
              </a:defRPr>
            </a:lvl1pPr>
            <a:lvl2pPr marL="37931725" indent="-37474525" defTabSz="801688"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571500" indent="-571500" algn="l" eaLnBrk="1" hangingPunct="1">
              <a:spcBef>
                <a:spcPct val="20000"/>
              </a:spcBef>
              <a:buFont typeface="Arial" panose="020B0604020202020204" pitchFamily="34" charset="0"/>
              <a:buChar char="•"/>
            </a:pPr>
            <a:r>
              <a:rPr lang="fr-FR" altLang="en-US" sz="2800" b="1" noProof="1" smtClean="0">
                <a:latin typeface="Calibri" charset="0"/>
              </a:rPr>
              <a:t>3</a:t>
            </a:r>
            <a:r>
              <a:rPr lang="fr-FR" altLang="en-US" sz="2800" b="1" noProof="1">
                <a:latin typeface="Calibri" charset="0"/>
              </a:rPr>
              <a:t>0</a:t>
            </a:r>
            <a:r>
              <a:rPr lang="fr-FR" altLang="en-US" sz="2800" b="1" noProof="1" smtClean="0">
                <a:latin typeface="Calibri" charset="0"/>
              </a:rPr>
              <a:t>0 </a:t>
            </a:r>
            <a:r>
              <a:rPr lang="fr-FR" altLang="en-US" sz="2800" b="1" noProof="1">
                <a:latin typeface="Calibri" charset="0"/>
              </a:rPr>
              <a:t>customers</a:t>
            </a:r>
          </a:p>
          <a:p>
            <a:pPr marL="571500" indent="-571500" algn="l" eaLnBrk="1" hangingPunct="1">
              <a:spcBef>
                <a:spcPct val="20000"/>
              </a:spcBef>
              <a:buFont typeface="Arial" panose="020B0604020202020204" pitchFamily="34" charset="0"/>
              <a:buChar char="•"/>
            </a:pPr>
            <a:r>
              <a:rPr lang="fr-FR" altLang="en-US" sz="2800" b="1" noProof="1">
                <a:latin typeface="Calibri" charset="0"/>
              </a:rPr>
              <a:t>International across Europe</a:t>
            </a:r>
          </a:p>
          <a:p>
            <a:pPr marL="571500" indent="-571500" algn="l" eaLnBrk="1" hangingPunct="1">
              <a:spcBef>
                <a:spcPct val="20000"/>
              </a:spcBef>
              <a:buFont typeface="Arial" panose="020B0604020202020204" pitchFamily="34" charset="0"/>
              <a:buChar char="•"/>
            </a:pPr>
            <a:r>
              <a:rPr lang="fr-FR" altLang="en-US" sz="2800" b="1" noProof="1">
                <a:latin typeface="Calibri" charset="0"/>
              </a:rPr>
              <a:t>Release web version for other ERPs</a:t>
            </a:r>
          </a:p>
          <a:p>
            <a:pPr marL="571500" indent="-571500" algn="l" eaLnBrk="1" hangingPunct="1">
              <a:spcBef>
                <a:spcPct val="20000"/>
              </a:spcBef>
              <a:buFont typeface="Arial" panose="020B0604020202020204" pitchFamily="34" charset="0"/>
              <a:buChar char="•"/>
            </a:pPr>
            <a:r>
              <a:rPr lang="fr-FR" altLang="en-US" sz="2800" b="1" noProof="1">
                <a:latin typeface="Calibri" charset="0"/>
              </a:rPr>
              <a:t>Sales € </a:t>
            </a:r>
            <a:r>
              <a:rPr lang="fr-FR" altLang="en-US" sz="2800" b="1" noProof="1" smtClean="0">
                <a:latin typeface="Calibri" charset="0"/>
              </a:rPr>
              <a:t>10m</a:t>
            </a:r>
            <a:endParaRPr lang="fr-FR" altLang="en-US" sz="2800" b="1" noProof="1">
              <a:latin typeface="Calibri" charset="0"/>
            </a:endParaRPr>
          </a:p>
        </p:txBody>
      </p:sp>
      <p:sp>
        <p:nvSpPr>
          <p:cNvPr id="84" name="Rektangel 47"/>
          <p:cNvSpPr>
            <a:spLocks noChangeArrowheads="1"/>
          </p:cNvSpPr>
          <p:nvPr/>
        </p:nvSpPr>
        <p:spPr bwMode="auto">
          <a:xfrm>
            <a:off x="10438730" y="3262394"/>
            <a:ext cx="3568700" cy="1471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801688" eaLnBrk="0" hangingPunct="0">
              <a:defRPr sz="2400">
                <a:solidFill>
                  <a:schemeClr val="tx1"/>
                </a:solidFill>
                <a:latin typeface="Arial" charset="0"/>
                <a:ea typeface="ＭＳ Ｐゴシック" charset="-128"/>
              </a:defRPr>
            </a:lvl1pPr>
            <a:lvl2pPr marL="37931725" indent="-37474525" defTabSz="801688"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342900" indent="-342900" algn="l" eaLnBrk="1" hangingPunct="1">
              <a:spcBef>
                <a:spcPct val="20000"/>
              </a:spcBef>
              <a:buFont typeface="Arial" panose="020B0604020202020204" pitchFamily="34" charset="0"/>
              <a:buChar char="•"/>
            </a:pPr>
            <a:r>
              <a:rPr lang="fr-FR" altLang="en-US" sz="2800" b="1" noProof="1">
                <a:latin typeface="Calibri" charset="0"/>
              </a:rPr>
              <a:t>5</a:t>
            </a:r>
            <a:r>
              <a:rPr lang="fr-FR" altLang="en-US" sz="2800" b="1" noProof="1" smtClean="0">
                <a:latin typeface="Calibri" charset="0"/>
              </a:rPr>
              <a:t>0 </a:t>
            </a:r>
            <a:r>
              <a:rPr lang="fr-FR" altLang="en-US" sz="2800" b="1" noProof="1">
                <a:latin typeface="Calibri" charset="0"/>
              </a:rPr>
              <a:t>customers</a:t>
            </a:r>
          </a:p>
          <a:p>
            <a:pPr marL="342900" indent="-342900" algn="l" eaLnBrk="1" hangingPunct="1">
              <a:spcBef>
                <a:spcPct val="20000"/>
              </a:spcBef>
              <a:buFont typeface="Arial" panose="020B0604020202020204" pitchFamily="34" charset="0"/>
              <a:buChar char="•"/>
            </a:pPr>
            <a:r>
              <a:rPr lang="fr-FR" altLang="en-US" sz="2800" b="1" noProof="1">
                <a:latin typeface="Calibri" charset="0"/>
              </a:rPr>
              <a:t>International </a:t>
            </a:r>
            <a:r>
              <a:rPr lang="fr-FR" altLang="en-US" sz="2800" b="1" noProof="1" smtClean="0">
                <a:latin typeface="Calibri" charset="0"/>
              </a:rPr>
              <a:t>development</a:t>
            </a:r>
            <a:endParaRPr lang="fr-FR" altLang="en-US" sz="2800" b="1" noProof="1">
              <a:latin typeface="Calibri" charset="0"/>
            </a:endParaRPr>
          </a:p>
        </p:txBody>
      </p:sp>
      <p:sp>
        <p:nvSpPr>
          <p:cNvPr id="85" name="Rektangel 47"/>
          <p:cNvSpPr>
            <a:spLocks noChangeArrowheads="1"/>
          </p:cNvSpPr>
          <p:nvPr/>
        </p:nvSpPr>
        <p:spPr bwMode="auto">
          <a:xfrm>
            <a:off x="14126242" y="3190877"/>
            <a:ext cx="3578224"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801688" eaLnBrk="0" hangingPunct="0">
              <a:defRPr sz="2400">
                <a:solidFill>
                  <a:schemeClr val="tx1"/>
                </a:solidFill>
                <a:latin typeface="Arial" charset="0"/>
                <a:ea typeface="ＭＳ Ｐゴシック" charset="-128"/>
              </a:defRPr>
            </a:lvl1pPr>
            <a:lvl2pPr marL="37931725" indent="-37474525" defTabSz="801688"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342900" indent="-342900" algn="l" eaLnBrk="1" hangingPunct="1">
              <a:spcBef>
                <a:spcPct val="20000"/>
              </a:spcBef>
              <a:buFont typeface="Arial" panose="020B0604020202020204" pitchFamily="34" charset="0"/>
              <a:buChar char="•"/>
            </a:pPr>
            <a:r>
              <a:rPr lang="fr-FR" altLang="en-US" sz="2800" b="1" noProof="1" smtClean="0">
                <a:latin typeface="Calibri" charset="0"/>
              </a:rPr>
              <a:t>120 </a:t>
            </a:r>
            <a:r>
              <a:rPr lang="fr-FR" altLang="en-US" sz="2800" b="1" noProof="1">
                <a:latin typeface="Calibri" charset="0"/>
              </a:rPr>
              <a:t>customers</a:t>
            </a:r>
            <a:endParaRPr altLang="en-US" sz="2800" b="1" noProof="1">
              <a:latin typeface="Calibri" charset="0"/>
            </a:endParaRPr>
          </a:p>
        </p:txBody>
      </p:sp>
    </p:spTree>
    <p:extLst>
      <p:ext uri="{BB962C8B-B14F-4D97-AF65-F5344CB8AC3E}">
        <p14:creationId xmlns:p14="http://schemas.microsoft.com/office/powerpoint/2010/main" xmlns="" val="1344739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1000"/>
                                        <p:tgtEl>
                                          <p:spTgt spid="47"/>
                                        </p:tgtEl>
                                      </p:cBhvr>
                                    </p:animEffect>
                                  </p:childTnLst>
                                </p:cTn>
                              </p:par>
                              <p:par>
                                <p:cTn id="8" presetID="47"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anim calcmode="lin" valueType="num">
                                      <p:cBhvr>
                                        <p:cTn id="11" dur="1000" fill="hold"/>
                                        <p:tgtEl>
                                          <p:spTgt spid="4"/>
                                        </p:tgtEl>
                                        <p:attrNameLst>
                                          <p:attrName>ppt_x</p:attrName>
                                        </p:attrNameLst>
                                      </p:cBhvr>
                                      <p:tavLst>
                                        <p:tav tm="0">
                                          <p:val>
                                            <p:strVal val="#ppt_x"/>
                                          </p:val>
                                        </p:tav>
                                        <p:tav tm="100000">
                                          <p:val>
                                            <p:strVal val="#ppt_x"/>
                                          </p:val>
                                        </p:tav>
                                      </p:tavLst>
                                    </p:anim>
                                    <p:anim calcmode="lin" valueType="num">
                                      <p:cBhvr>
                                        <p:cTn id="12" dur="1000" fill="hold"/>
                                        <p:tgtEl>
                                          <p:spTgt spid="4"/>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42"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anim calcmode="lin" valueType="num">
                                      <p:cBhvr>
                                        <p:cTn id="17" dur="1000" fill="hold"/>
                                        <p:tgtEl>
                                          <p:spTgt spid="8"/>
                                        </p:tgtEl>
                                        <p:attrNameLst>
                                          <p:attrName>ppt_x</p:attrName>
                                        </p:attrNameLst>
                                      </p:cBhvr>
                                      <p:tavLst>
                                        <p:tav tm="0">
                                          <p:val>
                                            <p:strVal val="#ppt_x"/>
                                          </p:val>
                                        </p:tav>
                                        <p:tav tm="100000">
                                          <p:val>
                                            <p:strVal val="#ppt_x"/>
                                          </p:val>
                                        </p:tav>
                                      </p:tavLst>
                                    </p:anim>
                                    <p:anim calcmode="lin" valueType="num">
                                      <p:cBhvr>
                                        <p:cTn id="18" dur="1000" fill="hold"/>
                                        <p:tgtEl>
                                          <p:spTgt spid="8"/>
                                        </p:tgtEl>
                                        <p:attrNameLst>
                                          <p:attrName>ppt_y</p:attrName>
                                        </p:attrNameLst>
                                      </p:cBhvr>
                                      <p:tavLst>
                                        <p:tav tm="0">
                                          <p:val>
                                            <p:strVal val="#ppt_y+.1"/>
                                          </p:val>
                                        </p:tav>
                                        <p:tav tm="100000">
                                          <p:val>
                                            <p:strVal val="#ppt_y"/>
                                          </p:val>
                                        </p:tav>
                                      </p:tavLst>
                                    </p:anim>
                                  </p:childTnLst>
                                </p:cTn>
                              </p:par>
                              <p:par>
                                <p:cTn id="19" presetID="47"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1000"/>
                                        <p:tgtEl>
                                          <p:spTgt spid="18"/>
                                        </p:tgtEl>
                                      </p:cBhvr>
                                    </p:animEffect>
                                    <p:anim calcmode="lin" valueType="num">
                                      <p:cBhvr>
                                        <p:cTn id="22" dur="1000" fill="hold"/>
                                        <p:tgtEl>
                                          <p:spTgt spid="18"/>
                                        </p:tgtEl>
                                        <p:attrNameLst>
                                          <p:attrName>ppt_x</p:attrName>
                                        </p:attrNameLst>
                                      </p:cBhvr>
                                      <p:tavLst>
                                        <p:tav tm="0">
                                          <p:val>
                                            <p:strVal val="#ppt_x"/>
                                          </p:val>
                                        </p:tav>
                                        <p:tav tm="100000">
                                          <p:val>
                                            <p:strVal val="#ppt_x"/>
                                          </p:val>
                                        </p:tav>
                                      </p:tavLst>
                                    </p:anim>
                                    <p:anim calcmode="lin" valueType="num">
                                      <p:cBhvr>
                                        <p:cTn id="23" dur="1000" fill="hold"/>
                                        <p:tgtEl>
                                          <p:spTgt spid="18"/>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fade">
                                      <p:cBhvr>
                                        <p:cTn id="26" dur="2000"/>
                                        <p:tgtEl>
                                          <p:spTgt spid="43"/>
                                        </p:tgtEl>
                                      </p:cBhvr>
                                    </p:animEffect>
                                    <p:anim calcmode="lin" valueType="num">
                                      <p:cBhvr>
                                        <p:cTn id="27" dur="2000" fill="hold"/>
                                        <p:tgtEl>
                                          <p:spTgt spid="43"/>
                                        </p:tgtEl>
                                        <p:attrNameLst>
                                          <p:attrName>ppt_x</p:attrName>
                                        </p:attrNameLst>
                                      </p:cBhvr>
                                      <p:tavLst>
                                        <p:tav tm="0">
                                          <p:val>
                                            <p:strVal val="#ppt_x"/>
                                          </p:val>
                                        </p:tav>
                                        <p:tav tm="100000">
                                          <p:val>
                                            <p:strVal val="#ppt_x"/>
                                          </p:val>
                                        </p:tav>
                                      </p:tavLst>
                                    </p:anim>
                                    <p:anim calcmode="lin" valueType="num">
                                      <p:cBhvr>
                                        <p:cTn id="28" dur="2000" fill="hold"/>
                                        <p:tgtEl>
                                          <p:spTgt spid="43"/>
                                        </p:tgtEl>
                                        <p:attrNameLst>
                                          <p:attrName>ppt_y</p:attrName>
                                        </p:attrNameLst>
                                      </p:cBhvr>
                                      <p:tavLst>
                                        <p:tav tm="0">
                                          <p:val>
                                            <p:strVal val="#ppt_y+.1"/>
                                          </p:val>
                                        </p:tav>
                                        <p:tav tm="100000">
                                          <p:val>
                                            <p:strVal val="#ppt_y"/>
                                          </p:val>
                                        </p:tav>
                                      </p:tavLst>
                                    </p:anim>
                                  </p:childTnLst>
                                </p:cTn>
                              </p:par>
                              <p:par>
                                <p:cTn id="29" presetID="22" presetClass="entr" presetSubtype="4" fill="hold"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wipe(down)">
                                      <p:cBhvr>
                                        <p:cTn id="31" dur="50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par>
                                <p:cTn id="37" presetID="0" presetClass="path" presetSubtype="0" accel="50000" decel="50000" fill="hold" nodeType="withEffect">
                                  <p:stCondLst>
                                    <p:cond delay="0"/>
                                  </p:stCondLst>
                                  <p:childTnLst>
                                    <p:animMotion origin="layout" path="M -0.21804 3.14815E-6 L -0.00137 3.14815E-6 " pathEditMode="relative" rAng="0" ptsTypes="AA">
                                      <p:cBhvr>
                                        <p:cTn id="38" dur="500" fill="hold"/>
                                        <p:tgtEl>
                                          <p:spTgt spid="31"/>
                                        </p:tgtEl>
                                        <p:attrNameLst>
                                          <p:attrName>ppt_x</p:attrName>
                                          <p:attrName>ppt_y</p:attrName>
                                        </p:attrNameLst>
                                      </p:cBhvr>
                                      <p:rCtr x="10833" y="0"/>
                                    </p:animMotion>
                                  </p:childTnLst>
                                </p:cTn>
                              </p:par>
                              <p:par>
                                <p:cTn id="39" presetID="47" presetClass="entr" presetSubtype="0" fill="hold" nodeType="with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1000"/>
                                        <p:tgtEl>
                                          <p:spTgt spid="25"/>
                                        </p:tgtEl>
                                      </p:cBhvr>
                                    </p:animEffect>
                                    <p:anim calcmode="lin" valueType="num">
                                      <p:cBhvr>
                                        <p:cTn id="42" dur="1000" fill="hold"/>
                                        <p:tgtEl>
                                          <p:spTgt spid="25"/>
                                        </p:tgtEl>
                                        <p:attrNameLst>
                                          <p:attrName>ppt_x</p:attrName>
                                        </p:attrNameLst>
                                      </p:cBhvr>
                                      <p:tavLst>
                                        <p:tav tm="0">
                                          <p:val>
                                            <p:strVal val="#ppt_x"/>
                                          </p:val>
                                        </p:tav>
                                        <p:tav tm="100000">
                                          <p:val>
                                            <p:strVal val="#ppt_x"/>
                                          </p:val>
                                        </p:tav>
                                      </p:tavLst>
                                    </p:anim>
                                    <p:anim calcmode="lin" valueType="num">
                                      <p:cBhvr>
                                        <p:cTn id="43" dur="1000" fill="hold"/>
                                        <p:tgtEl>
                                          <p:spTgt spid="25"/>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fade">
                                      <p:cBhvr>
                                        <p:cTn id="46" dur="2000"/>
                                        <p:tgtEl>
                                          <p:spTgt spid="44"/>
                                        </p:tgtEl>
                                      </p:cBhvr>
                                    </p:animEffect>
                                    <p:anim calcmode="lin" valueType="num">
                                      <p:cBhvr>
                                        <p:cTn id="47" dur="2000" fill="hold"/>
                                        <p:tgtEl>
                                          <p:spTgt spid="44"/>
                                        </p:tgtEl>
                                        <p:attrNameLst>
                                          <p:attrName>ppt_x</p:attrName>
                                        </p:attrNameLst>
                                      </p:cBhvr>
                                      <p:tavLst>
                                        <p:tav tm="0">
                                          <p:val>
                                            <p:strVal val="#ppt_x"/>
                                          </p:val>
                                        </p:tav>
                                        <p:tav tm="100000">
                                          <p:val>
                                            <p:strVal val="#ppt_x"/>
                                          </p:val>
                                        </p:tav>
                                      </p:tavLst>
                                    </p:anim>
                                    <p:anim calcmode="lin" valueType="num">
                                      <p:cBhvr>
                                        <p:cTn id="48" dur="2000" fill="hold"/>
                                        <p:tgtEl>
                                          <p:spTgt spid="44"/>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60"/>
                                        </p:tgtEl>
                                        <p:attrNameLst>
                                          <p:attrName>style.visibility</p:attrName>
                                        </p:attrNameLst>
                                      </p:cBhvr>
                                      <p:to>
                                        <p:strVal val="visible"/>
                                      </p:to>
                                    </p:set>
                                    <p:animEffect transition="in" filter="fade">
                                      <p:cBhvr>
                                        <p:cTn id="51" dur="500"/>
                                        <p:tgtEl>
                                          <p:spTgt spid="60"/>
                                        </p:tgtEl>
                                      </p:cBhvr>
                                    </p:animEffect>
                                    <p:anim calcmode="lin" valueType="num">
                                      <p:cBhvr>
                                        <p:cTn id="52" dur="500" fill="hold"/>
                                        <p:tgtEl>
                                          <p:spTgt spid="60"/>
                                        </p:tgtEl>
                                        <p:attrNameLst>
                                          <p:attrName>ppt_x</p:attrName>
                                        </p:attrNameLst>
                                      </p:cBhvr>
                                      <p:tavLst>
                                        <p:tav tm="0">
                                          <p:val>
                                            <p:strVal val="#ppt_x"/>
                                          </p:val>
                                        </p:tav>
                                        <p:tav tm="100000">
                                          <p:val>
                                            <p:strVal val="#ppt_x"/>
                                          </p:val>
                                        </p:tav>
                                      </p:tavLst>
                                    </p:anim>
                                    <p:anim calcmode="lin" valueType="num">
                                      <p:cBhvr>
                                        <p:cTn id="53" dur="500" fill="hold"/>
                                        <p:tgtEl>
                                          <p:spTgt spid="60"/>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59"/>
                                        </p:tgtEl>
                                        <p:attrNameLst>
                                          <p:attrName>style.visibility</p:attrName>
                                        </p:attrNameLst>
                                      </p:cBhvr>
                                      <p:to>
                                        <p:strVal val="visible"/>
                                      </p:to>
                                    </p:set>
                                    <p:animEffect transition="in" filter="fade">
                                      <p:cBhvr>
                                        <p:cTn id="56" dur="1000"/>
                                        <p:tgtEl>
                                          <p:spTgt spid="59"/>
                                        </p:tgtEl>
                                      </p:cBhvr>
                                    </p:animEffect>
                                    <p:anim calcmode="lin" valueType="num">
                                      <p:cBhvr>
                                        <p:cTn id="57" dur="1000" fill="hold"/>
                                        <p:tgtEl>
                                          <p:spTgt spid="59"/>
                                        </p:tgtEl>
                                        <p:attrNameLst>
                                          <p:attrName>ppt_x</p:attrName>
                                        </p:attrNameLst>
                                      </p:cBhvr>
                                      <p:tavLst>
                                        <p:tav tm="0">
                                          <p:val>
                                            <p:strVal val="#ppt_x"/>
                                          </p:val>
                                        </p:tav>
                                        <p:tav tm="100000">
                                          <p:val>
                                            <p:strVal val="#ppt_x"/>
                                          </p:val>
                                        </p:tav>
                                      </p:tavLst>
                                    </p:anim>
                                    <p:anim calcmode="lin" valueType="num">
                                      <p:cBhvr>
                                        <p:cTn id="58" dur="1000" fill="hold"/>
                                        <p:tgtEl>
                                          <p:spTgt spid="59"/>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0"/>
                                        <p:tgtEl>
                                          <p:spTgt spid="35"/>
                                        </p:tgtEl>
                                      </p:cBhvr>
                                    </p:animEffect>
                                  </p:childTnLst>
                                </p:cTn>
                              </p:par>
                              <p:par>
                                <p:cTn id="64" presetID="0" presetClass="path" presetSubtype="0" accel="50000" decel="50000" fill="hold" nodeType="withEffect">
                                  <p:stCondLst>
                                    <p:cond delay="0"/>
                                  </p:stCondLst>
                                  <p:childTnLst>
                                    <p:animMotion origin="layout" path="M -0.20645 -0.00023 L 0.00052 -0.00023 " pathEditMode="relative" rAng="0" ptsTypes="AA">
                                      <p:cBhvr>
                                        <p:cTn id="65" dur="500" fill="hold"/>
                                        <p:tgtEl>
                                          <p:spTgt spid="35"/>
                                        </p:tgtEl>
                                        <p:attrNameLst>
                                          <p:attrName>ppt_x</p:attrName>
                                          <p:attrName>ppt_y</p:attrName>
                                        </p:attrNameLst>
                                      </p:cBhvr>
                                      <p:rCtr x="10345" y="0"/>
                                    </p:animMotion>
                                  </p:childTnLst>
                                </p:cTn>
                              </p:par>
                              <p:par>
                                <p:cTn id="66" presetID="47" presetClass="entr" presetSubtype="0" fill="hold" grpId="0" nodeType="withEffect">
                                  <p:stCondLst>
                                    <p:cond delay="0"/>
                                  </p:stCondLst>
                                  <p:childTnLst>
                                    <p:set>
                                      <p:cBhvr>
                                        <p:cTn id="67" dur="1" fill="hold">
                                          <p:stCondLst>
                                            <p:cond delay="0"/>
                                          </p:stCondLst>
                                        </p:cTn>
                                        <p:tgtEl>
                                          <p:spTgt spid="16"/>
                                        </p:tgtEl>
                                        <p:attrNameLst>
                                          <p:attrName>style.visibility</p:attrName>
                                        </p:attrNameLst>
                                      </p:cBhvr>
                                      <p:to>
                                        <p:strVal val="visible"/>
                                      </p:to>
                                    </p:set>
                                    <p:animEffect transition="in" filter="fade">
                                      <p:cBhvr>
                                        <p:cTn id="68" dur="2000"/>
                                        <p:tgtEl>
                                          <p:spTgt spid="16"/>
                                        </p:tgtEl>
                                      </p:cBhvr>
                                    </p:animEffect>
                                    <p:anim calcmode="lin" valueType="num">
                                      <p:cBhvr>
                                        <p:cTn id="69" dur="2000" fill="hold"/>
                                        <p:tgtEl>
                                          <p:spTgt spid="16"/>
                                        </p:tgtEl>
                                        <p:attrNameLst>
                                          <p:attrName>ppt_x</p:attrName>
                                        </p:attrNameLst>
                                      </p:cBhvr>
                                      <p:tavLst>
                                        <p:tav tm="0">
                                          <p:val>
                                            <p:strVal val="#ppt_x"/>
                                          </p:val>
                                        </p:tav>
                                        <p:tav tm="100000">
                                          <p:val>
                                            <p:strVal val="#ppt_x"/>
                                          </p:val>
                                        </p:tav>
                                      </p:tavLst>
                                    </p:anim>
                                    <p:anim calcmode="lin" valueType="num">
                                      <p:cBhvr>
                                        <p:cTn id="70" dur="2000" fill="hold"/>
                                        <p:tgtEl>
                                          <p:spTgt spid="16"/>
                                        </p:tgtEl>
                                        <p:attrNameLst>
                                          <p:attrName>ppt_y</p:attrName>
                                        </p:attrNameLst>
                                      </p:cBhvr>
                                      <p:tavLst>
                                        <p:tav tm="0">
                                          <p:val>
                                            <p:strVal val="#ppt_y-.1"/>
                                          </p:val>
                                        </p:tav>
                                        <p:tav tm="100000">
                                          <p:val>
                                            <p:strVal val="#ppt_y"/>
                                          </p:val>
                                        </p:tav>
                                      </p:tavLst>
                                    </p:anim>
                                  </p:childTnLst>
                                </p:cTn>
                              </p:par>
                              <p:par>
                                <p:cTn id="71" presetID="22" presetClass="entr" presetSubtype="4" fill="hold" nodeType="withEffect">
                                  <p:stCondLst>
                                    <p:cond delay="0"/>
                                  </p:stCondLst>
                                  <p:childTnLst>
                                    <p:set>
                                      <p:cBhvr>
                                        <p:cTn id="72" dur="1" fill="hold">
                                          <p:stCondLst>
                                            <p:cond delay="0"/>
                                          </p:stCondLst>
                                        </p:cTn>
                                        <p:tgtEl>
                                          <p:spTgt spid="5"/>
                                        </p:tgtEl>
                                        <p:attrNameLst>
                                          <p:attrName>style.visibility</p:attrName>
                                        </p:attrNameLst>
                                      </p:cBhvr>
                                      <p:to>
                                        <p:strVal val="visible"/>
                                      </p:to>
                                    </p:set>
                                    <p:animEffect transition="in" filter="wipe(down)">
                                      <p:cBhvr>
                                        <p:cTn id="73" dur="500"/>
                                        <p:tgtEl>
                                          <p:spTgt spid="5"/>
                                        </p:tgtEl>
                                      </p:cBhvr>
                                    </p:animEffect>
                                  </p:childTnLst>
                                </p:cTn>
                              </p:par>
                              <p:par>
                                <p:cTn id="74" presetID="42" presetClass="entr" presetSubtype="0" fill="hold" nodeType="withEffect">
                                  <p:stCondLst>
                                    <p:cond delay="0"/>
                                  </p:stCondLst>
                                  <p:childTnLst>
                                    <p:set>
                                      <p:cBhvr>
                                        <p:cTn id="75" dur="1" fill="hold">
                                          <p:stCondLst>
                                            <p:cond delay="0"/>
                                          </p:stCondLst>
                                        </p:cTn>
                                        <p:tgtEl>
                                          <p:spTgt spid="71"/>
                                        </p:tgtEl>
                                        <p:attrNameLst>
                                          <p:attrName>style.visibility</p:attrName>
                                        </p:attrNameLst>
                                      </p:cBhvr>
                                      <p:to>
                                        <p:strVal val="visible"/>
                                      </p:to>
                                    </p:set>
                                    <p:animEffect transition="in" filter="fade">
                                      <p:cBhvr>
                                        <p:cTn id="76" dur="1000"/>
                                        <p:tgtEl>
                                          <p:spTgt spid="71"/>
                                        </p:tgtEl>
                                      </p:cBhvr>
                                    </p:animEffect>
                                    <p:anim calcmode="lin" valueType="num">
                                      <p:cBhvr>
                                        <p:cTn id="77" dur="1000" fill="hold"/>
                                        <p:tgtEl>
                                          <p:spTgt spid="71"/>
                                        </p:tgtEl>
                                        <p:attrNameLst>
                                          <p:attrName>ppt_x</p:attrName>
                                        </p:attrNameLst>
                                      </p:cBhvr>
                                      <p:tavLst>
                                        <p:tav tm="0">
                                          <p:val>
                                            <p:strVal val="#ppt_x"/>
                                          </p:val>
                                        </p:tav>
                                        <p:tav tm="100000">
                                          <p:val>
                                            <p:strVal val="#ppt_x"/>
                                          </p:val>
                                        </p:tav>
                                      </p:tavLst>
                                    </p:anim>
                                    <p:anim calcmode="lin" valueType="num">
                                      <p:cBhvr>
                                        <p:cTn id="78" dur="1000" fill="hold"/>
                                        <p:tgtEl>
                                          <p:spTgt spid="71"/>
                                        </p:tgtEl>
                                        <p:attrNameLst>
                                          <p:attrName>ppt_y</p:attrName>
                                        </p:attrNameLst>
                                      </p:cBhvr>
                                      <p:tavLst>
                                        <p:tav tm="0">
                                          <p:val>
                                            <p:strVal val="#ppt_y+.1"/>
                                          </p:val>
                                        </p:tav>
                                        <p:tav tm="100000">
                                          <p:val>
                                            <p:strVal val="#ppt_y"/>
                                          </p:val>
                                        </p:tav>
                                      </p:tavLst>
                                    </p:anim>
                                  </p:childTnLst>
                                </p:cTn>
                              </p:par>
                              <p:par>
                                <p:cTn id="79" presetID="47" presetClass="entr" presetSubtype="0" fill="hold" nodeType="withEffect">
                                  <p:stCondLst>
                                    <p:cond delay="0"/>
                                  </p:stCondLst>
                                  <p:childTnLst>
                                    <p:set>
                                      <p:cBhvr>
                                        <p:cTn id="80" dur="1" fill="hold">
                                          <p:stCondLst>
                                            <p:cond delay="0"/>
                                          </p:stCondLst>
                                        </p:cTn>
                                        <p:tgtEl>
                                          <p:spTgt spid="54"/>
                                        </p:tgtEl>
                                        <p:attrNameLst>
                                          <p:attrName>style.visibility</p:attrName>
                                        </p:attrNameLst>
                                      </p:cBhvr>
                                      <p:to>
                                        <p:strVal val="visible"/>
                                      </p:to>
                                    </p:set>
                                    <p:animEffect transition="in" filter="fade">
                                      <p:cBhvr>
                                        <p:cTn id="81" dur="1000"/>
                                        <p:tgtEl>
                                          <p:spTgt spid="54"/>
                                        </p:tgtEl>
                                      </p:cBhvr>
                                    </p:animEffect>
                                    <p:anim calcmode="lin" valueType="num">
                                      <p:cBhvr>
                                        <p:cTn id="82" dur="1000" fill="hold"/>
                                        <p:tgtEl>
                                          <p:spTgt spid="54"/>
                                        </p:tgtEl>
                                        <p:attrNameLst>
                                          <p:attrName>ppt_x</p:attrName>
                                        </p:attrNameLst>
                                      </p:cBhvr>
                                      <p:tavLst>
                                        <p:tav tm="0">
                                          <p:val>
                                            <p:strVal val="#ppt_x"/>
                                          </p:val>
                                        </p:tav>
                                        <p:tav tm="100000">
                                          <p:val>
                                            <p:strVal val="#ppt_x"/>
                                          </p:val>
                                        </p:tav>
                                      </p:tavLst>
                                    </p:anim>
                                    <p:anim calcmode="lin" valueType="num">
                                      <p:cBhvr>
                                        <p:cTn id="83" dur="1000" fill="hold"/>
                                        <p:tgtEl>
                                          <p:spTgt spid="54"/>
                                        </p:tgtEl>
                                        <p:attrNameLst>
                                          <p:attrName>ppt_y</p:attrName>
                                        </p:attrNameLst>
                                      </p:cBhvr>
                                      <p:tavLst>
                                        <p:tav tm="0">
                                          <p:val>
                                            <p:strVal val="#ppt_y-.1"/>
                                          </p:val>
                                        </p:tav>
                                        <p:tav tm="100000">
                                          <p:val>
                                            <p:strVal val="#ppt_y"/>
                                          </p:val>
                                        </p:tav>
                                      </p:tavLst>
                                    </p:anim>
                                  </p:childTnLst>
                                </p:cTn>
                              </p:par>
                              <p:par>
                                <p:cTn id="84" presetID="22" presetClass="entr" presetSubtype="4" fill="hold" nodeType="withEffect">
                                  <p:stCondLst>
                                    <p:cond delay="0"/>
                                  </p:stCondLst>
                                  <p:childTnLst>
                                    <p:set>
                                      <p:cBhvr>
                                        <p:cTn id="85" dur="1" fill="hold">
                                          <p:stCondLst>
                                            <p:cond delay="0"/>
                                          </p:stCondLst>
                                        </p:cTn>
                                        <p:tgtEl>
                                          <p:spTgt spid="7"/>
                                        </p:tgtEl>
                                        <p:attrNameLst>
                                          <p:attrName>style.visibility</p:attrName>
                                        </p:attrNameLst>
                                      </p:cBhvr>
                                      <p:to>
                                        <p:strVal val="visible"/>
                                      </p:to>
                                    </p:set>
                                    <p:animEffect transition="in" filter="wipe(down)">
                                      <p:cBhvr>
                                        <p:cTn id="86" dur="500"/>
                                        <p:tgtEl>
                                          <p:spTgt spid="7"/>
                                        </p:tgtEl>
                                      </p:cBhvr>
                                    </p:animEffect>
                                  </p:childTnLst>
                                </p:cTn>
                              </p:par>
                              <p:par>
                                <p:cTn id="87" presetID="47" presetClass="entr" presetSubtype="0" fill="hold" grpId="0" nodeType="withEffect">
                                  <p:stCondLst>
                                    <p:cond delay="0"/>
                                  </p:stCondLst>
                                  <p:childTnLst>
                                    <p:set>
                                      <p:cBhvr>
                                        <p:cTn id="88" dur="1" fill="hold">
                                          <p:stCondLst>
                                            <p:cond delay="0"/>
                                          </p:stCondLst>
                                        </p:cTn>
                                        <p:tgtEl>
                                          <p:spTgt spid="84"/>
                                        </p:tgtEl>
                                        <p:attrNameLst>
                                          <p:attrName>style.visibility</p:attrName>
                                        </p:attrNameLst>
                                      </p:cBhvr>
                                      <p:to>
                                        <p:strVal val="visible"/>
                                      </p:to>
                                    </p:set>
                                    <p:animEffect transition="in" filter="fade">
                                      <p:cBhvr>
                                        <p:cTn id="89" dur="2000"/>
                                        <p:tgtEl>
                                          <p:spTgt spid="84"/>
                                        </p:tgtEl>
                                      </p:cBhvr>
                                    </p:animEffect>
                                    <p:anim calcmode="lin" valueType="num">
                                      <p:cBhvr>
                                        <p:cTn id="90" dur="2000" fill="hold"/>
                                        <p:tgtEl>
                                          <p:spTgt spid="84"/>
                                        </p:tgtEl>
                                        <p:attrNameLst>
                                          <p:attrName>ppt_x</p:attrName>
                                        </p:attrNameLst>
                                      </p:cBhvr>
                                      <p:tavLst>
                                        <p:tav tm="0">
                                          <p:val>
                                            <p:strVal val="#ppt_x"/>
                                          </p:val>
                                        </p:tav>
                                        <p:tav tm="100000">
                                          <p:val>
                                            <p:strVal val="#ppt_x"/>
                                          </p:val>
                                        </p:tav>
                                      </p:tavLst>
                                    </p:anim>
                                    <p:anim calcmode="lin" valueType="num">
                                      <p:cBhvr>
                                        <p:cTn id="91" dur="2000" fill="hold"/>
                                        <p:tgtEl>
                                          <p:spTgt spid="84"/>
                                        </p:tgtEl>
                                        <p:attrNameLst>
                                          <p:attrName>ppt_y</p:attrName>
                                        </p:attrNameLst>
                                      </p:cBhvr>
                                      <p:tavLst>
                                        <p:tav tm="0">
                                          <p:val>
                                            <p:strVal val="#ppt_y-.1"/>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39"/>
                                        </p:tgtEl>
                                        <p:attrNameLst>
                                          <p:attrName>style.visibility</p:attrName>
                                        </p:attrNameLst>
                                      </p:cBhvr>
                                      <p:to>
                                        <p:strVal val="visible"/>
                                      </p:to>
                                    </p:set>
                                    <p:animEffect transition="in" filter="fade">
                                      <p:cBhvr>
                                        <p:cTn id="96" dur="1000"/>
                                        <p:tgtEl>
                                          <p:spTgt spid="39"/>
                                        </p:tgtEl>
                                      </p:cBhvr>
                                    </p:animEffect>
                                  </p:childTnLst>
                                </p:cTn>
                              </p:par>
                              <p:par>
                                <p:cTn id="97" presetID="0" presetClass="path" presetSubtype="0" accel="50000" decel="50000" fill="hold" nodeType="withEffect">
                                  <p:stCondLst>
                                    <p:cond delay="0"/>
                                  </p:stCondLst>
                                  <p:childTnLst>
                                    <p:animMotion origin="layout" path="M -0.19968 -0.00024 L 0.00032 -0.00024 " pathEditMode="relative" rAng="0" ptsTypes="AA">
                                      <p:cBhvr>
                                        <p:cTn id="98" dur="2000" fill="hold"/>
                                        <p:tgtEl>
                                          <p:spTgt spid="39"/>
                                        </p:tgtEl>
                                        <p:attrNameLst>
                                          <p:attrName>ppt_x</p:attrName>
                                          <p:attrName>ppt_y</p:attrName>
                                        </p:attrNameLst>
                                      </p:cBhvr>
                                      <p:rCtr x="10000" y="0"/>
                                    </p:animMotion>
                                  </p:childTnLst>
                                </p:cTn>
                              </p:par>
                              <p:par>
                                <p:cTn id="99" presetID="47" presetClass="entr" presetSubtype="0" fill="hold" grpId="0" nodeType="withEffect">
                                  <p:stCondLst>
                                    <p:cond delay="0"/>
                                  </p:stCondLst>
                                  <p:childTnLst>
                                    <p:set>
                                      <p:cBhvr>
                                        <p:cTn id="100" dur="1" fill="hold">
                                          <p:stCondLst>
                                            <p:cond delay="0"/>
                                          </p:stCondLst>
                                        </p:cTn>
                                        <p:tgtEl>
                                          <p:spTgt spid="17"/>
                                        </p:tgtEl>
                                        <p:attrNameLst>
                                          <p:attrName>style.visibility</p:attrName>
                                        </p:attrNameLst>
                                      </p:cBhvr>
                                      <p:to>
                                        <p:strVal val="visible"/>
                                      </p:to>
                                    </p:set>
                                    <p:animEffect transition="in" filter="fade">
                                      <p:cBhvr>
                                        <p:cTn id="101" dur="2000"/>
                                        <p:tgtEl>
                                          <p:spTgt spid="17"/>
                                        </p:tgtEl>
                                      </p:cBhvr>
                                    </p:animEffect>
                                    <p:anim calcmode="lin" valueType="num">
                                      <p:cBhvr>
                                        <p:cTn id="102" dur="2000" fill="hold"/>
                                        <p:tgtEl>
                                          <p:spTgt spid="17"/>
                                        </p:tgtEl>
                                        <p:attrNameLst>
                                          <p:attrName>ppt_x</p:attrName>
                                        </p:attrNameLst>
                                      </p:cBhvr>
                                      <p:tavLst>
                                        <p:tav tm="0">
                                          <p:val>
                                            <p:strVal val="#ppt_x"/>
                                          </p:val>
                                        </p:tav>
                                        <p:tav tm="100000">
                                          <p:val>
                                            <p:strVal val="#ppt_x"/>
                                          </p:val>
                                        </p:tav>
                                      </p:tavLst>
                                    </p:anim>
                                    <p:anim calcmode="lin" valueType="num">
                                      <p:cBhvr>
                                        <p:cTn id="103" dur="2000" fill="hold"/>
                                        <p:tgtEl>
                                          <p:spTgt spid="17"/>
                                        </p:tgtEl>
                                        <p:attrNameLst>
                                          <p:attrName>ppt_y</p:attrName>
                                        </p:attrNameLst>
                                      </p:cBhvr>
                                      <p:tavLst>
                                        <p:tav tm="0">
                                          <p:val>
                                            <p:strVal val="#ppt_y-.1"/>
                                          </p:val>
                                        </p:tav>
                                        <p:tav tm="100000">
                                          <p:val>
                                            <p:strVal val="#ppt_y"/>
                                          </p:val>
                                        </p:tav>
                                      </p:tavLst>
                                    </p:anim>
                                  </p:childTnLst>
                                </p:cTn>
                              </p:par>
                              <p:par>
                                <p:cTn id="104" presetID="47" presetClass="entr" presetSubtype="0" fill="hold" nodeType="withEffect">
                                  <p:stCondLst>
                                    <p:cond delay="0"/>
                                  </p:stCondLst>
                                  <p:childTnLst>
                                    <p:set>
                                      <p:cBhvr>
                                        <p:cTn id="105" dur="1" fill="hold">
                                          <p:stCondLst>
                                            <p:cond delay="0"/>
                                          </p:stCondLst>
                                        </p:cTn>
                                        <p:tgtEl>
                                          <p:spTgt spid="26"/>
                                        </p:tgtEl>
                                        <p:attrNameLst>
                                          <p:attrName>style.visibility</p:attrName>
                                        </p:attrNameLst>
                                      </p:cBhvr>
                                      <p:to>
                                        <p:strVal val="visible"/>
                                      </p:to>
                                    </p:set>
                                    <p:animEffect transition="in" filter="fade">
                                      <p:cBhvr>
                                        <p:cTn id="106" dur="1000"/>
                                        <p:tgtEl>
                                          <p:spTgt spid="26"/>
                                        </p:tgtEl>
                                      </p:cBhvr>
                                    </p:animEffect>
                                    <p:anim calcmode="lin" valueType="num">
                                      <p:cBhvr>
                                        <p:cTn id="107" dur="1000" fill="hold"/>
                                        <p:tgtEl>
                                          <p:spTgt spid="26"/>
                                        </p:tgtEl>
                                        <p:attrNameLst>
                                          <p:attrName>ppt_x</p:attrName>
                                        </p:attrNameLst>
                                      </p:cBhvr>
                                      <p:tavLst>
                                        <p:tav tm="0">
                                          <p:val>
                                            <p:strVal val="#ppt_x"/>
                                          </p:val>
                                        </p:tav>
                                        <p:tav tm="100000">
                                          <p:val>
                                            <p:strVal val="#ppt_x"/>
                                          </p:val>
                                        </p:tav>
                                      </p:tavLst>
                                    </p:anim>
                                    <p:anim calcmode="lin" valueType="num">
                                      <p:cBhvr>
                                        <p:cTn id="108" dur="1000" fill="hold"/>
                                        <p:tgtEl>
                                          <p:spTgt spid="26"/>
                                        </p:tgtEl>
                                        <p:attrNameLst>
                                          <p:attrName>ppt_y</p:attrName>
                                        </p:attrNameLst>
                                      </p:cBhvr>
                                      <p:tavLst>
                                        <p:tav tm="0">
                                          <p:val>
                                            <p:strVal val="#ppt_y-.1"/>
                                          </p:val>
                                        </p:tav>
                                        <p:tav tm="100000">
                                          <p:val>
                                            <p:strVal val="#ppt_y"/>
                                          </p:val>
                                        </p:tav>
                                      </p:tavLst>
                                    </p:anim>
                                  </p:childTnLst>
                                </p:cTn>
                              </p:par>
                              <p:par>
                                <p:cTn id="109" presetID="42" presetClass="entr" presetSubtype="0" fill="hold" nodeType="withEffect">
                                  <p:stCondLst>
                                    <p:cond delay="0"/>
                                  </p:stCondLst>
                                  <p:childTnLst>
                                    <p:set>
                                      <p:cBhvr>
                                        <p:cTn id="110" dur="1" fill="hold">
                                          <p:stCondLst>
                                            <p:cond delay="0"/>
                                          </p:stCondLst>
                                        </p:cTn>
                                        <p:tgtEl>
                                          <p:spTgt spid="72"/>
                                        </p:tgtEl>
                                        <p:attrNameLst>
                                          <p:attrName>style.visibility</p:attrName>
                                        </p:attrNameLst>
                                      </p:cBhvr>
                                      <p:to>
                                        <p:strVal val="visible"/>
                                      </p:to>
                                    </p:set>
                                    <p:animEffect transition="in" filter="fade">
                                      <p:cBhvr>
                                        <p:cTn id="111" dur="1000"/>
                                        <p:tgtEl>
                                          <p:spTgt spid="72"/>
                                        </p:tgtEl>
                                      </p:cBhvr>
                                    </p:animEffect>
                                    <p:anim calcmode="lin" valueType="num">
                                      <p:cBhvr>
                                        <p:cTn id="112" dur="1000" fill="hold"/>
                                        <p:tgtEl>
                                          <p:spTgt spid="72"/>
                                        </p:tgtEl>
                                        <p:attrNameLst>
                                          <p:attrName>ppt_x</p:attrName>
                                        </p:attrNameLst>
                                      </p:cBhvr>
                                      <p:tavLst>
                                        <p:tav tm="0">
                                          <p:val>
                                            <p:strVal val="#ppt_x"/>
                                          </p:val>
                                        </p:tav>
                                        <p:tav tm="100000">
                                          <p:val>
                                            <p:strVal val="#ppt_x"/>
                                          </p:val>
                                        </p:tav>
                                      </p:tavLst>
                                    </p:anim>
                                    <p:anim calcmode="lin" valueType="num">
                                      <p:cBhvr>
                                        <p:cTn id="113" dur="1000" fill="hold"/>
                                        <p:tgtEl>
                                          <p:spTgt spid="72"/>
                                        </p:tgtEl>
                                        <p:attrNameLst>
                                          <p:attrName>ppt_y</p:attrName>
                                        </p:attrNameLst>
                                      </p:cBhvr>
                                      <p:tavLst>
                                        <p:tav tm="0">
                                          <p:val>
                                            <p:strVal val="#ppt_y+.1"/>
                                          </p:val>
                                        </p:tav>
                                        <p:tav tm="100000">
                                          <p:val>
                                            <p:strVal val="#ppt_y"/>
                                          </p:val>
                                        </p:tav>
                                      </p:tavLst>
                                    </p:anim>
                                  </p:childTnLst>
                                </p:cTn>
                              </p:par>
                              <p:par>
                                <p:cTn id="114" presetID="47" presetClass="entr" presetSubtype="0" fill="hold" grpId="0" nodeType="withEffect">
                                  <p:stCondLst>
                                    <p:cond delay="0"/>
                                  </p:stCondLst>
                                  <p:childTnLst>
                                    <p:set>
                                      <p:cBhvr>
                                        <p:cTn id="115" dur="1" fill="hold">
                                          <p:stCondLst>
                                            <p:cond delay="0"/>
                                          </p:stCondLst>
                                        </p:cTn>
                                        <p:tgtEl>
                                          <p:spTgt spid="85"/>
                                        </p:tgtEl>
                                        <p:attrNameLst>
                                          <p:attrName>style.visibility</p:attrName>
                                        </p:attrNameLst>
                                      </p:cBhvr>
                                      <p:to>
                                        <p:strVal val="visible"/>
                                      </p:to>
                                    </p:set>
                                    <p:animEffect transition="in" filter="fade">
                                      <p:cBhvr>
                                        <p:cTn id="116" dur="2000"/>
                                        <p:tgtEl>
                                          <p:spTgt spid="85"/>
                                        </p:tgtEl>
                                      </p:cBhvr>
                                    </p:animEffect>
                                    <p:anim calcmode="lin" valueType="num">
                                      <p:cBhvr>
                                        <p:cTn id="117" dur="2000" fill="hold"/>
                                        <p:tgtEl>
                                          <p:spTgt spid="85"/>
                                        </p:tgtEl>
                                        <p:attrNameLst>
                                          <p:attrName>ppt_x</p:attrName>
                                        </p:attrNameLst>
                                      </p:cBhvr>
                                      <p:tavLst>
                                        <p:tav tm="0">
                                          <p:val>
                                            <p:strVal val="#ppt_x"/>
                                          </p:val>
                                        </p:tav>
                                        <p:tav tm="100000">
                                          <p:val>
                                            <p:strVal val="#ppt_x"/>
                                          </p:val>
                                        </p:tav>
                                      </p:tavLst>
                                    </p:anim>
                                    <p:anim calcmode="lin" valueType="num">
                                      <p:cBhvr>
                                        <p:cTn id="118" dur="2000" fill="hold"/>
                                        <p:tgtEl>
                                          <p:spTgt spid="85"/>
                                        </p:tgtEl>
                                        <p:attrNameLst>
                                          <p:attrName>ppt_y</p:attrName>
                                        </p:attrNameLst>
                                      </p:cBhvr>
                                      <p:tavLst>
                                        <p:tav tm="0">
                                          <p:val>
                                            <p:strVal val="#ppt_y-.1"/>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10" presetClass="entr" presetSubtype="0" fill="hold" nodeType="clickEffect">
                                  <p:stCondLst>
                                    <p:cond delay="0"/>
                                  </p:stCondLst>
                                  <p:childTnLst>
                                    <p:set>
                                      <p:cBhvr>
                                        <p:cTn id="122" dur="1" fill="hold">
                                          <p:stCondLst>
                                            <p:cond delay="0"/>
                                          </p:stCondLst>
                                        </p:cTn>
                                        <p:tgtEl>
                                          <p:spTgt spid="65"/>
                                        </p:tgtEl>
                                        <p:attrNameLst>
                                          <p:attrName>style.visibility</p:attrName>
                                        </p:attrNameLst>
                                      </p:cBhvr>
                                      <p:to>
                                        <p:strVal val="visible"/>
                                      </p:to>
                                    </p:set>
                                    <p:animEffect transition="in" filter="fade">
                                      <p:cBhvr>
                                        <p:cTn id="123" dur="1000"/>
                                        <p:tgtEl>
                                          <p:spTgt spid="65"/>
                                        </p:tgtEl>
                                      </p:cBhvr>
                                    </p:animEffect>
                                  </p:childTnLst>
                                </p:cTn>
                              </p:par>
                              <p:par>
                                <p:cTn id="124" presetID="0" presetClass="path" presetSubtype="0" accel="50000" decel="50000" fill="hold" nodeType="withEffect">
                                  <p:stCondLst>
                                    <p:cond delay="0"/>
                                  </p:stCondLst>
                                  <p:childTnLst>
                                    <p:animMotion origin="layout" path="M -0.19967 -0.00023 L 0.00033 -0.00023 " pathEditMode="relative" rAng="0" ptsTypes="AA">
                                      <p:cBhvr>
                                        <p:cTn id="125" dur="2000" fill="hold"/>
                                        <p:tgtEl>
                                          <p:spTgt spid="65"/>
                                        </p:tgtEl>
                                        <p:attrNameLst>
                                          <p:attrName>ppt_x</p:attrName>
                                          <p:attrName>ppt_y</p:attrName>
                                        </p:attrNameLst>
                                      </p:cBhvr>
                                      <p:rCtr x="10000" y="0"/>
                                    </p:animMotion>
                                  </p:childTnLst>
                                </p:cTn>
                              </p:par>
                              <p:par>
                                <p:cTn id="126" presetID="22" presetClass="entr" presetSubtype="4" fill="hold" nodeType="withEffect">
                                  <p:stCondLst>
                                    <p:cond delay="0"/>
                                  </p:stCondLst>
                                  <p:childTnLst>
                                    <p:set>
                                      <p:cBhvr>
                                        <p:cTn id="127" dur="1" fill="hold">
                                          <p:stCondLst>
                                            <p:cond delay="0"/>
                                          </p:stCondLst>
                                        </p:cTn>
                                        <p:tgtEl>
                                          <p:spTgt spid="75"/>
                                        </p:tgtEl>
                                        <p:attrNameLst>
                                          <p:attrName>style.visibility</p:attrName>
                                        </p:attrNameLst>
                                      </p:cBhvr>
                                      <p:to>
                                        <p:strVal val="visible"/>
                                      </p:to>
                                    </p:set>
                                    <p:animEffect transition="in" filter="wipe(down)">
                                      <p:cBhvr>
                                        <p:cTn id="128" dur="500"/>
                                        <p:tgtEl>
                                          <p:spTgt spid="75"/>
                                        </p:tgtEl>
                                      </p:cBhvr>
                                    </p:animEffect>
                                  </p:childTnLst>
                                </p:cTn>
                              </p:par>
                              <p:par>
                                <p:cTn id="129" presetID="47" presetClass="entr" presetSubtype="0" fill="hold" nodeType="withEffect">
                                  <p:stCondLst>
                                    <p:cond delay="0"/>
                                  </p:stCondLst>
                                  <p:childTnLst>
                                    <p:set>
                                      <p:cBhvr>
                                        <p:cTn id="130" dur="1" fill="hold">
                                          <p:stCondLst>
                                            <p:cond delay="0"/>
                                          </p:stCondLst>
                                        </p:cTn>
                                        <p:tgtEl>
                                          <p:spTgt spid="79"/>
                                        </p:tgtEl>
                                        <p:attrNameLst>
                                          <p:attrName>style.visibility</p:attrName>
                                        </p:attrNameLst>
                                      </p:cBhvr>
                                      <p:to>
                                        <p:strVal val="visible"/>
                                      </p:to>
                                    </p:set>
                                    <p:animEffect transition="in" filter="fade">
                                      <p:cBhvr>
                                        <p:cTn id="131" dur="1000"/>
                                        <p:tgtEl>
                                          <p:spTgt spid="79"/>
                                        </p:tgtEl>
                                      </p:cBhvr>
                                    </p:animEffect>
                                    <p:anim calcmode="lin" valueType="num">
                                      <p:cBhvr>
                                        <p:cTn id="132" dur="1000" fill="hold"/>
                                        <p:tgtEl>
                                          <p:spTgt spid="79"/>
                                        </p:tgtEl>
                                        <p:attrNameLst>
                                          <p:attrName>ppt_x</p:attrName>
                                        </p:attrNameLst>
                                      </p:cBhvr>
                                      <p:tavLst>
                                        <p:tav tm="0">
                                          <p:val>
                                            <p:strVal val="#ppt_x"/>
                                          </p:val>
                                        </p:tav>
                                        <p:tav tm="100000">
                                          <p:val>
                                            <p:strVal val="#ppt_x"/>
                                          </p:val>
                                        </p:tav>
                                      </p:tavLst>
                                    </p:anim>
                                    <p:anim calcmode="lin" valueType="num">
                                      <p:cBhvr>
                                        <p:cTn id="133" dur="1000" fill="hold"/>
                                        <p:tgtEl>
                                          <p:spTgt spid="79"/>
                                        </p:tgtEl>
                                        <p:attrNameLst>
                                          <p:attrName>ppt_y</p:attrName>
                                        </p:attrNameLst>
                                      </p:cBhvr>
                                      <p:tavLst>
                                        <p:tav tm="0">
                                          <p:val>
                                            <p:strVal val="#ppt_y-.1"/>
                                          </p:val>
                                        </p:tav>
                                        <p:tav tm="100000">
                                          <p:val>
                                            <p:strVal val="#ppt_y"/>
                                          </p:val>
                                        </p:tav>
                                      </p:tavLst>
                                    </p:anim>
                                  </p:childTnLst>
                                </p:cTn>
                              </p:par>
                              <p:par>
                                <p:cTn id="134" presetID="47" presetClass="entr" presetSubtype="0" fill="hold" grpId="0" nodeType="withEffect">
                                  <p:stCondLst>
                                    <p:cond delay="0"/>
                                  </p:stCondLst>
                                  <p:childTnLst>
                                    <p:set>
                                      <p:cBhvr>
                                        <p:cTn id="135" dur="1" fill="hold">
                                          <p:stCondLst>
                                            <p:cond delay="0"/>
                                          </p:stCondLst>
                                        </p:cTn>
                                        <p:tgtEl>
                                          <p:spTgt spid="83"/>
                                        </p:tgtEl>
                                        <p:attrNameLst>
                                          <p:attrName>style.visibility</p:attrName>
                                        </p:attrNameLst>
                                      </p:cBhvr>
                                      <p:to>
                                        <p:strVal val="visible"/>
                                      </p:to>
                                    </p:set>
                                    <p:animEffect transition="in" filter="fade">
                                      <p:cBhvr>
                                        <p:cTn id="136" dur="2000"/>
                                        <p:tgtEl>
                                          <p:spTgt spid="83"/>
                                        </p:tgtEl>
                                      </p:cBhvr>
                                    </p:animEffect>
                                    <p:anim calcmode="lin" valueType="num">
                                      <p:cBhvr>
                                        <p:cTn id="137" dur="2000" fill="hold"/>
                                        <p:tgtEl>
                                          <p:spTgt spid="83"/>
                                        </p:tgtEl>
                                        <p:attrNameLst>
                                          <p:attrName>ppt_x</p:attrName>
                                        </p:attrNameLst>
                                      </p:cBhvr>
                                      <p:tavLst>
                                        <p:tav tm="0">
                                          <p:val>
                                            <p:strVal val="#ppt_x"/>
                                          </p:val>
                                        </p:tav>
                                        <p:tav tm="100000">
                                          <p:val>
                                            <p:strVal val="#ppt_x"/>
                                          </p:val>
                                        </p:tav>
                                      </p:tavLst>
                                    </p:anim>
                                    <p:anim calcmode="lin" valueType="num">
                                      <p:cBhvr>
                                        <p:cTn id="138" dur="2000" fill="hold"/>
                                        <p:tgtEl>
                                          <p:spTgt spid="83"/>
                                        </p:tgtEl>
                                        <p:attrNameLst>
                                          <p:attrName>ppt_y</p:attrName>
                                        </p:attrNameLst>
                                      </p:cBhvr>
                                      <p:tavLst>
                                        <p:tav tm="0">
                                          <p:val>
                                            <p:strVal val="#ppt_y-.1"/>
                                          </p:val>
                                        </p:tav>
                                        <p:tav tm="100000">
                                          <p:val>
                                            <p:strVal val="#ppt_y"/>
                                          </p:val>
                                        </p:tav>
                                      </p:tavLst>
                                    </p:anim>
                                  </p:childTnLst>
                                </p:cTn>
                              </p:par>
                              <p:par>
                                <p:cTn id="139" presetID="42" presetClass="entr" presetSubtype="0" fill="hold" nodeType="withEffect">
                                  <p:stCondLst>
                                    <p:cond delay="0"/>
                                  </p:stCondLst>
                                  <p:childTnLst>
                                    <p:set>
                                      <p:cBhvr>
                                        <p:cTn id="140" dur="1" fill="hold">
                                          <p:stCondLst>
                                            <p:cond delay="0"/>
                                          </p:stCondLst>
                                        </p:cTn>
                                        <p:tgtEl>
                                          <p:spTgt spid="76"/>
                                        </p:tgtEl>
                                        <p:attrNameLst>
                                          <p:attrName>style.visibility</p:attrName>
                                        </p:attrNameLst>
                                      </p:cBhvr>
                                      <p:to>
                                        <p:strVal val="visible"/>
                                      </p:to>
                                    </p:set>
                                    <p:animEffect transition="in" filter="fade">
                                      <p:cBhvr>
                                        <p:cTn id="141" dur="1000"/>
                                        <p:tgtEl>
                                          <p:spTgt spid="76"/>
                                        </p:tgtEl>
                                      </p:cBhvr>
                                    </p:animEffect>
                                    <p:anim calcmode="lin" valueType="num">
                                      <p:cBhvr>
                                        <p:cTn id="142" dur="1000" fill="hold"/>
                                        <p:tgtEl>
                                          <p:spTgt spid="76"/>
                                        </p:tgtEl>
                                        <p:attrNameLst>
                                          <p:attrName>ppt_x</p:attrName>
                                        </p:attrNameLst>
                                      </p:cBhvr>
                                      <p:tavLst>
                                        <p:tav tm="0">
                                          <p:val>
                                            <p:strVal val="#ppt_x"/>
                                          </p:val>
                                        </p:tav>
                                        <p:tav tm="100000">
                                          <p:val>
                                            <p:strVal val="#ppt_x"/>
                                          </p:val>
                                        </p:tav>
                                      </p:tavLst>
                                    </p:anim>
                                    <p:anim calcmode="lin" valueType="num">
                                      <p:cBhvr>
                                        <p:cTn id="143" dur="1000" fill="hold"/>
                                        <p:tgtEl>
                                          <p:spTgt spid="7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16" grpId="0"/>
      <p:bldP spid="17" grpId="0"/>
      <p:bldP spid="43" grpId="0"/>
      <p:bldP spid="44" grpId="0"/>
      <p:bldP spid="59" grpId="0" animBg="1"/>
      <p:bldP spid="60" grpId="0"/>
      <p:bldP spid="83" grpId="0"/>
      <p:bldP spid="84" grpId="0"/>
      <p:bldP spid="8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827444782"/>
              </p:ext>
            </p:extLst>
          </p:nvPr>
        </p:nvGraphicFramePr>
        <p:xfrm>
          <a:off x="9962482" y="2159931"/>
          <a:ext cx="3077650" cy="9707184"/>
        </p:xfrm>
        <a:graphic>
          <a:graphicData uri="http://schemas.openxmlformats.org/drawingml/2006/table">
            <a:tbl>
              <a:tblPr firstRow="1" bandRow="1">
                <a:tableStyleId>{7DF18680-E054-41AD-8BC1-D1AEF772440D}</a:tableStyleId>
              </a:tblPr>
              <a:tblGrid>
                <a:gridCol w="3077650">
                  <a:extLst>
                    <a:ext uri="{9D8B030D-6E8A-4147-A177-3AD203B41FA5}">
                      <a16:colId xmlns:a16="http://schemas.microsoft.com/office/drawing/2014/main" xmlns="" val="20000"/>
                    </a:ext>
                  </a:extLst>
                </a:gridCol>
              </a:tblGrid>
              <a:tr h="1449711">
                <a:tc>
                  <a:txBody>
                    <a:bodyPr/>
                    <a:lstStyle/>
                    <a:p>
                      <a:pPr algn="ctr"/>
                      <a:r>
                        <a:rPr lang="en-US" sz="6000" dirty="0" smtClean="0"/>
                        <a:t>2017e</a:t>
                      </a:r>
                      <a:endParaRPr lang="en-US" sz="6000" b="1" kern="1200" baseline="0" noProof="0" dirty="0">
                        <a:solidFill>
                          <a:srgbClr val="FFFFFF">
                            <a:alpha val="50000"/>
                          </a:srgbClr>
                        </a:solidFill>
                        <a:latin typeface="Aleo bold" panose="020F0802020204030203" pitchFamily="34" charset="0"/>
                        <a:ea typeface="+mn-ea"/>
                        <a:cs typeface="+mn-cs"/>
                      </a:endParaRPr>
                    </a:p>
                  </a:txBody>
                  <a:tcPr anchor="ctr"/>
                </a:tc>
                <a:extLst>
                  <a:ext uri="{0D108BD9-81ED-4DB2-BD59-A6C34878D82A}">
                    <a16:rowId xmlns:a16="http://schemas.microsoft.com/office/drawing/2014/main" xmlns="" val="10000"/>
                  </a:ext>
                </a:extLst>
              </a:tr>
              <a:tr h="158312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600" i="1" dirty="0" smtClean="0"/>
                        <a:t>80</a:t>
                      </a:r>
                      <a:endParaRPr lang="en-US" sz="3600" i="1"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1"/>
                  </a:ext>
                </a:extLst>
              </a:tr>
              <a:tr h="1668586">
                <a:tc>
                  <a:txBody>
                    <a:bodyPr/>
                    <a:lstStyle/>
                    <a:p>
                      <a:pPr algn="ctr"/>
                      <a:r>
                        <a:rPr lang="en-US" sz="3600" dirty="0" smtClean="0"/>
                        <a:t>10</a:t>
                      </a:r>
                      <a:endParaRPr lang="en-US" sz="36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2"/>
                  </a:ext>
                </a:extLst>
              </a:tr>
              <a:tr h="1668586">
                <a:tc>
                  <a:txBody>
                    <a:bodyPr/>
                    <a:lstStyle/>
                    <a:p>
                      <a:pPr algn="ctr"/>
                      <a:r>
                        <a:rPr lang="en-US" sz="3600" b="1" dirty="0" smtClean="0"/>
                        <a:t>290</a:t>
                      </a:r>
                      <a:endParaRPr lang="en-US" sz="3600" b="1"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3"/>
                  </a:ext>
                </a:extLst>
              </a:tr>
              <a:tr h="1668586">
                <a:tc>
                  <a:txBody>
                    <a:bodyPr/>
                    <a:lstStyle/>
                    <a:p>
                      <a:pPr algn="ctr"/>
                      <a:r>
                        <a:rPr lang="en-US" sz="3600" dirty="0" smtClean="0"/>
                        <a:t>36%</a:t>
                      </a:r>
                      <a:endParaRPr lang="en-US" sz="3600" i="1"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4"/>
                  </a:ext>
                </a:extLst>
              </a:tr>
              <a:tr h="1668586">
                <a:tc>
                  <a:txBody>
                    <a:bodyPr/>
                    <a:lstStyle/>
                    <a:p>
                      <a:pPr algn="ctr"/>
                      <a:r>
                        <a:rPr lang="en-US" sz="3600" b="1" dirty="0" smtClean="0"/>
                        <a:t>(780)</a:t>
                      </a:r>
                    </a:p>
                    <a:p>
                      <a:pPr algn="ctr"/>
                      <a:r>
                        <a:rPr lang="en-US" sz="2400" dirty="0" smtClean="0"/>
                        <a:t>-270%</a:t>
                      </a:r>
                      <a:endParaRPr lang="en-US" sz="2400" i="1" dirty="0">
                        <a:solidFill>
                          <a:srgbClr val="333333"/>
                        </a:solidFill>
                        <a:latin typeface="Lato Light" panose="020F0302020204030203" pitchFamily="34" charset="0"/>
                      </a:endParaRPr>
                    </a:p>
                  </a:txBody>
                  <a:tcPr anchor="ct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xmlns="" val="184569969"/>
              </p:ext>
            </p:extLst>
          </p:nvPr>
        </p:nvGraphicFramePr>
        <p:xfrm>
          <a:off x="13382863" y="2179809"/>
          <a:ext cx="2983619" cy="9674054"/>
        </p:xfrm>
        <a:graphic>
          <a:graphicData uri="http://schemas.openxmlformats.org/drawingml/2006/table">
            <a:tbl>
              <a:tblPr firstRow="1" bandRow="1">
                <a:tableStyleId>{7DF18680-E054-41AD-8BC1-D1AEF772440D}</a:tableStyleId>
              </a:tblPr>
              <a:tblGrid>
                <a:gridCol w="2983619">
                  <a:extLst>
                    <a:ext uri="{9D8B030D-6E8A-4147-A177-3AD203B41FA5}">
                      <a16:colId xmlns:a16="http://schemas.microsoft.com/office/drawing/2014/main" xmlns="" val="20000"/>
                    </a:ext>
                  </a:extLst>
                </a:gridCol>
              </a:tblGrid>
              <a:tr h="13982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6000" dirty="0" smtClean="0"/>
                        <a:t>2018</a:t>
                      </a:r>
                      <a:r>
                        <a:rPr lang="fr-FR" sz="6000" baseline="0" dirty="0" smtClean="0"/>
                        <a:t>e</a:t>
                      </a:r>
                      <a:endParaRPr lang="en-US" sz="6000" b="1" kern="1200" baseline="0" noProof="0" dirty="0">
                        <a:solidFill>
                          <a:srgbClr val="FFFFFF">
                            <a:alpha val="50000"/>
                          </a:srgbClr>
                        </a:solidFill>
                        <a:latin typeface="Aleo bold" panose="020F0802020204030203" pitchFamily="34" charset="0"/>
                        <a:ea typeface="+mn-ea"/>
                        <a:cs typeface="+mn-cs"/>
                      </a:endParaRPr>
                    </a:p>
                  </a:txBody>
                  <a:tcPr anchor="ctr"/>
                </a:tc>
                <a:extLst>
                  <a:ext uri="{0D108BD9-81ED-4DB2-BD59-A6C34878D82A}">
                    <a16:rowId xmlns:a16="http://schemas.microsoft.com/office/drawing/2014/main" xmlns="" val="10000"/>
                  </a:ext>
                </a:extLst>
              </a:tr>
              <a:tr h="1655154">
                <a:tc>
                  <a:txBody>
                    <a:bodyPr/>
                    <a:lstStyle/>
                    <a:p>
                      <a:pPr algn="ctr"/>
                      <a:r>
                        <a:rPr lang="en-US" sz="3600" i="1" dirty="0" smtClean="0"/>
                        <a:t>350</a:t>
                      </a:r>
                      <a:endParaRPr lang="en-US" sz="3600" i="1"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1"/>
                  </a:ext>
                </a:extLst>
              </a:tr>
              <a:tr h="1655154">
                <a:tc>
                  <a:txBody>
                    <a:bodyPr/>
                    <a:lstStyle/>
                    <a:p>
                      <a:pPr algn="ctr"/>
                      <a:r>
                        <a:rPr lang="en-US" sz="3600" dirty="0" smtClean="0"/>
                        <a:t>50</a:t>
                      </a:r>
                      <a:endParaRPr lang="en-US" sz="36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2"/>
                  </a:ext>
                </a:extLst>
              </a:tr>
              <a:tr h="1655154">
                <a:tc>
                  <a:txBody>
                    <a:bodyPr/>
                    <a:lstStyle/>
                    <a:p>
                      <a:pPr algn="ctr"/>
                      <a:r>
                        <a:rPr lang="en-US" sz="3600" b="1" dirty="0" smtClean="0"/>
                        <a:t>1 200</a:t>
                      </a:r>
                      <a:endParaRPr lang="en-US" sz="3600" b="1"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3"/>
                  </a:ext>
                </a:extLst>
              </a:tr>
              <a:tr h="1655154">
                <a:tc>
                  <a:txBody>
                    <a:bodyPr/>
                    <a:lstStyle/>
                    <a:p>
                      <a:pPr algn="ctr"/>
                      <a:r>
                        <a:rPr lang="en-US" sz="3600" dirty="0" smtClean="0"/>
                        <a:t>30%</a:t>
                      </a:r>
                      <a:endParaRPr lang="en-US" sz="3600" i="1"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4"/>
                  </a:ext>
                </a:extLst>
              </a:tr>
              <a:tr h="1655154">
                <a:tc>
                  <a:txBody>
                    <a:bodyPr/>
                    <a:lstStyle/>
                    <a:p>
                      <a:pPr algn="ctr"/>
                      <a:r>
                        <a:rPr lang="en-US" sz="3600" b="1" dirty="0" smtClean="0"/>
                        <a:t>(1 130)</a:t>
                      </a:r>
                    </a:p>
                    <a:p>
                      <a:pPr algn="ctr"/>
                      <a:r>
                        <a:rPr lang="en-US" sz="2400" dirty="0" smtClean="0"/>
                        <a:t>-90%</a:t>
                      </a:r>
                      <a:endParaRPr lang="en-US" sz="2000" i="1" dirty="0">
                        <a:solidFill>
                          <a:srgbClr val="333333"/>
                        </a:solidFill>
                        <a:latin typeface="Lato Light" panose="020F0302020204030203" pitchFamily="34" charset="0"/>
                      </a:endParaRPr>
                    </a:p>
                  </a:txBody>
                  <a:tcPr anchor="ct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xmlns="" val="367982819"/>
              </p:ext>
            </p:extLst>
          </p:nvPr>
        </p:nvGraphicFramePr>
        <p:xfrm>
          <a:off x="6661370" y="2193063"/>
          <a:ext cx="3040611" cy="9674053"/>
        </p:xfrm>
        <a:graphic>
          <a:graphicData uri="http://schemas.openxmlformats.org/drawingml/2006/table">
            <a:tbl>
              <a:tblPr firstRow="1" bandRow="1">
                <a:tableStyleId>{46F890A9-2807-4EBB-B81D-B2AA78EC7F39}</a:tableStyleId>
              </a:tblPr>
              <a:tblGrid>
                <a:gridCol w="3040611">
                  <a:extLst>
                    <a:ext uri="{9D8B030D-6E8A-4147-A177-3AD203B41FA5}">
                      <a16:colId xmlns:a16="http://schemas.microsoft.com/office/drawing/2014/main" xmlns="" val="20000"/>
                    </a:ext>
                  </a:extLst>
                </a:gridCol>
              </a:tblGrid>
              <a:tr h="1386316">
                <a:tc>
                  <a:txBody>
                    <a:bodyPr/>
                    <a:lstStyle/>
                    <a:p>
                      <a:pPr algn="ctr"/>
                      <a:r>
                        <a:rPr lang="fr-FR" sz="6000" dirty="0" smtClean="0"/>
                        <a:t>2016</a:t>
                      </a:r>
                      <a:endParaRPr lang="en-US" sz="2000" dirty="0">
                        <a:solidFill>
                          <a:srgbClr val="FFFFFF">
                            <a:alpha val="50000"/>
                          </a:srgbClr>
                        </a:solidFill>
                        <a:latin typeface="Aleo bold" panose="020F0802020204030203" pitchFamily="34" charset="0"/>
                      </a:endParaRPr>
                    </a:p>
                  </a:txBody>
                  <a:tcPr anchor="ctr"/>
                </a:tc>
                <a:extLst>
                  <a:ext uri="{0D108BD9-81ED-4DB2-BD59-A6C34878D82A}">
                    <a16:rowId xmlns:a16="http://schemas.microsoft.com/office/drawing/2014/main" xmlns="" val="10000"/>
                  </a:ext>
                </a:extLst>
              </a:tr>
              <a:tr h="165528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600" i="1" dirty="0" smtClean="0"/>
                        <a:t>20</a:t>
                      </a:r>
                      <a:endParaRPr lang="en-US" sz="3600" i="1"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1"/>
                  </a:ext>
                </a:extLst>
              </a:tr>
              <a:tr h="1658113">
                <a:tc>
                  <a:txBody>
                    <a:bodyPr/>
                    <a:lstStyle/>
                    <a:p>
                      <a:pPr algn="ctr"/>
                      <a:r>
                        <a:rPr lang="en-US" sz="3600" dirty="0" smtClean="0"/>
                        <a:t>3</a:t>
                      </a:r>
                      <a:endParaRPr lang="en-US" sz="36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2"/>
                  </a:ext>
                </a:extLst>
              </a:tr>
              <a:tr h="1658113">
                <a:tc>
                  <a:txBody>
                    <a:bodyPr/>
                    <a:lstStyle/>
                    <a:p>
                      <a:pPr algn="ctr"/>
                      <a:r>
                        <a:rPr lang="en-US" sz="3600" b="1" dirty="0" smtClean="0"/>
                        <a:t>50</a:t>
                      </a:r>
                      <a:endParaRPr lang="en-US" sz="3600" b="1"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3"/>
                  </a:ext>
                </a:extLst>
              </a:tr>
              <a:tr h="1658113">
                <a:tc>
                  <a:txBody>
                    <a:bodyPr/>
                    <a:lstStyle/>
                    <a:p>
                      <a:pPr algn="ctr"/>
                      <a:r>
                        <a:rPr lang="en-US" sz="3600" i="1" dirty="0" smtClean="0">
                          <a:solidFill>
                            <a:srgbClr val="333333"/>
                          </a:solidFill>
                          <a:latin typeface="Lato Light" panose="020F0302020204030203" pitchFamily="34" charset="0"/>
                        </a:rPr>
                        <a:t>N/S</a:t>
                      </a:r>
                      <a:endParaRPr lang="en-US" sz="3600" i="1"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4"/>
                  </a:ext>
                </a:extLst>
              </a:tr>
              <a:tr h="1658113">
                <a:tc>
                  <a:txBody>
                    <a:bodyPr/>
                    <a:lstStyle/>
                    <a:p>
                      <a:pPr algn="ctr"/>
                      <a:r>
                        <a:rPr lang="en-US" sz="3600" b="1" dirty="0" smtClean="0">
                          <a:solidFill>
                            <a:srgbClr val="333333"/>
                          </a:solidFill>
                          <a:latin typeface="Lato Light" panose="020F0302020204030203" pitchFamily="34" charset="0"/>
                        </a:rPr>
                        <a:t>(60)</a:t>
                      </a:r>
                    </a:p>
                    <a:p>
                      <a:pPr algn="ctr"/>
                      <a:r>
                        <a:rPr lang="en-US" sz="2400" i="1" dirty="0" smtClean="0">
                          <a:solidFill>
                            <a:srgbClr val="333333"/>
                          </a:solidFill>
                          <a:latin typeface="Lato Light" panose="020F0302020204030203" pitchFamily="34" charset="0"/>
                        </a:rPr>
                        <a:t>-124%</a:t>
                      </a:r>
                      <a:endParaRPr lang="en-US" sz="2400" i="1" dirty="0">
                        <a:solidFill>
                          <a:srgbClr val="333333"/>
                        </a:solidFill>
                        <a:latin typeface="Lato Light" panose="020F0302020204030203" pitchFamily="34" charset="0"/>
                      </a:endParaRPr>
                    </a:p>
                  </a:txBody>
                  <a:tcPr anchor="ctr"/>
                </a:tc>
              </a:tr>
            </a:tbl>
          </a:graphicData>
        </a:graphic>
      </p:graphicFrame>
      <p:sp>
        <p:nvSpPr>
          <p:cNvPr id="2" name="Title 1"/>
          <p:cNvSpPr>
            <a:spLocks noGrp="1"/>
          </p:cNvSpPr>
          <p:nvPr>
            <p:ph type="title"/>
          </p:nvPr>
        </p:nvSpPr>
        <p:spPr>
          <a:xfrm>
            <a:off x="380798" y="687112"/>
            <a:ext cx="8247771" cy="1508105"/>
          </a:xfrm>
        </p:spPr>
        <p:txBody>
          <a:bodyPr/>
          <a:lstStyle/>
          <a:p>
            <a:r>
              <a:rPr lang="en-US" dirty="0" smtClean="0">
                <a:ea typeface="Aleo Regular" charset="0"/>
                <a:cs typeface="Aleo Regular" charset="0"/>
                <a:sym typeface="Aleo Regular" charset="0"/>
              </a:rPr>
              <a:t>Business Plan</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320445622"/>
              </p:ext>
            </p:extLst>
          </p:nvPr>
        </p:nvGraphicFramePr>
        <p:xfrm>
          <a:off x="1454210" y="2193063"/>
          <a:ext cx="4859687" cy="9674056"/>
        </p:xfrm>
        <a:graphic>
          <a:graphicData uri="http://schemas.openxmlformats.org/drawingml/2006/table">
            <a:tbl>
              <a:tblPr firstRow="1" bandRow="1">
                <a:tableStyleId>{B301B821-A1FF-4177-AEE7-76D212191A09}</a:tableStyleId>
              </a:tblPr>
              <a:tblGrid>
                <a:gridCol w="4859687">
                  <a:extLst>
                    <a:ext uri="{9D8B030D-6E8A-4147-A177-3AD203B41FA5}">
                      <a16:colId xmlns:a16="http://schemas.microsoft.com/office/drawing/2014/main" xmlns="" val="20000"/>
                    </a:ext>
                  </a:extLst>
                </a:gridCol>
              </a:tblGrid>
              <a:tr h="1379790">
                <a:tc>
                  <a:txBody>
                    <a:bodyPr/>
                    <a:lstStyle/>
                    <a:p>
                      <a:pPr algn="ctr"/>
                      <a:r>
                        <a:rPr lang="en-US" sz="6000" b="1" kern="1200" baseline="0" noProof="0" dirty="0" smtClean="0">
                          <a:solidFill>
                            <a:schemeClr val="bg1"/>
                          </a:solidFill>
                          <a:latin typeface="Aleo bold" panose="020F0802020204030203" pitchFamily="34" charset="0"/>
                          <a:ea typeface="+mn-ea"/>
                          <a:cs typeface="+mn-cs"/>
                        </a:rPr>
                        <a:t>K€</a:t>
                      </a:r>
                      <a:endParaRPr lang="en-US" sz="6000" b="1" kern="1200" baseline="0" noProof="0" dirty="0">
                        <a:solidFill>
                          <a:schemeClr val="bg1"/>
                        </a:solidFill>
                        <a:latin typeface="Aleo bold" panose="020F0802020204030203"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BBFB7"/>
                    </a:solidFill>
                  </a:tcPr>
                </a:tc>
                <a:extLst>
                  <a:ext uri="{0D108BD9-81ED-4DB2-BD59-A6C34878D82A}">
                    <a16:rowId xmlns:a16="http://schemas.microsoft.com/office/drawing/2014/main" xmlns="" val="10000"/>
                  </a:ext>
                </a:extLst>
              </a:tr>
              <a:tr h="1634644">
                <a:tc>
                  <a:txBody>
                    <a:bodyPr/>
                    <a:lstStyle/>
                    <a:p>
                      <a:pPr algn="ctr"/>
                      <a:r>
                        <a:rPr lang="en-US" sz="3600" i="1" dirty="0" smtClean="0"/>
                        <a:t>Prospects</a:t>
                      </a:r>
                      <a:endParaRPr lang="en-US" sz="3600" i="1" dirty="0">
                        <a:solidFill>
                          <a:srgbClr val="333333"/>
                        </a:solidFill>
                        <a:latin typeface="Aleo bold" panose="020F080202020403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634644">
                <a:tc>
                  <a:txBody>
                    <a:bodyPr/>
                    <a:lstStyle/>
                    <a:p>
                      <a:pPr algn="ctr"/>
                      <a:r>
                        <a:rPr lang="en-US" sz="3600" dirty="0" smtClean="0"/>
                        <a:t>Customers in backlog</a:t>
                      </a:r>
                      <a:endParaRPr lang="en-US" sz="3600" dirty="0">
                        <a:solidFill>
                          <a:srgbClr val="333333"/>
                        </a:solidFill>
                        <a:latin typeface="Lato Light" panose="020F030202020403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634644">
                <a:tc>
                  <a:txBody>
                    <a:bodyPr/>
                    <a:lstStyle/>
                    <a:p>
                      <a:pPr algn="ctr"/>
                      <a:r>
                        <a:rPr lang="en-US" sz="3600" dirty="0" smtClean="0"/>
                        <a:t>Net Sales</a:t>
                      </a:r>
                      <a:endParaRPr lang="en-US" sz="3600" dirty="0">
                        <a:solidFill>
                          <a:srgbClr val="333333"/>
                        </a:solidFill>
                        <a:latin typeface="Aleo bold" panose="020F080202020403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1695167">
                <a:tc>
                  <a:txBody>
                    <a:bodyPr/>
                    <a:lstStyle/>
                    <a:p>
                      <a:pPr algn="ctr"/>
                      <a:r>
                        <a:rPr lang="en-US" sz="3600" i="1" dirty="0" smtClean="0"/>
                        <a:t>Development costs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1695167">
                <a:tc>
                  <a:txBody>
                    <a:bodyPr/>
                    <a:lstStyle/>
                    <a:p>
                      <a:pPr algn="ctr"/>
                      <a:r>
                        <a:rPr lang="en-US" sz="3600" dirty="0" smtClean="0"/>
                        <a:t>EBIT</a:t>
                      </a:r>
                    </a:p>
                    <a:p>
                      <a:pPr algn="ctr"/>
                      <a:r>
                        <a:rPr lang="en-US" sz="2400" i="1" dirty="0" smtClean="0"/>
                        <a: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10" name="TextBox 9"/>
          <p:cNvSpPr txBox="1"/>
          <p:nvPr/>
        </p:nvSpPr>
        <p:spPr>
          <a:xfrm>
            <a:off x="1454209" y="12324519"/>
            <a:ext cx="21518441" cy="646331"/>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r>
              <a:rPr lang="en-US" sz="3600" dirty="0" smtClean="0">
                <a:solidFill>
                  <a:schemeClr val="bg1"/>
                </a:solidFill>
                <a:latin typeface="Lato Light" panose="020F0302020204030203" pitchFamily="34" charset="0"/>
                <a:ea typeface="Lato Light" panose="020F0302020204030203" pitchFamily="34" charset="0"/>
                <a:cs typeface="Lato Light" panose="020F0302020204030203" pitchFamily="34" charset="0"/>
              </a:rPr>
              <a:t>5 years to prospect 10% of potential market in Europe, secure 0.5% as customers and become profitable</a:t>
            </a:r>
            <a:endParaRPr lang="en-US" sz="3600" dirty="0">
              <a:solidFill>
                <a:schemeClr val="bg1"/>
              </a:solidFill>
              <a:latin typeface="Lato Light" panose="020F0302020204030203" pitchFamily="34" charset="0"/>
              <a:ea typeface="Lato Light" panose="020F0302020204030203" pitchFamily="34" charset="0"/>
              <a:cs typeface="Lato Light" panose="020F0302020204030203" pitchFamily="34" charset="0"/>
            </a:endParaRPr>
          </a:p>
        </p:txBody>
      </p:sp>
      <p:graphicFrame>
        <p:nvGraphicFramePr>
          <p:cNvPr id="11" name="Table 7"/>
          <p:cNvGraphicFramePr>
            <a:graphicFrameLocks noGrp="1"/>
          </p:cNvGraphicFramePr>
          <p:nvPr>
            <p:extLst>
              <p:ext uri="{D42A27DB-BD31-4B8C-83A1-F6EECF244321}">
                <p14:modId xmlns:p14="http://schemas.microsoft.com/office/powerpoint/2010/main" xmlns="" val="184569969"/>
              </p:ext>
            </p:extLst>
          </p:nvPr>
        </p:nvGraphicFramePr>
        <p:xfrm>
          <a:off x="16675987" y="2193063"/>
          <a:ext cx="2983619" cy="9674054"/>
        </p:xfrm>
        <a:graphic>
          <a:graphicData uri="http://schemas.openxmlformats.org/drawingml/2006/table">
            <a:tbl>
              <a:tblPr firstRow="1" bandRow="1">
                <a:tableStyleId>{91EBBBCC-DAD2-459C-BE2E-F6DE35CF9A28}</a:tableStyleId>
              </a:tblPr>
              <a:tblGrid>
                <a:gridCol w="2983619">
                  <a:extLst>
                    <a:ext uri="{9D8B030D-6E8A-4147-A177-3AD203B41FA5}">
                      <a16:colId xmlns:a16="http://schemas.microsoft.com/office/drawing/2014/main" xmlns="" val="20000"/>
                    </a:ext>
                  </a:extLst>
                </a:gridCol>
              </a:tblGrid>
              <a:tr h="13982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6000" dirty="0" smtClean="0"/>
                        <a:t>2019e</a:t>
                      </a:r>
                      <a:endParaRPr lang="en-US" sz="6000" b="1" kern="1200" baseline="0" noProof="0" dirty="0">
                        <a:solidFill>
                          <a:srgbClr val="FFFFFF">
                            <a:alpha val="50000"/>
                          </a:srgbClr>
                        </a:solidFill>
                        <a:latin typeface="Aleo bold" panose="020F0802020204030203" pitchFamily="34" charset="0"/>
                        <a:ea typeface="+mn-ea"/>
                        <a:cs typeface="+mn-cs"/>
                      </a:endParaRPr>
                    </a:p>
                  </a:txBody>
                  <a:tcPr anchor="ctr"/>
                </a:tc>
                <a:extLst>
                  <a:ext uri="{0D108BD9-81ED-4DB2-BD59-A6C34878D82A}">
                    <a16:rowId xmlns:a16="http://schemas.microsoft.com/office/drawing/2014/main" xmlns="" val="10000"/>
                  </a:ext>
                </a:extLst>
              </a:tr>
              <a:tr h="1655154">
                <a:tc>
                  <a:txBody>
                    <a:bodyPr/>
                    <a:lstStyle/>
                    <a:p>
                      <a:pPr algn="ctr"/>
                      <a:r>
                        <a:rPr lang="en-US" sz="3600" i="1" dirty="0" smtClean="0"/>
                        <a:t>800</a:t>
                      </a:r>
                      <a:endParaRPr lang="en-US" sz="3600" i="1"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1"/>
                  </a:ext>
                </a:extLst>
              </a:tr>
              <a:tr h="1655154">
                <a:tc>
                  <a:txBody>
                    <a:bodyPr/>
                    <a:lstStyle/>
                    <a:p>
                      <a:pPr algn="ctr"/>
                      <a:r>
                        <a:rPr lang="en-US" sz="3600" dirty="0" smtClean="0"/>
                        <a:t>120</a:t>
                      </a:r>
                      <a:endParaRPr lang="en-US" sz="36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2"/>
                  </a:ext>
                </a:extLst>
              </a:tr>
              <a:tr h="1655154">
                <a:tc>
                  <a:txBody>
                    <a:bodyPr/>
                    <a:lstStyle/>
                    <a:p>
                      <a:pPr algn="ctr"/>
                      <a:r>
                        <a:rPr lang="en-US" sz="3600" b="1" dirty="0" smtClean="0"/>
                        <a:t>4 800</a:t>
                      </a:r>
                      <a:endParaRPr lang="en-US" sz="3600" b="1"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3"/>
                  </a:ext>
                </a:extLst>
              </a:tr>
              <a:tr h="1655154">
                <a:tc>
                  <a:txBody>
                    <a:bodyPr/>
                    <a:lstStyle/>
                    <a:p>
                      <a:pPr algn="ctr"/>
                      <a:r>
                        <a:rPr lang="en-US" sz="3600" dirty="0" smtClean="0"/>
                        <a:t>7%</a:t>
                      </a:r>
                      <a:endParaRPr lang="en-US" sz="3600" i="1"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4"/>
                  </a:ext>
                </a:extLst>
              </a:tr>
              <a:tr h="1655154">
                <a:tc>
                  <a:txBody>
                    <a:bodyPr/>
                    <a:lstStyle/>
                    <a:p>
                      <a:pPr algn="ctr"/>
                      <a:r>
                        <a:rPr lang="en-US" sz="3600" b="1" dirty="0" smtClean="0"/>
                        <a:t>270</a:t>
                      </a:r>
                    </a:p>
                    <a:p>
                      <a:pPr algn="ctr"/>
                      <a:r>
                        <a:rPr lang="en-US" sz="2400" dirty="0" smtClean="0"/>
                        <a:t>6%</a:t>
                      </a:r>
                      <a:endParaRPr lang="en-US" sz="2400" i="1" dirty="0">
                        <a:solidFill>
                          <a:srgbClr val="333333"/>
                        </a:solidFill>
                        <a:latin typeface="Lato Light" panose="020F0302020204030203" pitchFamily="34" charset="0"/>
                      </a:endParaRPr>
                    </a:p>
                  </a:txBody>
                  <a:tcPr anchor="ctr"/>
                </a:tc>
              </a:tr>
            </a:tbl>
          </a:graphicData>
        </a:graphic>
      </p:graphicFrame>
      <p:graphicFrame>
        <p:nvGraphicFramePr>
          <p:cNvPr id="12" name="Table 7"/>
          <p:cNvGraphicFramePr>
            <a:graphicFrameLocks noGrp="1"/>
          </p:cNvGraphicFramePr>
          <p:nvPr>
            <p:extLst>
              <p:ext uri="{D42A27DB-BD31-4B8C-83A1-F6EECF244321}">
                <p14:modId xmlns:p14="http://schemas.microsoft.com/office/powerpoint/2010/main" xmlns="" val="184569969"/>
              </p:ext>
            </p:extLst>
          </p:nvPr>
        </p:nvGraphicFramePr>
        <p:xfrm>
          <a:off x="19989032" y="2193063"/>
          <a:ext cx="2983619" cy="9674054"/>
        </p:xfrm>
        <a:graphic>
          <a:graphicData uri="http://schemas.openxmlformats.org/drawingml/2006/table">
            <a:tbl>
              <a:tblPr firstRow="1" bandRow="1">
                <a:tableStyleId>{91EBBBCC-DAD2-459C-BE2E-F6DE35CF9A28}</a:tableStyleId>
              </a:tblPr>
              <a:tblGrid>
                <a:gridCol w="2983619">
                  <a:extLst>
                    <a:ext uri="{9D8B030D-6E8A-4147-A177-3AD203B41FA5}">
                      <a16:colId xmlns:a16="http://schemas.microsoft.com/office/drawing/2014/main" xmlns="" val="20000"/>
                    </a:ext>
                  </a:extLst>
                </a:gridCol>
              </a:tblGrid>
              <a:tr h="13982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6000" dirty="0" smtClean="0"/>
                        <a:t>2020e</a:t>
                      </a:r>
                      <a:endParaRPr lang="en-US" sz="6000" b="1" kern="1200" baseline="0" noProof="0" dirty="0">
                        <a:solidFill>
                          <a:srgbClr val="FFFFFF">
                            <a:alpha val="50000"/>
                          </a:srgbClr>
                        </a:solidFill>
                        <a:latin typeface="Aleo bold" panose="020F0802020204030203" pitchFamily="34" charset="0"/>
                        <a:ea typeface="+mn-ea"/>
                        <a:cs typeface="+mn-cs"/>
                      </a:endParaRPr>
                    </a:p>
                  </a:txBody>
                  <a:tcPr anchor="ctr"/>
                </a:tc>
                <a:extLst>
                  <a:ext uri="{0D108BD9-81ED-4DB2-BD59-A6C34878D82A}">
                    <a16:rowId xmlns:a16="http://schemas.microsoft.com/office/drawing/2014/main" xmlns="" val="10000"/>
                  </a:ext>
                </a:extLst>
              </a:tr>
              <a:tr h="1655154">
                <a:tc>
                  <a:txBody>
                    <a:bodyPr/>
                    <a:lstStyle/>
                    <a:p>
                      <a:pPr algn="ctr"/>
                      <a:r>
                        <a:rPr lang="en-US" sz="3600" i="1" dirty="0" smtClean="0"/>
                        <a:t>1 650</a:t>
                      </a:r>
                      <a:endParaRPr lang="en-US" sz="3600" i="1"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1"/>
                  </a:ext>
                </a:extLst>
              </a:tr>
              <a:tr h="1655154">
                <a:tc>
                  <a:txBody>
                    <a:bodyPr/>
                    <a:lstStyle/>
                    <a:p>
                      <a:pPr algn="ctr"/>
                      <a:r>
                        <a:rPr lang="en-US" sz="3600" dirty="0" smtClean="0"/>
                        <a:t>300</a:t>
                      </a:r>
                      <a:endParaRPr lang="en-US" sz="36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2"/>
                  </a:ext>
                </a:extLst>
              </a:tr>
              <a:tr h="1655154">
                <a:tc>
                  <a:txBody>
                    <a:bodyPr/>
                    <a:lstStyle/>
                    <a:p>
                      <a:pPr algn="ctr"/>
                      <a:r>
                        <a:rPr lang="en-US" sz="3600" b="1" dirty="0" smtClean="0"/>
                        <a:t>9 500</a:t>
                      </a:r>
                      <a:endParaRPr lang="en-US" sz="3600" b="1"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3"/>
                  </a:ext>
                </a:extLst>
              </a:tr>
              <a:tr h="1655154">
                <a:tc>
                  <a:txBody>
                    <a:bodyPr/>
                    <a:lstStyle/>
                    <a:p>
                      <a:pPr algn="ctr"/>
                      <a:r>
                        <a:rPr lang="en-US" sz="3600" dirty="0" smtClean="0"/>
                        <a:t>11%</a:t>
                      </a:r>
                      <a:endParaRPr lang="en-US" sz="3600" i="1"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4"/>
                  </a:ext>
                </a:extLst>
              </a:tr>
              <a:tr h="1655154">
                <a:tc>
                  <a:txBody>
                    <a:bodyPr/>
                    <a:lstStyle/>
                    <a:p>
                      <a:pPr algn="ctr"/>
                      <a:r>
                        <a:rPr lang="en-US" sz="3600" b="1" dirty="0" smtClean="0"/>
                        <a:t>3 100</a:t>
                      </a:r>
                    </a:p>
                    <a:p>
                      <a:pPr algn="ctr"/>
                      <a:r>
                        <a:rPr lang="en-US" sz="2400" dirty="0" smtClean="0"/>
                        <a:t>33%</a:t>
                      </a:r>
                      <a:endParaRPr lang="en-US" sz="2400" i="1" dirty="0">
                        <a:solidFill>
                          <a:srgbClr val="333333"/>
                        </a:solidFill>
                        <a:latin typeface="Lato Light" panose="020F0302020204030203" pitchFamily="34" charset="0"/>
                      </a:endParaRPr>
                    </a:p>
                  </a:txBody>
                  <a:tcPr anchor="ctr"/>
                </a:tc>
              </a:tr>
            </a:tbl>
          </a:graphicData>
        </a:graphic>
      </p:graphicFrame>
    </p:spTree>
    <p:extLst>
      <p:ext uri="{BB962C8B-B14F-4D97-AF65-F5344CB8AC3E}">
        <p14:creationId xmlns:p14="http://schemas.microsoft.com/office/powerpoint/2010/main" xmlns="" val="15575502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8077200" y="3251200"/>
            <a:ext cx="8229600" cy="8229600"/>
            <a:chOff x="9917113" y="3389313"/>
            <a:chExt cx="5156200" cy="5156200"/>
          </a:xfrm>
        </p:grpSpPr>
        <p:sp>
          <p:nvSpPr>
            <p:cNvPr id="45" name="AutoShape 2"/>
            <p:cNvSpPr>
              <a:spLocks/>
            </p:cNvSpPr>
            <p:nvPr/>
          </p:nvSpPr>
          <p:spPr bwMode="auto">
            <a:xfrm>
              <a:off x="9917113" y="3389313"/>
              <a:ext cx="5156200" cy="51562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1">
                <a:lumMod val="60000"/>
                <a:lumOff val="40000"/>
                <a:alpha val="10000"/>
              </a:schemeClr>
            </a:solidFill>
            <a:ln>
              <a:no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46" name="Freeform 45"/>
            <p:cNvSpPr>
              <a:spLocks/>
            </p:cNvSpPr>
            <p:nvPr/>
          </p:nvSpPr>
          <p:spPr bwMode="auto">
            <a:xfrm>
              <a:off x="11427342" y="4120413"/>
              <a:ext cx="3645971" cy="4401946"/>
            </a:xfrm>
            <a:custGeom>
              <a:avLst/>
              <a:gdLst>
                <a:gd name="connsiteX0" fmla="*/ 1906621 w 3645971"/>
                <a:gd name="connsiteY0" fmla="*/ 0 h 4401946"/>
                <a:gd name="connsiteX1" fmla="*/ 3480134 w 3645971"/>
                <a:gd name="connsiteY1" fmla="*/ 944108 h 4401946"/>
                <a:gd name="connsiteX2" fmla="*/ 3539772 w 3645971"/>
                <a:gd name="connsiteY2" fmla="*/ 1114586 h 4401946"/>
                <a:gd name="connsiteX3" fmla="*/ 2890778 w 3645971"/>
                <a:gd name="connsiteY3" fmla="*/ 3671540 h 4401946"/>
                <a:gd name="connsiteX4" fmla="*/ 1560180 w 3645971"/>
                <a:gd name="connsiteY4" fmla="*/ 4379534 h 4401946"/>
                <a:gd name="connsiteX5" fmla="*/ 1404895 w 3645971"/>
                <a:gd name="connsiteY5" fmla="*/ 4401946 h 4401946"/>
                <a:gd name="connsiteX6" fmla="*/ 0 w 3645971"/>
                <a:gd name="connsiteY6" fmla="*/ 3521413 h 4401946"/>
                <a:gd name="connsiteX7" fmla="*/ 167431 w 3645971"/>
                <a:gd name="connsiteY7" fmla="*/ 3212178 h 4401946"/>
                <a:gd name="connsiteX8" fmla="*/ 167431 w 3645971"/>
                <a:gd name="connsiteY8" fmla="*/ 669732 h 4401946"/>
                <a:gd name="connsiteX9" fmla="*/ 1544004 w 3645971"/>
                <a:gd name="connsiteY9" fmla="*/ 669732 h 4401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5971" h="4401946">
                  <a:moveTo>
                    <a:pt x="1906621" y="0"/>
                  </a:moveTo>
                  <a:lnTo>
                    <a:pt x="3480134" y="944108"/>
                  </a:lnTo>
                  <a:lnTo>
                    <a:pt x="3539772" y="1114586"/>
                  </a:lnTo>
                  <a:cubicBezTo>
                    <a:pt x="3799370" y="1991528"/>
                    <a:pt x="3583038" y="2979279"/>
                    <a:pt x="2890778" y="3671540"/>
                  </a:cubicBezTo>
                  <a:cubicBezTo>
                    <a:pt x="2513181" y="4049137"/>
                    <a:pt x="2047670" y="4285135"/>
                    <a:pt x="1560180" y="4379534"/>
                  </a:cubicBezTo>
                  <a:lnTo>
                    <a:pt x="1404895" y="4401946"/>
                  </a:lnTo>
                  <a:lnTo>
                    <a:pt x="0" y="3521413"/>
                  </a:lnTo>
                  <a:lnTo>
                    <a:pt x="167431" y="3212178"/>
                  </a:lnTo>
                  <a:lnTo>
                    <a:pt x="167431" y="669732"/>
                  </a:lnTo>
                  <a:lnTo>
                    <a:pt x="1544004" y="669732"/>
                  </a:lnTo>
                  <a:close/>
                </a:path>
              </a:pathLst>
            </a:custGeom>
            <a:solidFill>
              <a:schemeClr val="bg1">
                <a:lumMod val="75000"/>
                <a:alpha val="39000"/>
              </a:schemeClr>
            </a:solidFill>
            <a:ln>
              <a:noFill/>
            </a:ln>
            <a:effectLst/>
            <a:extLst/>
          </p:spPr>
          <p:txBody>
            <a:bodyPr wrap="square" lIns="38100" tIns="38100" rIns="38100" bIns="38100" anchor="ctr">
              <a:noAutofit/>
            </a:bodyPr>
            <a:lstStyle/>
            <a:p>
              <a:pPr defTabSz="457200"/>
              <a:endParaRPr lang="en-US" sz="3000" dirty="0">
                <a:solidFill>
                  <a:srgbClr val="FFFFFF"/>
                </a:solidFill>
                <a:effectLst>
                  <a:outerShdw blurRad="38100" dist="38100" dir="2700000" algn="tl">
                    <a:srgbClr val="000000"/>
                  </a:outerShdw>
                </a:effectLst>
                <a:latin typeface="Lato" panose="020F0502020204030203" pitchFamily="34" charset="0"/>
              </a:endParaRPr>
            </a:p>
          </p:txBody>
        </p:sp>
      </p:grpSp>
      <p:graphicFrame>
        <p:nvGraphicFramePr>
          <p:cNvPr id="44" name="Chart 45"/>
          <p:cNvGraphicFramePr/>
          <p:nvPr>
            <p:extLst/>
          </p:nvPr>
        </p:nvGraphicFramePr>
        <p:xfrm>
          <a:off x="7431212" y="3986213"/>
          <a:ext cx="9650288" cy="6734023"/>
        </p:xfrm>
        <a:graphic>
          <a:graphicData uri="http://schemas.openxmlformats.org/drawingml/2006/chart">
            <c:chart xmlns:c="http://schemas.openxmlformats.org/drawingml/2006/chart" xmlns:r="http://schemas.openxmlformats.org/officeDocument/2006/relationships" r:id="rId3"/>
          </a:graphicData>
        </a:graphic>
      </p:graphicFrame>
      <p:sp>
        <p:nvSpPr>
          <p:cNvPr id="93214" name="AutoShape 30"/>
          <p:cNvSpPr>
            <a:spLocks/>
          </p:cNvSpPr>
          <p:nvPr/>
        </p:nvSpPr>
        <p:spPr bwMode="auto">
          <a:xfrm>
            <a:off x="12604375" y="5416704"/>
            <a:ext cx="1676400" cy="6858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800" b="1" dirty="0">
                <a:solidFill>
                  <a:srgbClr val="FFFFFF"/>
                </a:solidFill>
                <a:latin typeface="Aleo" panose="020F0502020204030203" pitchFamily="34" charset="0"/>
                <a:ea typeface="Aleo Regular" charset="0"/>
                <a:cs typeface="Aleo Regular" charset="0"/>
                <a:sym typeface="Aleo Regular" charset="0"/>
              </a:rPr>
              <a:t>39%</a:t>
            </a:r>
            <a:endParaRPr lang="en-US" sz="4800" dirty="0">
              <a:latin typeface="Lato" panose="020F0502020204030203" pitchFamily="34" charset="0"/>
            </a:endParaRPr>
          </a:p>
        </p:txBody>
      </p:sp>
      <p:sp>
        <p:nvSpPr>
          <p:cNvPr id="93215" name="AutoShape 31"/>
          <p:cNvSpPr>
            <a:spLocks/>
          </p:cNvSpPr>
          <p:nvPr/>
        </p:nvSpPr>
        <p:spPr bwMode="auto">
          <a:xfrm>
            <a:off x="9396682" y="6334601"/>
            <a:ext cx="1676400" cy="6858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800" b="1" dirty="0">
                <a:solidFill>
                  <a:srgbClr val="FFFFFF"/>
                </a:solidFill>
                <a:latin typeface="Aleo" panose="020F0502020204030203" pitchFamily="34" charset="0"/>
                <a:ea typeface="Aleo Regular" charset="0"/>
                <a:cs typeface="Aleo Regular" charset="0"/>
                <a:sym typeface="Aleo Regular" charset="0"/>
              </a:rPr>
              <a:t>22%</a:t>
            </a:r>
            <a:endParaRPr lang="en-US" sz="4800" dirty="0">
              <a:latin typeface="Lato" panose="020F0502020204030203" pitchFamily="34" charset="0"/>
            </a:endParaRPr>
          </a:p>
        </p:txBody>
      </p:sp>
      <p:sp>
        <p:nvSpPr>
          <p:cNvPr id="93216" name="AutoShape 32"/>
          <p:cNvSpPr>
            <a:spLocks/>
          </p:cNvSpPr>
          <p:nvPr/>
        </p:nvSpPr>
        <p:spPr bwMode="auto">
          <a:xfrm>
            <a:off x="9881394" y="8687594"/>
            <a:ext cx="1676400" cy="6858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800" b="1" dirty="0">
                <a:solidFill>
                  <a:srgbClr val="FFFFFF"/>
                </a:solidFill>
                <a:latin typeface="Aleo" panose="020F0502020204030203" pitchFamily="34" charset="0"/>
                <a:ea typeface="Aleo Regular" charset="0"/>
                <a:cs typeface="Aleo Regular" charset="0"/>
                <a:sym typeface="Aleo Regular" charset="0"/>
              </a:rPr>
              <a:t>15%</a:t>
            </a:r>
            <a:endParaRPr lang="en-US" sz="4800" dirty="0">
              <a:latin typeface="Lato" panose="020F0502020204030203" pitchFamily="34" charset="0"/>
            </a:endParaRPr>
          </a:p>
        </p:txBody>
      </p:sp>
      <p:sp>
        <p:nvSpPr>
          <p:cNvPr id="93217" name="AutoShape 33"/>
          <p:cNvSpPr>
            <a:spLocks/>
          </p:cNvSpPr>
          <p:nvPr/>
        </p:nvSpPr>
        <p:spPr bwMode="auto">
          <a:xfrm>
            <a:off x="12352141" y="8729643"/>
            <a:ext cx="1676400" cy="6858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800" b="1" dirty="0">
                <a:solidFill>
                  <a:srgbClr val="FFFFFF"/>
                </a:solidFill>
                <a:latin typeface="Aleo" panose="020F0502020204030203" pitchFamily="34" charset="0"/>
                <a:ea typeface="Aleo Regular" charset="0"/>
                <a:cs typeface="Aleo Regular" charset="0"/>
                <a:sym typeface="Aleo Regular" charset="0"/>
              </a:rPr>
              <a:t>24%</a:t>
            </a:r>
            <a:endParaRPr lang="en-US" sz="4800" dirty="0">
              <a:latin typeface="Lato" panose="020F0502020204030203" pitchFamily="34" charset="0"/>
            </a:endParaRPr>
          </a:p>
        </p:txBody>
      </p:sp>
      <p:sp>
        <p:nvSpPr>
          <p:cNvPr id="93220" name="AutoShape 36"/>
          <p:cNvSpPr>
            <a:spLocks/>
          </p:cNvSpPr>
          <p:nvPr/>
        </p:nvSpPr>
        <p:spPr bwMode="auto">
          <a:xfrm>
            <a:off x="14185525" y="4787900"/>
            <a:ext cx="190500" cy="188913"/>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rgbClr val="FFFDFF"/>
          </a:solidFill>
          <a:ln w="50800" cap="flat" cmpd="sng">
            <a:solidFill>
              <a:schemeClr val="tx2"/>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65BEB4"/>
              </a:solidFill>
              <a:effectLst>
                <a:outerShdw blurRad="38100" dist="38100" dir="2700000" algn="tl">
                  <a:srgbClr val="C0C0C0"/>
                </a:outerShdw>
              </a:effectLst>
              <a:latin typeface="Lato" panose="020F0502020204030203" pitchFamily="34" charset="0"/>
            </a:endParaRPr>
          </a:p>
        </p:txBody>
      </p:sp>
      <p:sp>
        <p:nvSpPr>
          <p:cNvPr id="93222" name="Line 38"/>
          <p:cNvSpPr>
            <a:spLocks noChangeShapeType="1"/>
          </p:cNvSpPr>
          <p:nvPr/>
        </p:nvSpPr>
        <p:spPr bwMode="auto">
          <a:xfrm flipH="1" flipV="1">
            <a:off x="14376025" y="4876800"/>
            <a:ext cx="4349750" cy="0"/>
          </a:xfrm>
          <a:prstGeom prst="line">
            <a:avLst/>
          </a:prstGeom>
          <a:noFill/>
          <a:ln w="38100" cap="flat" cmpd="sng">
            <a:solidFill>
              <a:schemeClr val="tx2"/>
            </a:solidFill>
            <a:prstDash val="solid"/>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pPr algn="l"/>
            <a:endParaRPr lang="en-US" sz="120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endParaRPr>
          </a:p>
        </p:txBody>
      </p:sp>
      <p:sp>
        <p:nvSpPr>
          <p:cNvPr id="93221" name="AutoShape 37"/>
          <p:cNvSpPr>
            <a:spLocks/>
          </p:cNvSpPr>
          <p:nvPr/>
        </p:nvSpPr>
        <p:spPr bwMode="auto">
          <a:xfrm>
            <a:off x="9715654" y="9398000"/>
            <a:ext cx="190500" cy="188913"/>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rgbClr val="FFFDFF"/>
          </a:solidFill>
          <a:ln w="50800" cap="flat" cmpd="sng">
            <a:solidFill>
              <a:schemeClr val="accent1"/>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23313C"/>
              </a:solidFill>
              <a:effectLst>
                <a:outerShdw blurRad="38100" dist="38100" dir="2700000" algn="tl">
                  <a:srgbClr val="C0C0C0"/>
                </a:outerShdw>
              </a:effectLst>
              <a:latin typeface="Lato" panose="020F0502020204030203" pitchFamily="34" charset="0"/>
            </a:endParaRPr>
          </a:p>
        </p:txBody>
      </p:sp>
      <p:sp>
        <p:nvSpPr>
          <p:cNvPr id="93225" name="Line 41"/>
          <p:cNvSpPr>
            <a:spLocks noChangeShapeType="1"/>
          </p:cNvSpPr>
          <p:nvPr/>
        </p:nvSpPr>
        <p:spPr bwMode="auto">
          <a:xfrm flipH="1">
            <a:off x="5988204" y="9499600"/>
            <a:ext cx="3740150" cy="0"/>
          </a:xfrm>
          <a:prstGeom prst="line">
            <a:avLst/>
          </a:prstGeom>
          <a:noFill/>
          <a:ln w="38100" cap="flat" cmpd="sng">
            <a:solidFill>
              <a:schemeClr val="accent1"/>
            </a:solidFill>
            <a:prstDash val="solid"/>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pPr algn="l"/>
            <a:endParaRPr lang="en-US" sz="120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endParaRPr>
          </a:p>
        </p:txBody>
      </p:sp>
      <p:sp>
        <p:nvSpPr>
          <p:cNvPr id="93224" name="AutoShape 40"/>
          <p:cNvSpPr>
            <a:spLocks/>
          </p:cNvSpPr>
          <p:nvPr/>
        </p:nvSpPr>
        <p:spPr bwMode="auto">
          <a:xfrm>
            <a:off x="14584055" y="9423400"/>
            <a:ext cx="190500" cy="188913"/>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rgbClr val="FFFDFF"/>
          </a:solidFill>
          <a:ln w="50800" cap="flat" cmpd="sng">
            <a:solidFill>
              <a:schemeClr val="accent5"/>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814974"/>
              </a:solidFill>
              <a:effectLst>
                <a:outerShdw blurRad="38100" dist="38100" dir="2700000" algn="tl">
                  <a:srgbClr val="C0C0C0"/>
                </a:outerShdw>
              </a:effectLst>
              <a:latin typeface="Lato" panose="020F0502020204030203" pitchFamily="34" charset="0"/>
            </a:endParaRPr>
          </a:p>
        </p:txBody>
      </p:sp>
      <p:sp>
        <p:nvSpPr>
          <p:cNvPr id="93226" name="Line 42"/>
          <p:cNvSpPr>
            <a:spLocks noChangeShapeType="1"/>
          </p:cNvSpPr>
          <p:nvPr/>
        </p:nvSpPr>
        <p:spPr bwMode="auto">
          <a:xfrm flipH="1" flipV="1">
            <a:off x="14774554" y="9525792"/>
            <a:ext cx="3983037" cy="0"/>
          </a:xfrm>
          <a:prstGeom prst="line">
            <a:avLst/>
          </a:prstGeom>
          <a:noFill/>
          <a:ln w="38100" cap="flat" cmpd="sng">
            <a:solidFill>
              <a:schemeClr val="accent5"/>
            </a:solidFill>
            <a:prstDash val="solid"/>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pPr algn="l"/>
            <a:endParaRPr lang="en-US" sz="1200">
              <a:solidFill>
                <a:srgbClr val="814974"/>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endParaRPr>
          </a:p>
        </p:txBody>
      </p:sp>
      <p:sp>
        <p:nvSpPr>
          <p:cNvPr id="2" name="Title 1"/>
          <p:cNvSpPr>
            <a:spLocks noGrp="1"/>
          </p:cNvSpPr>
          <p:nvPr>
            <p:ph type="title"/>
          </p:nvPr>
        </p:nvSpPr>
        <p:spPr>
          <a:xfrm>
            <a:off x="1318792" y="874148"/>
            <a:ext cx="13356733" cy="1508105"/>
          </a:xfrm>
        </p:spPr>
        <p:txBody>
          <a:bodyPr/>
          <a:lstStyle/>
          <a:p>
            <a:r>
              <a:rPr lang="en-US" dirty="0">
                <a:ea typeface="Aleo Regular" charset="0"/>
                <a:cs typeface="Aleo Regular" charset="0"/>
                <a:sym typeface="Aleo Regular" charset="0"/>
              </a:rPr>
              <a:t>Investing strategy (3 rounds)</a:t>
            </a:r>
            <a:endParaRPr lang="en-US" dirty="0"/>
          </a:p>
        </p:txBody>
      </p:sp>
      <p:grpSp>
        <p:nvGrpSpPr>
          <p:cNvPr id="6" name="Group 5"/>
          <p:cNvGrpSpPr/>
          <p:nvPr/>
        </p:nvGrpSpPr>
        <p:grpSpPr>
          <a:xfrm>
            <a:off x="6002492" y="4787900"/>
            <a:ext cx="4316412" cy="188913"/>
            <a:chOff x="6002492" y="4787900"/>
            <a:chExt cx="4316412" cy="188913"/>
          </a:xfrm>
        </p:grpSpPr>
        <p:sp>
          <p:nvSpPr>
            <p:cNvPr id="93219" name="AutoShape 35"/>
            <p:cNvSpPr>
              <a:spLocks/>
            </p:cNvSpPr>
            <p:nvPr/>
          </p:nvSpPr>
          <p:spPr bwMode="auto">
            <a:xfrm>
              <a:off x="10128404" y="4787900"/>
              <a:ext cx="190500" cy="188913"/>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rgbClr val="FFFDFF"/>
            </a:solidFill>
            <a:ln w="50800" cap="flat" cmpd="sng">
              <a:solidFill>
                <a:schemeClr val="accent3"/>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D87F29"/>
                </a:solidFill>
                <a:effectLst>
                  <a:outerShdw blurRad="38100" dist="38100" dir="2700000" algn="tl">
                    <a:srgbClr val="C0C0C0"/>
                  </a:outerShdw>
                </a:effectLst>
                <a:latin typeface="Lato" panose="020F0502020204030203" pitchFamily="34" charset="0"/>
              </a:endParaRPr>
            </a:p>
          </p:txBody>
        </p:sp>
        <p:sp>
          <p:nvSpPr>
            <p:cNvPr id="93223" name="Line 39"/>
            <p:cNvSpPr>
              <a:spLocks noChangeShapeType="1"/>
            </p:cNvSpPr>
            <p:nvPr/>
          </p:nvSpPr>
          <p:spPr bwMode="auto">
            <a:xfrm flipH="1" flipV="1">
              <a:off x="6002492" y="4864100"/>
              <a:ext cx="4143375" cy="23813"/>
            </a:xfrm>
            <a:prstGeom prst="line">
              <a:avLst/>
            </a:prstGeom>
            <a:noFill/>
            <a:ln w="38100" cap="flat" cmpd="sng">
              <a:solidFill>
                <a:schemeClr val="accent3"/>
              </a:solidFill>
              <a:prstDash val="solid"/>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pPr algn="l"/>
              <a:endParaRPr lang="en-US" sz="120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endParaRPr>
            </a:p>
          </p:txBody>
        </p:sp>
      </p:grpSp>
      <p:sp>
        <p:nvSpPr>
          <p:cNvPr id="93192" name="AutoShape 8"/>
          <p:cNvSpPr>
            <a:spLocks/>
          </p:cNvSpPr>
          <p:nvPr/>
        </p:nvSpPr>
        <p:spPr bwMode="auto">
          <a:xfrm>
            <a:off x="17377369" y="5804803"/>
            <a:ext cx="4368800" cy="762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800" b="1" dirty="0">
                <a:solidFill>
                  <a:schemeClr val="tx2"/>
                </a:solidFill>
                <a:latin typeface="Aleo" panose="020F0502020204030203" pitchFamily="34" charset="0"/>
                <a:sym typeface="Aleo Regular" charset="0"/>
              </a:rPr>
              <a:t>Operations</a:t>
            </a:r>
            <a:endParaRPr lang="en-US" sz="4800" dirty="0">
              <a:solidFill>
                <a:schemeClr val="tx2"/>
              </a:solidFill>
              <a:latin typeface="Lato" panose="020F0502020204030203" pitchFamily="34" charset="0"/>
            </a:endParaRPr>
          </a:p>
        </p:txBody>
      </p:sp>
      <p:sp>
        <p:nvSpPr>
          <p:cNvPr id="93193" name="AutoShape 9"/>
          <p:cNvSpPr>
            <a:spLocks/>
          </p:cNvSpPr>
          <p:nvPr/>
        </p:nvSpPr>
        <p:spPr bwMode="auto">
          <a:xfrm>
            <a:off x="16419436" y="10507763"/>
            <a:ext cx="6426046" cy="762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800" b="1" dirty="0">
                <a:solidFill>
                  <a:schemeClr val="accent5"/>
                </a:solidFill>
                <a:latin typeface="Aleo" panose="020F0502020204030203" pitchFamily="34" charset="0"/>
                <a:ea typeface="Aleo Regular" charset="0"/>
                <a:cs typeface="Aleo Regular" charset="0"/>
                <a:sym typeface="Aleo Regular" charset="0"/>
              </a:rPr>
              <a:t>Sales &amp; Marketing</a:t>
            </a:r>
            <a:endParaRPr lang="en-US" sz="4800" dirty="0">
              <a:solidFill>
                <a:schemeClr val="accent5"/>
              </a:solidFill>
              <a:latin typeface="Lato" panose="020F0502020204030203" pitchFamily="34" charset="0"/>
            </a:endParaRPr>
          </a:p>
        </p:txBody>
      </p:sp>
      <p:sp>
        <p:nvSpPr>
          <p:cNvPr id="93196" name="AutoShape 12"/>
          <p:cNvSpPr>
            <a:spLocks/>
          </p:cNvSpPr>
          <p:nvPr/>
        </p:nvSpPr>
        <p:spPr bwMode="auto">
          <a:xfrm>
            <a:off x="17014594" y="6891017"/>
            <a:ext cx="5143500" cy="1092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2800" dirty="0">
                <a:solidFill>
                  <a:schemeClr val="tx1"/>
                </a:solidFill>
                <a:latin typeface="Lato Light" panose="020F0302020204030203" pitchFamily="34" charset="0"/>
                <a:sym typeface="Lato Light" panose="020F0302020204030203" pitchFamily="34" charset="0"/>
              </a:rPr>
              <a:t>Top team (IT and auditors) with above market average compensation</a:t>
            </a:r>
          </a:p>
          <a:p>
            <a:r>
              <a:rPr lang="en-US" sz="2800" dirty="0">
                <a:solidFill>
                  <a:schemeClr val="tx1"/>
                </a:solidFill>
                <a:latin typeface="Lato Light" panose="020F0302020204030203" pitchFamily="34" charset="0"/>
                <a:sym typeface="Lato Light" panose="020F0302020204030203" pitchFamily="34" charset="0"/>
              </a:rPr>
              <a:t>€1M fixed costs</a:t>
            </a:r>
            <a:endParaRPr lang="en-US" sz="2800" dirty="0">
              <a:solidFill>
                <a:schemeClr val="tx1"/>
              </a:solidFill>
              <a:latin typeface="Lato" panose="020F0502020204030203" pitchFamily="34" charset="0"/>
            </a:endParaRPr>
          </a:p>
        </p:txBody>
      </p:sp>
      <p:sp>
        <p:nvSpPr>
          <p:cNvPr id="93197" name="AutoShape 13"/>
          <p:cNvSpPr>
            <a:spLocks/>
          </p:cNvSpPr>
          <p:nvPr/>
        </p:nvSpPr>
        <p:spPr bwMode="auto">
          <a:xfrm>
            <a:off x="16995335" y="11858738"/>
            <a:ext cx="5143500" cy="5969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28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Sales force in each major country</a:t>
            </a:r>
          </a:p>
          <a:p>
            <a:r>
              <a:rPr lang="en-US" sz="2800" dirty="0">
                <a:solidFill>
                  <a:schemeClr val="tx1"/>
                </a:solidFill>
                <a:latin typeface="Lato Light" panose="020F0302020204030203" pitchFamily="34" charset="0"/>
                <a:sym typeface="Lato Light" panose="020F0302020204030203" pitchFamily="34" charset="0"/>
              </a:rPr>
              <a:t>12 months time to contract</a:t>
            </a:r>
            <a:endParaRPr lang="en-US" sz="2800" dirty="0">
              <a:solidFill>
                <a:schemeClr val="tx1"/>
              </a:solidFill>
              <a:latin typeface="Lato" panose="020F0502020204030203" pitchFamily="34" charset="0"/>
            </a:endParaRPr>
          </a:p>
        </p:txBody>
      </p:sp>
      <p:grpSp>
        <p:nvGrpSpPr>
          <p:cNvPr id="11" name="Group 10"/>
          <p:cNvGrpSpPr/>
          <p:nvPr/>
        </p:nvGrpSpPr>
        <p:grpSpPr>
          <a:xfrm>
            <a:off x="18715601" y="3986213"/>
            <a:ext cx="1741487" cy="1741487"/>
            <a:chOff x="18721013" y="3986213"/>
            <a:chExt cx="1741487" cy="1741487"/>
          </a:xfrm>
        </p:grpSpPr>
        <p:sp>
          <p:nvSpPr>
            <p:cNvPr id="93204" name="AutoShape 20"/>
            <p:cNvSpPr>
              <a:spLocks/>
            </p:cNvSpPr>
            <p:nvPr/>
          </p:nvSpPr>
          <p:spPr bwMode="auto">
            <a:xfrm>
              <a:off x="18721013" y="3986213"/>
              <a:ext cx="1741487" cy="17414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3205" name="AutoShape 21"/>
            <p:cNvSpPr>
              <a:spLocks/>
            </p:cNvSpPr>
            <p:nvPr/>
          </p:nvSpPr>
          <p:spPr bwMode="auto">
            <a:xfrm>
              <a:off x="19446500" y="4432300"/>
              <a:ext cx="1008063" cy="1247775"/>
            </a:xfrm>
            <a:custGeom>
              <a:avLst/>
              <a:gdLst>
                <a:gd name="T0" fmla="*/ 10048 w 20096"/>
                <a:gd name="T1" fmla="*/ 10800 h 21600"/>
                <a:gd name="T2" fmla="*/ 10048 w 20096"/>
                <a:gd name="T3" fmla="*/ 10800 h 21600"/>
                <a:gd name="T4" fmla="*/ 10048 w 20096"/>
                <a:gd name="T5" fmla="*/ 10800 h 21600"/>
                <a:gd name="T6" fmla="*/ 10048 w 20096"/>
                <a:gd name="T7" fmla="*/ 10800 h 21600"/>
              </a:gdLst>
              <a:ahLst/>
              <a:cxnLst>
                <a:cxn ang="0">
                  <a:pos x="T0" y="T1"/>
                </a:cxn>
                <a:cxn ang="0">
                  <a:pos x="T2" y="T3"/>
                </a:cxn>
                <a:cxn ang="0">
                  <a:pos x="T4" y="T5"/>
                </a:cxn>
                <a:cxn ang="0">
                  <a:pos x="T6" y="T7"/>
                </a:cxn>
              </a:cxnLst>
              <a:rect l="0" t="0" r="r" b="b"/>
              <a:pathLst>
                <a:path w="20096" h="21600">
                  <a:moveTo>
                    <a:pt x="0" y="16694"/>
                  </a:moveTo>
                  <a:lnTo>
                    <a:pt x="7171" y="21600"/>
                  </a:lnTo>
                  <a:cubicBezTo>
                    <a:pt x="7171" y="21600"/>
                    <a:pt x="12181" y="21515"/>
                    <a:pt x="16790" y="16181"/>
                  </a:cubicBezTo>
                  <a:cubicBezTo>
                    <a:pt x="21599" y="10617"/>
                    <a:pt x="19743" y="4539"/>
                    <a:pt x="19743" y="4539"/>
                  </a:cubicBezTo>
                  <a:lnTo>
                    <a:pt x="9365" y="0"/>
                  </a:lnTo>
                  <a:cubicBezTo>
                    <a:pt x="9365" y="0"/>
                    <a:pt x="16452" y="6663"/>
                    <a:pt x="11643" y="12593"/>
                  </a:cubicBezTo>
                  <a:cubicBezTo>
                    <a:pt x="6987" y="18335"/>
                    <a:pt x="0" y="16694"/>
                    <a:pt x="0" y="16694"/>
                  </a:cubicBezTo>
                  <a:close/>
                </a:path>
              </a:pathLst>
            </a:custGeom>
            <a:solidFill>
              <a:schemeClr val="bg2">
                <a:lumMod val="75000"/>
              </a:schemeClr>
            </a:solidFill>
            <a:ln>
              <a:noFill/>
            </a:ln>
            <a:effectLst/>
            <a:extLst/>
          </p:spPr>
          <p:txBody>
            <a:bodyPr lIns="0" tIns="0" rIns="0" bIns="0" anchor="ctr"/>
            <a:lstStyle/>
            <a:p>
              <a:endParaRPr lang="en-US" dirty="0">
                <a:latin typeface="Lato" panose="020F0502020204030203" pitchFamily="34" charset="0"/>
              </a:endParaRPr>
            </a:p>
          </p:txBody>
        </p:sp>
        <p:sp>
          <p:nvSpPr>
            <p:cNvPr id="93206" name="AutoShape 22"/>
            <p:cNvSpPr>
              <a:spLocks/>
            </p:cNvSpPr>
            <p:nvPr/>
          </p:nvSpPr>
          <p:spPr bwMode="auto">
            <a:xfrm>
              <a:off x="19051213" y="4316413"/>
              <a:ext cx="1093787" cy="10937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bg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3210" name="AutoShape 26"/>
            <p:cNvSpPr>
              <a:spLocks/>
            </p:cNvSpPr>
            <p:nvPr/>
          </p:nvSpPr>
          <p:spPr bwMode="auto">
            <a:xfrm>
              <a:off x="19133763" y="4567238"/>
              <a:ext cx="850900" cy="6858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532" y="13485"/>
                  </a:moveTo>
                  <a:lnTo>
                    <a:pt x="2112" y="11915"/>
                  </a:lnTo>
                  <a:lnTo>
                    <a:pt x="4796" y="11915"/>
                  </a:lnTo>
                  <a:lnTo>
                    <a:pt x="4796" y="13485"/>
                  </a:lnTo>
                  <a:cubicBezTo>
                    <a:pt x="4796" y="13485"/>
                    <a:pt x="2532" y="13485"/>
                    <a:pt x="2532" y="13485"/>
                  </a:cubicBezTo>
                  <a:close/>
                  <a:moveTo>
                    <a:pt x="0" y="9341"/>
                  </a:moveTo>
                  <a:lnTo>
                    <a:pt x="4796" y="9341"/>
                  </a:lnTo>
                  <a:lnTo>
                    <a:pt x="4796" y="10911"/>
                  </a:lnTo>
                  <a:lnTo>
                    <a:pt x="419" y="10911"/>
                  </a:lnTo>
                  <a:cubicBezTo>
                    <a:pt x="419" y="10911"/>
                    <a:pt x="0" y="9341"/>
                    <a:pt x="0" y="9341"/>
                  </a:cubicBezTo>
                  <a:close/>
                  <a:moveTo>
                    <a:pt x="857" y="6767"/>
                  </a:moveTo>
                  <a:lnTo>
                    <a:pt x="4796" y="6767"/>
                  </a:lnTo>
                  <a:lnTo>
                    <a:pt x="4796" y="8338"/>
                  </a:lnTo>
                  <a:lnTo>
                    <a:pt x="1276" y="8338"/>
                  </a:lnTo>
                  <a:cubicBezTo>
                    <a:pt x="1276" y="8338"/>
                    <a:pt x="857" y="6767"/>
                    <a:pt x="857" y="6767"/>
                  </a:cubicBezTo>
                  <a:close/>
                  <a:moveTo>
                    <a:pt x="17977" y="15805"/>
                  </a:moveTo>
                  <a:lnTo>
                    <a:pt x="18219" y="15629"/>
                  </a:lnTo>
                  <a:lnTo>
                    <a:pt x="18219" y="14084"/>
                  </a:lnTo>
                  <a:lnTo>
                    <a:pt x="17977" y="14260"/>
                  </a:lnTo>
                  <a:cubicBezTo>
                    <a:pt x="17977" y="14260"/>
                    <a:pt x="17977" y="15805"/>
                    <a:pt x="17977" y="15805"/>
                  </a:cubicBezTo>
                  <a:close/>
                  <a:moveTo>
                    <a:pt x="18985" y="15073"/>
                  </a:moveTo>
                  <a:lnTo>
                    <a:pt x="19188" y="14925"/>
                  </a:lnTo>
                  <a:lnTo>
                    <a:pt x="19227" y="14897"/>
                  </a:lnTo>
                  <a:lnTo>
                    <a:pt x="19227" y="13352"/>
                  </a:lnTo>
                  <a:lnTo>
                    <a:pt x="18985" y="13528"/>
                  </a:lnTo>
                  <a:cubicBezTo>
                    <a:pt x="18985" y="13528"/>
                    <a:pt x="18985" y="15073"/>
                    <a:pt x="18985" y="15073"/>
                  </a:cubicBezTo>
                  <a:close/>
                  <a:moveTo>
                    <a:pt x="17572" y="16099"/>
                  </a:moveTo>
                  <a:lnTo>
                    <a:pt x="17815" y="15924"/>
                  </a:lnTo>
                  <a:lnTo>
                    <a:pt x="17815" y="14379"/>
                  </a:lnTo>
                  <a:lnTo>
                    <a:pt x="17572" y="14554"/>
                  </a:lnTo>
                  <a:cubicBezTo>
                    <a:pt x="17572" y="14554"/>
                    <a:pt x="17572" y="16099"/>
                    <a:pt x="17572" y="16099"/>
                  </a:cubicBezTo>
                  <a:close/>
                  <a:moveTo>
                    <a:pt x="20340" y="8167"/>
                  </a:moveTo>
                  <a:lnTo>
                    <a:pt x="19129" y="9003"/>
                  </a:lnTo>
                  <a:lnTo>
                    <a:pt x="19129" y="11811"/>
                  </a:lnTo>
                  <a:lnTo>
                    <a:pt x="19121" y="11816"/>
                  </a:lnTo>
                  <a:lnTo>
                    <a:pt x="19121" y="11828"/>
                  </a:lnTo>
                  <a:lnTo>
                    <a:pt x="16752" y="13460"/>
                  </a:lnTo>
                  <a:lnTo>
                    <a:pt x="16752" y="13450"/>
                  </a:lnTo>
                  <a:lnTo>
                    <a:pt x="16744" y="13456"/>
                  </a:lnTo>
                  <a:lnTo>
                    <a:pt x="16744" y="10652"/>
                  </a:lnTo>
                  <a:lnTo>
                    <a:pt x="15313" y="11641"/>
                  </a:lnTo>
                  <a:lnTo>
                    <a:pt x="15313" y="19350"/>
                  </a:lnTo>
                  <a:lnTo>
                    <a:pt x="20340" y="15697"/>
                  </a:lnTo>
                  <a:lnTo>
                    <a:pt x="20340" y="8167"/>
                  </a:lnTo>
                  <a:cubicBezTo>
                    <a:pt x="20340" y="8167"/>
                    <a:pt x="20340" y="8167"/>
                    <a:pt x="20340" y="8167"/>
                  </a:cubicBezTo>
                  <a:close/>
                  <a:moveTo>
                    <a:pt x="16039" y="9339"/>
                  </a:moveTo>
                  <a:lnTo>
                    <a:pt x="9400" y="4392"/>
                  </a:lnTo>
                  <a:lnTo>
                    <a:pt x="7993" y="5405"/>
                  </a:lnTo>
                  <a:lnTo>
                    <a:pt x="14703" y="10262"/>
                  </a:lnTo>
                  <a:cubicBezTo>
                    <a:pt x="14703" y="10262"/>
                    <a:pt x="16039" y="9339"/>
                    <a:pt x="16039" y="9339"/>
                  </a:cubicBezTo>
                  <a:close/>
                  <a:moveTo>
                    <a:pt x="14051" y="11610"/>
                  </a:moveTo>
                  <a:lnTo>
                    <a:pt x="7329" y="6755"/>
                  </a:lnTo>
                  <a:lnTo>
                    <a:pt x="7329" y="14415"/>
                  </a:lnTo>
                  <a:lnTo>
                    <a:pt x="14051" y="19290"/>
                  </a:lnTo>
                  <a:cubicBezTo>
                    <a:pt x="14051" y="19290"/>
                    <a:pt x="14051" y="11610"/>
                    <a:pt x="14051" y="11610"/>
                  </a:cubicBezTo>
                  <a:close/>
                  <a:moveTo>
                    <a:pt x="11686" y="2744"/>
                  </a:moveTo>
                  <a:lnTo>
                    <a:pt x="18412" y="7699"/>
                  </a:lnTo>
                  <a:lnTo>
                    <a:pt x="19782" y="6752"/>
                  </a:lnTo>
                  <a:lnTo>
                    <a:pt x="12969" y="1820"/>
                  </a:lnTo>
                  <a:cubicBezTo>
                    <a:pt x="12969" y="1820"/>
                    <a:pt x="11686" y="2744"/>
                    <a:pt x="11686" y="2744"/>
                  </a:cubicBezTo>
                  <a:close/>
                  <a:moveTo>
                    <a:pt x="21600" y="6247"/>
                  </a:moveTo>
                  <a:lnTo>
                    <a:pt x="21600" y="16604"/>
                  </a:lnTo>
                  <a:lnTo>
                    <a:pt x="14723" y="21600"/>
                  </a:lnTo>
                  <a:lnTo>
                    <a:pt x="6082" y="15320"/>
                  </a:lnTo>
                  <a:lnTo>
                    <a:pt x="6082" y="4963"/>
                  </a:lnTo>
                  <a:lnTo>
                    <a:pt x="12971" y="0"/>
                  </a:lnTo>
                  <a:cubicBezTo>
                    <a:pt x="12971" y="0"/>
                    <a:pt x="21600" y="6247"/>
                    <a:pt x="21600" y="6247"/>
                  </a:cubicBezTo>
                  <a:close/>
                  <a:moveTo>
                    <a:pt x="18385" y="15509"/>
                  </a:moveTo>
                  <a:lnTo>
                    <a:pt x="18631" y="15330"/>
                  </a:lnTo>
                  <a:lnTo>
                    <a:pt x="18631" y="13785"/>
                  </a:lnTo>
                  <a:lnTo>
                    <a:pt x="18385" y="13964"/>
                  </a:lnTo>
                  <a:cubicBezTo>
                    <a:pt x="18385" y="13964"/>
                    <a:pt x="18385" y="15509"/>
                    <a:pt x="18385" y="15509"/>
                  </a:cubicBezTo>
                  <a:close/>
                  <a:moveTo>
                    <a:pt x="16581" y="16819"/>
                  </a:moveTo>
                  <a:lnTo>
                    <a:pt x="16823" y="16644"/>
                  </a:lnTo>
                  <a:lnTo>
                    <a:pt x="16823" y="15098"/>
                  </a:lnTo>
                  <a:lnTo>
                    <a:pt x="16577" y="15277"/>
                  </a:lnTo>
                  <a:cubicBezTo>
                    <a:pt x="16577" y="15277"/>
                    <a:pt x="16581" y="16819"/>
                    <a:pt x="16581" y="16819"/>
                  </a:cubicBezTo>
                  <a:close/>
                  <a:moveTo>
                    <a:pt x="16993" y="14975"/>
                  </a:moveTo>
                  <a:lnTo>
                    <a:pt x="17235" y="14799"/>
                  </a:lnTo>
                  <a:lnTo>
                    <a:pt x="17235" y="16344"/>
                  </a:lnTo>
                  <a:lnTo>
                    <a:pt x="16993" y="16520"/>
                  </a:lnTo>
                  <a:cubicBezTo>
                    <a:pt x="16993" y="16520"/>
                    <a:pt x="16993" y="14975"/>
                    <a:pt x="16993" y="14975"/>
                  </a:cubicBezTo>
                  <a:close/>
                </a:path>
              </a:pathLst>
            </a:custGeom>
            <a:solidFill>
              <a:srgbClr val="FFFFFF"/>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C0C0C0"/>
                  </a:outerShdw>
                </a:effectLst>
                <a:latin typeface="Lato" panose="020F0502020204030203" pitchFamily="34" charset="0"/>
              </a:endParaRPr>
            </a:p>
          </p:txBody>
        </p:sp>
      </p:grpSp>
      <p:grpSp>
        <p:nvGrpSpPr>
          <p:cNvPr id="12" name="Group 11"/>
          <p:cNvGrpSpPr/>
          <p:nvPr/>
        </p:nvGrpSpPr>
        <p:grpSpPr>
          <a:xfrm>
            <a:off x="18714047" y="8596313"/>
            <a:ext cx="1743765" cy="1741487"/>
            <a:chOff x="18717905" y="8596313"/>
            <a:chExt cx="1743765" cy="1741487"/>
          </a:xfrm>
        </p:grpSpPr>
        <p:sp>
          <p:nvSpPr>
            <p:cNvPr id="93185" name="AutoShape 1"/>
            <p:cNvSpPr>
              <a:spLocks/>
            </p:cNvSpPr>
            <p:nvPr/>
          </p:nvSpPr>
          <p:spPr bwMode="auto">
            <a:xfrm>
              <a:off x="18717905" y="8596313"/>
              <a:ext cx="1741487" cy="17414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51" name="Freeform 50"/>
            <p:cNvSpPr>
              <a:spLocks/>
            </p:cNvSpPr>
            <p:nvPr/>
          </p:nvSpPr>
          <p:spPr bwMode="auto">
            <a:xfrm>
              <a:off x="19223486" y="9047128"/>
              <a:ext cx="1238184" cy="1259807"/>
            </a:xfrm>
            <a:custGeom>
              <a:avLst/>
              <a:gdLst>
                <a:gd name="connsiteX0" fmla="*/ 663446 w 1238184"/>
                <a:gd name="connsiteY0" fmla="*/ 0 h 1259807"/>
                <a:gd name="connsiteX1" fmla="*/ 1225726 w 1238184"/>
                <a:gd name="connsiteY1" fmla="*/ 285080 h 1259807"/>
                <a:gd name="connsiteX2" fmla="*/ 1238184 w 1238184"/>
                <a:gd name="connsiteY2" fmla="*/ 415042 h 1259807"/>
                <a:gd name="connsiteX3" fmla="*/ 983120 w 1238184"/>
                <a:gd name="connsiteY3" fmla="*/ 1030744 h 1259807"/>
                <a:gd name="connsiteX4" fmla="*/ 615318 w 1238184"/>
                <a:gd name="connsiteY4" fmla="*/ 1249939 h 1259807"/>
                <a:gd name="connsiteX5" fmla="*/ 574910 w 1238184"/>
                <a:gd name="connsiteY5" fmla="*/ 1259807 h 1259807"/>
                <a:gd name="connsiteX6" fmla="*/ 0 w 1238184"/>
                <a:gd name="connsiteY6" fmla="*/ 824687 h 1259807"/>
                <a:gd name="connsiteX7" fmla="*/ 777716 w 1238184"/>
                <a:gd name="connsiteY7" fmla="*/ 727465 h 1259807"/>
                <a:gd name="connsiteX8" fmla="*/ 663446 w 1238184"/>
                <a:gd name="connsiteY8" fmla="*/ 0 h 1259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184" h="1259807">
                  <a:moveTo>
                    <a:pt x="663446" y="0"/>
                  </a:moveTo>
                  <a:lnTo>
                    <a:pt x="1225726" y="285080"/>
                  </a:lnTo>
                  <a:lnTo>
                    <a:pt x="1238184" y="415042"/>
                  </a:lnTo>
                  <a:cubicBezTo>
                    <a:pt x="1238184" y="637872"/>
                    <a:pt x="1153162" y="860702"/>
                    <a:pt x="983120" y="1030744"/>
                  </a:cubicBezTo>
                  <a:cubicBezTo>
                    <a:pt x="876844" y="1137021"/>
                    <a:pt x="749948" y="1210086"/>
                    <a:pt x="615318" y="1249939"/>
                  </a:cubicBezTo>
                  <a:lnTo>
                    <a:pt x="574910" y="1259807"/>
                  </a:lnTo>
                  <a:lnTo>
                    <a:pt x="0" y="824687"/>
                  </a:lnTo>
                  <a:cubicBezTo>
                    <a:pt x="0" y="824687"/>
                    <a:pt x="544160" y="1059165"/>
                    <a:pt x="777716" y="727465"/>
                  </a:cubicBezTo>
                  <a:cubicBezTo>
                    <a:pt x="1018948" y="384904"/>
                    <a:pt x="663446" y="0"/>
                    <a:pt x="663446" y="0"/>
                  </a:cubicBezTo>
                  <a:close/>
                </a:path>
              </a:pathLst>
            </a:custGeom>
            <a:solidFill>
              <a:schemeClr val="accent5">
                <a:lumMod val="75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93187" name="AutoShape 3"/>
            <p:cNvSpPr>
              <a:spLocks/>
            </p:cNvSpPr>
            <p:nvPr/>
          </p:nvSpPr>
          <p:spPr bwMode="auto">
            <a:xfrm>
              <a:off x="19041755" y="8920163"/>
              <a:ext cx="1093787" cy="10937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6"/>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3212" name="AutoShape 28"/>
            <p:cNvSpPr>
              <a:spLocks/>
            </p:cNvSpPr>
            <p:nvPr/>
          </p:nvSpPr>
          <p:spPr bwMode="auto">
            <a:xfrm>
              <a:off x="19202092" y="9080500"/>
              <a:ext cx="762000" cy="6731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914" y="16860"/>
                  </a:moveTo>
                  <a:lnTo>
                    <a:pt x="8914" y="9641"/>
                  </a:lnTo>
                  <a:lnTo>
                    <a:pt x="14054" y="13251"/>
                  </a:lnTo>
                  <a:cubicBezTo>
                    <a:pt x="14054" y="13251"/>
                    <a:pt x="8914" y="16860"/>
                    <a:pt x="8914" y="16860"/>
                  </a:cubicBezTo>
                  <a:close/>
                  <a:moveTo>
                    <a:pt x="3145" y="19197"/>
                  </a:moveTo>
                  <a:lnTo>
                    <a:pt x="3145" y="7189"/>
                  </a:lnTo>
                  <a:lnTo>
                    <a:pt x="18453" y="7189"/>
                  </a:lnTo>
                  <a:lnTo>
                    <a:pt x="18453" y="19197"/>
                  </a:lnTo>
                  <a:cubicBezTo>
                    <a:pt x="18453" y="19197"/>
                    <a:pt x="3145" y="19197"/>
                    <a:pt x="3145" y="19197"/>
                  </a:cubicBezTo>
                  <a:close/>
                  <a:moveTo>
                    <a:pt x="11655" y="4788"/>
                  </a:moveTo>
                  <a:lnTo>
                    <a:pt x="15065" y="888"/>
                  </a:lnTo>
                  <a:lnTo>
                    <a:pt x="14289" y="0"/>
                  </a:lnTo>
                  <a:lnTo>
                    <a:pt x="10798" y="3997"/>
                  </a:lnTo>
                  <a:lnTo>
                    <a:pt x="7310" y="2"/>
                  </a:lnTo>
                  <a:lnTo>
                    <a:pt x="6533" y="891"/>
                  </a:lnTo>
                  <a:lnTo>
                    <a:pt x="9941" y="4788"/>
                  </a:lnTo>
                  <a:lnTo>
                    <a:pt x="0" y="4788"/>
                  </a:lnTo>
                  <a:lnTo>
                    <a:pt x="0" y="21600"/>
                  </a:lnTo>
                  <a:lnTo>
                    <a:pt x="21600" y="21600"/>
                  </a:lnTo>
                  <a:lnTo>
                    <a:pt x="21600" y="4788"/>
                  </a:lnTo>
                  <a:cubicBezTo>
                    <a:pt x="21600" y="4788"/>
                    <a:pt x="11655" y="4788"/>
                    <a:pt x="11655" y="4788"/>
                  </a:cubicBezTo>
                  <a:close/>
                </a:path>
              </a:pathLst>
            </a:custGeom>
            <a:solidFill>
              <a:srgbClr val="FFFFFF"/>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C0C0C0"/>
                  </a:outerShdw>
                </a:effectLst>
                <a:latin typeface="Lato" panose="020F0502020204030203" pitchFamily="34" charset="0"/>
              </a:endParaRPr>
            </a:p>
          </p:txBody>
        </p:sp>
      </p:grpSp>
      <p:sp>
        <p:nvSpPr>
          <p:cNvPr id="93190" name="AutoShape 6"/>
          <p:cNvSpPr>
            <a:spLocks/>
          </p:cNvSpPr>
          <p:nvPr/>
        </p:nvSpPr>
        <p:spPr bwMode="auto">
          <a:xfrm>
            <a:off x="2219479" y="11045033"/>
            <a:ext cx="5854700" cy="1092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28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40 - 50 </a:t>
            </a:r>
            <a:r>
              <a:rPr lang="en-US" sz="28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tests developed / </a:t>
            </a:r>
            <a:r>
              <a:rPr lang="en-US" sz="28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year</a:t>
            </a:r>
            <a:endParaRPr lang="en-US" sz="28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endParaRPr>
          </a:p>
          <a:p>
            <a:r>
              <a:rPr lang="en-US" sz="2800" dirty="0">
                <a:solidFill>
                  <a:schemeClr val="tx1"/>
                </a:solidFill>
                <a:latin typeface="Lato Light" panose="020F0302020204030203" pitchFamily="34" charset="0"/>
                <a:sym typeface="Lato Light" panose="020F0302020204030203" pitchFamily="34" charset="0"/>
              </a:rPr>
              <a:t>155 man/day for 50 tests</a:t>
            </a:r>
            <a:endParaRPr lang="en-US" sz="2800" dirty="0">
              <a:solidFill>
                <a:schemeClr val="tx1"/>
              </a:solidFill>
              <a:latin typeface="Lato" panose="020F0502020204030203" pitchFamily="34" charset="0"/>
            </a:endParaRPr>
          </a:p>
        </p:txBody>
      </p:sp>
      <p:sp>
        <p:nvSpPr>
          <p:cNvPr id="93191" name="AutoShape 7"/>
          <p:cNvSpPr>
            <a:spLocks/>
          </p:cNvSpPr>
          <p:nvPr/>
        </p:nvSpPr>
        <p:spPr bwMode="auto">
          <a:xfrm>
            <a:off x="2727590" y="5772193"/>
            <a:ext cx="4895320" cy="762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800" b="1" dirty="0">
                <a:solidFill>
                  <a:schemeClr val="accent3"/>
                </a:solidFill>
                <a:latin typeface="Aleo" panose="020F0502020204030203" pitchFamily="34" charset="0"/>
                <a:ea typeface="Aleo Regular" charset="0"/>
                <a:cs typeface="Aleo Regular" charset="0"/>
                <a:sym typeface="Aleo Regular" charset="0"/>
              </a:rPr>
              <a:t>Working Capital</a:t>
            </a:r>
            <a:endParaRPr lang="en-US" sz="4800" dirty="0">
              <a:solidFill>
                <a:schemeClr val="accent3"/>
              </a:solidFill>
              <a:latin typeface="Lato" panose="020F0502020204030203" pitchFamily="34" charset="0"/>
            </a:endParaRPr>
          </a:p>
        </p:txBody>
      </p:sp>
      <p:sp>
        <p:nvSpPr>
          <p:cNvPr id="93194" name="AutoShape 10"/>
          <p:cNvSpPr>
            <a:spLocks/>
          </p:cNvSpPr>
          <p:nvPr/>
        </p:nvSpPr>
        <p:spPr bwMode="auto">
          <a:xfrm>
            <a:off x="2933700" y="10370498"/>
            <a:ext cx="4368800" cy="762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800" b="1" dirty="0">
                <a:solidFill>
                  <a:schemeClr val="accent1"/>
                </a:solidFill>
                <a:latin typeface="Aleo" panose="020F0502020204030203" pitchFamily="34" charset="0"/>
                <a:ea typeface="Aleo Regular" charset="0"/>
                <a:cs typeface="Aleo Regular" charset="0"/>
                <a:sym typeface="Aleo Regular" charset="0"/>
              </a:rPr>
              <a:t>Development</a:t>
            </a:r>
            <a:endParaRPr lang="en-US" sz="4800" dirty="0">
              <a:solidFill>
                <a:schemeClr val="accent1"/>
              </a:solidFill>
              <a:latin typeface="Lato" panose="020F0502020204030203" pitchFamily="34" charset="0"/>
            </a:endParaRPr>
          </a:p>
        </p:txBody>
      </p:sp>
      <p:sp>
        <p:nvSpPr>
          <p:cNvPr id="93195" name="AutoShape 11"/>
          <p:cNvSpPr>
            <a:spLocks/>
          </p:cNvSpPr>
          <p:nvPr/>
        </p:nvSpPr>
        <p:spPr bwMode="auto">
          <a:xfrm>
            <a:off x="2088358" y="6313097"/>
            <a:ext cx="5854700" cy="1092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28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3 months daily sales outstanding</a:t>
            </a:r>
            <a:endParaRPr lang="en-US" sz="2800" dirty="0">
              <a:solidFill>
                <a:schemeClr val="tx1"/>
              </a:solidFill>
              <a:latin typeface="Lato" panose="020F0502020204030203" pitchFamily="34" charset="0"/>
            </a:endParaRPr>
          </a:p>
        </p:txBody>
      </p:sp>
      <p:grpSp>
        <p:nvGrpSpPr>
          <p:cNvPr id="9" name="Group 8"/>
          <p:cNvGrpSpPr/>
          <p:nvPr/>
        </p:nvGrpSpPr>
        <p:grpSpPr>
          <a:xfrm>
            <a:off x="4298157" y="8596313"/>
            <a:ext cx="1741487" cy="1741487"/>
            <a:chOff x="4265767" y="8596313"/>
            <a:chExt cx="1741487" cy="1741487"/>
          </a:xfrm>
        </p:grpSpPr>
        <p:sp>
          <p:nvSpPr>
            <p:cNvPr id="93198" name="AutoShape 14"/>
            <p:cNvSpPr>
              <a:spLocks/>
            </p:cNvSpPr>
            <p:nvPr/>
          </p:nvSpPr>
          <p:spPr bwMode="auto">
            <a:xfrm>
              <a:off x="4265767" y="8596313"/>
              <a:ext cx="1741487" cy="17414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3199" name="AutoShape 15"/>
            <p:cNvSpPr>
              <a:spLocks/>
            </p:cNvSpPr>
            <p:nvPr/>
          </p:nvSpPr>
          <p:spPr bwMode="auto">
            <a:xfrm>
              <a:off x="4991254" y="9042400"/>
              <a:ext cx="1008063" cy="1247775"/>
            </a:xfrm>
            <a:custGeom>
              <a:avLst/>
              <a:gdLst>
                <a:gd name="T0" fmla="*/ 10048 w 20096"/>
                <a:gd name="T1" fmla="*/ 10800 h 21600"/>
                <a:gd name="T2" fmla="*/ 10048 w 20096"/>
                <a:gd name="T3" fmla="*/ 10800 h 21600"/>
                <a:gd name="T4" fmla="*/ 10048 w 20096"/>
                <a:gd name="T5" fmla="*/ 10800 h 21600"/>
                <a:gd name="T6" fmla="*/ 10048 w 20096"/>
                <a:gd name="T7" fmla="*/ 10800 h 21600"/>
              </a:gdLst>
              <a:ahLst/>
              <a:cxnLst>
                <a:cxn ang="0">
                  <a:pos x="T0" y="T1"/>
                </a:cxn>
                <a:cxn ang="0">
                  <a:pos x="T2" y="T3"/>
                </a:cxn>
                <a:cxn ang="0">
                  <a:pos x="T4" y="T5"/>
                </a:cxn>
                <a:cxn ang="0">
                  <a:pos x="T6" y="T7"/>
                </a:cxn>
              </a:cxnLst>
              <a:rect l="0" t="0" r="r" b="b"/>
              <a:pathLst>
                <a:path w="20096" h="21600">
                  <a:moveTo>
                    <a:pt x="0" y="16694"/>
                  </a:moveTo>
                  <a:lnTo>
                    <a:pt x="7171" y="21600"/>
                  </a:lnTo>
                  <a:cubicBezTo>
                    <a:pt x="7171" y="21600"/>
                    <a:pt x="12181" y="21515"/>
                    <a:pt x="16790" y="16181"/>
                  </a:cubicBezTo>
                  <a:cubicBezTo>
                    <a:pt x="21600" y="10617"/>
                    <a:pt x="19743" y="4539"/>
                    <a:pt x="19743" y="4539"/>
                  </a:cubicBezTo>
                  <a:lnTo>
                    <a:pt x="9365" y="0"/>
                  </a:lnTo>
                  <a:cubicBezTo>
                    <a:pt x="9365" y="0"/>
                    <a:pt x="16452" y="6663"/>
                    <a:pt x="11643" y="12593"/>
                  </a:cubicBezTo>
                  <a:cubicBezTo>
                    <a:pt x="6987" y="18335"/>
                    <a:pt x="0" y="16694"/>
                    <a:pt x="0" y="16694"/>
                  </a:cubicBezTo>
                  <a:close/>
                </a:path>
              </a:pathLst>
            </a:custGeom>
            <a:solidFill>
              <a:schemeClr val="accent1">
                <a:lumMod val="75000"/>
              </a:schemeClr>
            </a:solidFill>
            <a:ln>
              <a:noFill/>
            </a:ln>
            <a:effectLst/>
            <a:extLst/>
          </p:spPr>
          <p:txBody>
            <a:bodyPr lIns="0" tIns="0" rIns="0" bIns="0" anchor="ctr"/>
            <a:lstStyle/>
            <a:p>
              <a:endParaRPr lang="en-US" dirty="0">
                <a:latin typeface="Lato" panose="020F0502020204030203" pitchFamily="34" charset="0"/>
              </a:endParaRPr>
            </a:p>
          </p:txBody>
        </p:sp>
        <p:sp>
          <p:nvSpPr>
            <p:cNvPr id="93200" name="AutoShape 16"/>
            <p:cNvSpPr>
              <a:spLocks/>
            </p:cNvSpPr>
            <p:nvPr/>
          </p:nvSpPr>
          <p:spPr bwMode="auto">
            <a:xfrm>
              <a:off x="4595967" y="8926513"/>
              <a:ext cx="1093787" cy="10937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grpSp>
        <p:nvGrpSpPr>
          <p:cNvPr id="10" name="Group 9"/>
          <p:cNvGrpSpPr/>
          <p:nvPr/>
        </p:nvGrpSpPr>
        <p:grpSpPr>
          <a:xfrm>
            <a:off x="4298157" y="3986213"/>
            <a:ext cx="1741487" cy="1741487"/>
            <a:chOff x="4265767" y="3986213"/>
            <a:chExt cx="1741487" cy="1741487"/>
          </a:xfrm>
        </p:grpSpPr>
        <p:sp>
          <p:nvSpPr>
            <p:cNvPr id="93201" name="AutoShape 17"/>
            <p:cNvSpPr>
              <a:spLocks/>
            </p:cNvSpPr>
            <p:nvPr/>
          </p:nvSpPr>
          <p:spPr bwMode="auto">
            <a:xfrm>
              <a:off x="4265767" y="3986213"/>
              <a:ext cx="1741487" cy="17414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48" name="Freeform 47"/>
            <p:cNvSpPr>
              <a:spLocks/>
            </p:cNvSpPr>
            <p:nvPr/>
          </p:nvSpPr>
          <p:spPr bwMode="auto">
            <a:xfrm>
              <a:off x="4983318" y="4430713"/>
              <a:ext cx="1023871" cy="1265280"/>
            </a:xfrm>
            <a:custGeom>
              <a:avLst/>
              <a:gdLst>
                <a:gd name="connsiteX0" fmla="*/ 470510 w 1023871"/>
                <a:gd name="connsiteY0" fmla="*/ 0 h 1265280"/>
                <a:gd name="connsiteX1" fmla="*/ 1010102 w 1023871"/>
                <a:gd name="connsiteY1" fmla="*/ 274913 h 1265280"/>
                <a:gd name="connsiteX2" fmla="*/ 1019886 w 1023871"/>
                <a:gd name="connsiteY2" fmla="*/ 342697 h 1265280"/>
                <a:gd name="connsiteX3" fmla="*/ 768807 w 1023871"/>
                <a:gd name="connsiteY3" fmla="*/ 1041857 h 1265280"/>
                <a:gd name="connsiteX4" fmla="*/ 401005 w 1023871"/>
                <a:gd name="connsiteY4" fmla="*/ 1261053 h 1265280"/>
                <a:gd name="connsiteX5" fmla="*/ 383695 w 1023871"/>
                <a:gd name="connsiteY5" fmla="*/ 1265280 h 1265280"/>
                <a:gd name="connsiteX6" fmla="*/ 0 w 1023871"/>
                <a:gd name="connsiteY6" fmla="*/ 965595 h 1265280"/>
                <a:gd name="connsiteX7" fmla="*/ 584960 w 1023871"/>
                <a:gd name="connsiteY7" fmla="*/ 728390 h 1265280"/>
                <a:gd name="connsiteX8" fmla="*/ 470510 w 1023871"/>
                <a:gd name="connsiteY8" fmla="*/ 0 h 1265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871" h="1265280">
                  <a:moveTo>
                    <a:pt x="470510" y="0"/>
                  </a:moveTo>
                  <a:lnTo>
                    <a:pt x="1010102" y="274913"/>
                  </a:lnTo>
                  <a:lnTo>
                    <a:pt x="1019886" y="342697"/>
                  </a:lnTo>
                  <a:cubicBezTo>
                    <a:pt x="1043798" y="592453"/>
                    <a:pt x="960105" y="850559"/>
                    <a:pt x="768807" y="1041857"/>
                  </a:cubicBezTo>
                  <a:cubicBezTo>
                    <a:pt x="662531" y="1148134"/>
                    <a:pt x="535634" y="1221199"/>
                    <a:pt x="401005" y="1261053"/>
                  </a:cubicBezTo>
                  <a:lnTo>
                    <a:pt x="383695" y="1265280"/>
                  </a:lnTo>
                  <a:lnTo>
                    <a:pt x="0" y="965595"/>
                  </a:lnTo>
                  <a:cubicBezTo>
                    <a:pt x="0" y="965595"/>
                    <a:pt x="351036" y="1060512"/>
                    <a:pt x="584960" y="728390"/>
                  </a:cubicBezTo>
                  <a:cubicBezTo>
                    <a:pt x="826571" y="385394"/>
                    <a:pt x="470510" y="0"/>
                    <a:pt x="470510" y="0"/>
                  </a:cubicBezTo>
                  <a:close/>
                </a:path>
              </a:pathLst>
            </a:custGeom>
            <a:solidFill>
              <a:schemeClr val="accent3">
                <a:lumMod val="75000"/>
                <a:alpha val="50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93203" name="AutoShape 19"/>
            <p:cNvSpPr>
              <a:spLocks/>
            </p:cNvSpPr>
            <p:nvPr/>
          </p:nvSpPr>
          <p:spPr bwMode="auto">
            <a:xfrm>
              <a:off x="4583267" y="4316413"/>
              <a:ext cx="1093787" cy="10937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4"/>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sp>
        <p:nvSpPr>
          <p:cNvPr id="49" name="ZoneTexte 48"/>
          <p:cNvSpPr txBox="1"/>
          <p:nvPr/>
        </p:nvSpPr>
        <p:spPr>
          <a:xfrm>
            <a:off x="11276967" y="6883790"/>
            <a:ext cx="2019933" cy="830997"/>
          </a:xfrm>
          <a:prstGeom prst="rect">
            <a:avLst/>
          </a:prstGeom>
          <a:noFill/>
        </p:spPr>
        <p:txBody>
          <a:bodyPr wrap="square" rtlCol="0" anchor="ctr">
            <a:spAutoFit/>
          </a:bodyPr>
          <a:lstStyle/>
          <a:p>
            <a:r>
              <a:rPr lang="fr-FR" sz="4800" b="1" dirty="0" smtClean="0">
                <a:solidFill>
                  <a:schemeClr val="tx1"/>
                </a:solidFill>
                <a:latin typeface="+mj-lt"/>
                <a:ea typeface="Lato Light" panose="020F0302020204030203" pitchFamily="34" charset="0"/>
                <a:cs typeface="Lato Light" panose="020F0302020204030203" pitchFamily="34" charset="0"/>
              </a:rPr>
              <a:t>€2.2M</a:t>
            </a:r>
            <a:endParaRPr lang="fr-FR" sz="4800" b="1" dirty="0">
              <a:solidFill>
                <a:schemeClr val="tx1"/>
              </a:solidFill>
              <a:latin typeface="+mj-lt"/>
              <a:ea typeface="Lato Light" panose="020F0302020204030203" pitchFamily="34" charset="0"/>
              <a:cs typeface="Lato Light" panose="020F0302020204030203" pitchFamily="34" charset="0"/>
            </a:endParaRPr>
          </a:p>
        </p:txBody>
      </p:sp>
      <p:pic>
        <p:nvPicPr>
          <p:cNvPr id="4" name="Picture 3"/>
          <p:cNvPicPr>
            <a:picLocks noChangeAspect="1"/>
          </p:cNvPicPr>
          <p:nvPr/>
        </p:nvPicPr>
        <p:blipFill>
          <a:blip r:embed="rId4" cstate="email">
            <a:extLst>
              <a:ext uri="{28A0092B-C50C-407E-A947-70E740481C1C}">
                <a14:useLocalDpi xmlns:a14="http://schemas.microsoft.com/office/drawing/2010/main" xmlns="" val="0"/>
              </a:ext>
            </a:extLst>
          </a:blip>
          <a:stretch>
            <a:fillRect/>
          </a:stretch>
        </p:blipFill>
        <p:spPr>
          <a:xfrm>
            <a:off x="4748844" y="4510246"/>
            <a:ext cx="731520" cy="731520"/>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xmlns="" val="0"/>
              </a:ext>
            </a:extLst>
          </a:blip>
          <a:stretch>
            <a:fillRect/>
          </a:stretch>
        </p:blipFill>
        <p:spPr>
          <a:xfrm>
            <a:off x="4796123" y="9107646"/>
            <a:ext cx="731520" cy="731520"/>
          </a:xfrm>
          <a:prstGeom prst="rect">
            <a:avLst/>
          </a:prstGeom>
        </p:spPr>
      </p:pic>
    </p:spTree>
    <p:extLst>
      <p:ext uri="{BB962C8B-B14F-4D97-AF65-F5344CB8AC3E}">
        <p14:creationId xmlns:p14="http://schemas.microsoft.com/office/powerpoint/2010/main" xmlns="" val="1200560578"/>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2870200" y="3454400"/>
            <a:ext cx="18643600" cy="2743200"/>
            <a:chOff x="2870200" y="3454400"/>
            <a:chExt cx="18643600" cy="2743200"/>
          </a:xfrm>
        </p:grpSpPr>
        <p:sp>
          <p:nvSpPr>
            <p:cNvPr id="115714" name="AutoShape 2"/>
            <p:cNvSpPr>
              <a:spLocks/>
            </p:cNvSpPr>
            <p:nvPr/>
          </p:nvSpPr>
          <p:spPr bwMode="auto">
            <a:xfrm>
              <a:off x="2870200" y="3454400"/>
              <a:ext cx="18643600" cy="2743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tx1">
                <a:lumMod val="75000"/>
                <a:alpha val="9000"/>
              </a:schemeClr>
            </a:solidFill>
            <a:ln>
              <a:no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115718" name="AutoShape 6"/>
            <p:cNvSpPr>
              <a:spLocks/>
            </p:cNvSpPr>
            <p:nvPr/>
          </p:nvSpPr>
          <p:spPr bwMode="auto">
            <a:xfrm>
              <a:off x="3568700" y="3898900"/>
              <a:ext cx="17640300" cy="1778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just"/>
              <a:r>
                <a:rPr lang="en-US" sz="3600" i="1"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a:t>
              </a:r>
              <a:r>
                <a:rPr lang="en-US" sz="3600" i="1" dirty="0"/>
                <a:t>Our external auditor has taken into account our usage of the Eye2Scan solution: </a:t>
              </a:r>
              <a:r>
                <a:rPr lang="en-US" sz="3600" i="1" dirty="0" smtClean="0"/>
                <a:t>We </a:t>
              </a:r>
              <a:r>
                <a:rPr lang="en-US" sz="3600" i="1" dirty="0"/>
                <a:t>were able to demonstrate that we were pro-actively acting on the identified risks related to the financial statements generation and the company’s assets management.</a:t>
              </a:r>
              <a:r>
                <a:rPr lang="en-US" sz="3600" i="1" dirty="0">
                  <a:solidFill>
                    <a:schemeClr val="tx1"/>
                  </a:solidFill>
                  <a:latin typeface="Lato Light" panose="020F0302020204030203" pitchFamily="34" charset="0"/>
                  <a:sym typeface="Lato Light" panose="020F0302020204030203" pitchFamily="34" charset="0"/>
                </a:rPr>
                <a:t>”</a:t>
              </a:r>
              <a:endParaRPr lang="en-US" i="1" dirty="0">
                <a:solidFill>
                  <a:schemeClr val="tx1"/>
                </a:solidFill>
                <a:latin typeface="Lato" panose="020F0502020204030203" pitchFamily="34" charset="0"/>
              </a:endParaRPr>
            </a:p>
          </p:txBody>
        </p:sp>
      </p:grpSp>
      <p:sp>
        <p:nvSpPr>
          <p:cNvPr id="2" name="Title 1"/>
          <p:cNvSpPr>
            <a:spLocks noGrp="1"/>
          </p:cNvSpPr>
          <p:nvPr>
            <p:ph type="title"/>
          </p:nvPr>
        </p:nvSpPr>
        <p:spPr>
          <a:xfrm>
            <a:off x="1318792" y="874148"/>
            <a:ext cx="10352129" cy="1508105"/>
          </a:xfrm>
        </p:spPr>
        <p:txBody>
          <a:bodyPr/>
          <a:lstStyle/>
          <a:p>
            <a:r>
              <a:rPr lang="en-US" dirty="0">
                <a:ea typeface="Aleo Regular" charset="0"/>
                <a:cs typeface="Aleo Regular" charset="0"/>
                <a:sym typeface="Aleo Regular" charset="0"/>
              </a:rPr>
              <a:t>Customer testimony</a:t>
            </a:r>
            <a:endParaRPr lang="en-US" dirty="0"/>
          </a:p>
        </p:txBody>
      </p:sp>
      <p:grpSp>
        <p:nvGrpSpPr>
          <p:cNvPr id="7" name="Group 6"/>
          <p:cNvGrpSpPr/>
          <p:nvPr/>
        </p:nvGrpSpPr>
        <p:grpSpPr>
          <a:xfrm>
            <a:off x="2873604" y="8238276"/>
            <a:ext cx="18643600" cy="2743200"/>
            <a:chOff x="2864945" y="6097749"/>
            <a:chExt cx="18643600" cy="2743200"/>
          </a:xfrm>
        </p:grpSpPr>
        <p:sp>
          <p:nvSpPr>
            <p:cNvPr id="18" name="AutoShape 2"/>
            <p:cNvSpPr>
              <a:spLocks/>
            </p:cNvSpPr>
            <p:nvPr/>
          </p:nvSpPr>
          <p:spPr bwMode="auto">
            <a:xfrm>
              <a:off x="2864945" y="6097749"/>
              <a:ext cx="18643600" cy="2743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tx1">
                <a:lumMod val="75000"/>
                <a:alpha val="9000"/>
              </a:schemeClr>
            </a:solidFill>
            <a:ln>
              <a:no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19" name="AutoShape 6"/>
            <p:cNvSpPr>
              <a:spLocks/>
            </p:cNvSpPr>
            <p:nvPr/>
          </p:nvSpPr>
          <p:spPr bwMode="auto">
            <a:xfrm>
              <a:off x="3563445" y="6542249"/>
              <a:ext cx="17640300" cy="1778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just"/>
              <a:r>
                <a:rPr lang="en-US" sz="3600" i="1"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a:t>
              </a:r>
              <a:r>
                <a:rPr lang="en-US" sz="3600" i="1" dirty="0"/>
                <a:t>As </a:t>
              </a:r>
              <a:r>
                <a:rPr lang="en-US" sz="3600" i="1" dirty="0" smtClean="0"/>
                <a:t>Eye2scan has </a:t>
              </a:r>
              <a:r>
                <a:rPr lang="en-US" sz="3600" i="1" dirty="0"/>
                <a:t>successfully understood our company’s culture and our group environment with all its specificities, we decided to continue our collaboration with them.</a:t>
              </a:r>
              <a:r>
                <a:rPr lang="en-US" sz="3600" i="1" dirty="0">
                  <a:solidFill>
                    <a:schemeClr val="tx1"/>
                  </a:solidFill>
                  <a:latin typeface="Lato Light" panose="020F0302020204030203" pitchFamily="34" charset="0"/>
                  <a:sym typeface="Lato Light" panose="020F0302020204030203" pitchFamily="34" charset="0"/>
                </a:rPr>
                <a:t>”</a:t>
              </a:r>
              <a:endParaRPr lang="en-US" i="1" dirty="0">
                <a:solidFill>
                  <a:schemeClr val="tx1"/>
                </a:solidFill>
                <a:latin typeface="Lato" panose="020F0502020204030203" pitchFamily="34" charset="0"/>
              </a:endParaRPr>
            </a:p>
          </p:txBody>
        </p:sp>
      </p:grpSp>
      <p:pic>
        <p:nvPicPr>
          <p:cNvPr id="5" name="Picture 4"/>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18068059" y="6369545"/>
            <a:ext cx="3140941" cy="1151154"/>
          </a:xfrm>
          <a:prstGeom prst="rect">
            <a:avLst/>
          </a:prstGeom>
        </p:spPr>
      </p:pic>
      <p:pic>
        <p:nvPicPr>
          <p:cNvPr id="17" name="Picture 16"/>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18068058" y="11399375"/>
            <a:ext cx="3140941" cy="1151154"/>
          </a:xfrm>
          <a:prstGeom prst="rect">
            <a:avLst/>
          </a:prstGeom>
        </p:spPr>
      </p:pic>
    </p:spTree>
    <p:extLst>
      <p:ext uri="{BB962C8B-B14F-4D97-AF65-F5344CB8AC3E}">
        <p14:creationId xmlns:p14="http://schemas.microsoft.com/office/powerpoint/2010/main" xmlns="" val="278534867"/>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977" name="Picture 1" descr="unsplash_528a8fb8a276d_1_bw.png"/>
          <p:cNvPicPr>
            <a:picLocks noChangeAspect="1"/>
          </p:cNvPicPr>
          <p:nvPr/>
        </p:nvPicPr>
        <p:blipFill>
          <a:blip r:embed="rId3">
            <a:extLst>
              <a:ext uri="{28A0092B-C50C-407E-A947-70E740481C1C}">
                <a14:useLocalDpi xmlns:a14="http://schemas.microsoft.com/office/drawing/2010/main" xmlns="" val="0"/>
              </a:ext>
            </a:extLst>
          </a:blip>
          <a:srcRect t="4141" b="4216"/>
          <a:stretch>
            <a:fillRect/>
          </a:stretch>
        </p:blipFill>
        <p:spPr bwMode="auto">
          <a:xfrm>
            <a:off x="0" y="-7914"/>
            <a:ext cx="24384000" cy="1372391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2" name="Picture Placeholder 1"/>
          <p:cNvPicPr>
            <a:picLocks noGrp="1" noChangeAspect="1"/>
          </p:cNvPicPr>
          <p:nvPr>
            <p:ph type="pic" sz="quarter" idx="10"/>
          </p:nvPr>
        </p:nvPicPr>
        <p:blipFill>
          <a:blip r:embed="rId4">
            <a:extLst>
              <a:ext uri="{28A0092B-C50C-407E-A947-70E740481C1C}">
                <a14:useLocalDpi xmlns:a14="http://schemas.microsoft.com/office/drawing/2010/main" xmlns="" val="0"/>
              </a:ext>
            </a:extLst>
          </a:blip>
          <a:srcRect t="7813" b="7813"/>
          <a:stretch>
            <a:fillRect/>
          </a:stretch>
        </p:blipFill>
        <p:spPr/>
      </p:pic>
      <p:sp>
        <p:nvSpPr>
          <p:cNvPr id="126978" name="AutoShape 2"/>
          <p:cNvSpPr>
            <a:spLocks/>
          </p:cNvSpPr>
          <p:nvPr/>
        </p:nvSpPr>
        <p:spPr bwMode="auto">
          <a:xfrm>
            <a:off x="3741738" y="2578100"/>
            <a:ext cx="16979900" cy="2921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9200">
                <a:solidFill>
                  <a:schemeClr val="bg1"/>
                </a:solidFill>
                <a:latin typeface="Aleo" panose="020F0502020204030203" pitchFamily="34" charset="0"/>
                <a:ea typeface="Aleo Regular" charset="0"/>
                <a:cs typeface="Aleo Regular" charset="0"/>
                <a:sym typeface="Aleo Regular" charset="0"/>
              </a:rPr>
              <a:t>Thank you!</a:t>
            </a:r>
            <a:endParaRPr lang="en-US" dirty="0">
              <a:solidFill>
                <a:schemeClr val="bg1"/>
              </a:solidFill>
              <a:latin typeface="Aleo" panose="020F0502020204030203" pitchFamily="34" charset="0"/>
            </a:endParaRPr>
          </a:p>
        </p:txBody>
      </p:sp>
      <p:sp>
        <p:nvSpPr>
          <p:cNvPr id="5" name="AutoShape 2"/>
          <p:cNvSpPr>
            <a:spLocks/>
          </p:cNvSpPr>
          <p:nvPr/>
        </p:nvSpPr>
        <p:spPr bwMode="auto">
          <a:xfrm>
            <a:off x="1" y="7109927"/>
            <a:ext cx="9069354" cy="533996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lIns="50800" tIns="50800" rIns="50800" bIns="50800" anchor="ctr"/>
          <a:lstStyle/>
          <a:p>
            <a:r>
              <a:rPr lang="en-US" sz="9200" dirty="0" smtClean="0">
                <a:solidFill>
                  <a:schemeClr val="bg1">
                    <a:lumMod val="10000"/>
                  </a:schemeClr>
                </a:solidFill>
                <a:latin typeface="Aleo" panose="020F0502020204030203" pitchFamily="34" charset="0"/>
                <a:ea typeface="Aleo Regular" charset="0"/>
                <a:cs typeface="Aleo Regular" charset="0"/>
                <a:sym typeface="Aleo Regular" charset="0"/>
              </a:rPr>
              <a:t>To contact us:</a:t>
            </a:r>
          </a:p>
          <a:p>
            <a:r>
              <a:rPr lang="en-US" dirty="0" smtClean="0">
                <a:solidFill>
                  <a:schemeClr val="bg1">
                    <a:lumMod val="10000"/>
                  </a:schemeClr>
                </a:solidFill>
                <a:latin typeface="Aleo" panose="020F0502020204030203" pitchFamily="34" charset="0"/>
                <a:hlinkClick r:id="rId5"/>
              </a:rPr>
              <a:t>fy.inglebert@praxiam.fr</a:t>
            </a:r>
            <a:endParaRPr lang="en-US" dirty="0" smtClean="0">
              <a:solidFill>
                <a:schemeClr val="bg1">
                  <a:lumMod val="10000"/>
                </a:schemeClr>
              </a:solidFill>
              <a:latin typeface="Aleo" panose="020F0502020204030203" pitchFamily="34" charset="0"/>
            </a:endParaRPr>
          </a:p>
          <a:p>
            <a:r>
              <a:rPr lang="fr-FR" dirty="0" smtClean="0"/>
              <a:t>Phone : +33 6 80 65 58 02</a:t>
            </a:r>
            <a:endParaRPr lang="en-US" dirty="0">
              <a:solidFill>
                <a:schemeClr val="bg1">
                  <a:lumMod val="10000"/>
                </a:schemeClr>
              </a:solidFill>
              <a:latin typeface="Aleo" panose="020F0502020204030203" pitchFamily="34" charset="0"/>
            </a:endParaRPr>
          </a:p>
        </p:txBody>
      </p:sp>
    </p:spTree>
    <p:extLst>
      <p:ext uri="{BB962C8B-B14F-4D97-AF65-F5344CB8AC3E}">
        <p14:creationId xmlns:p14="http://schemas.microsoft.com/office/powerpoint/2010/main" xmlns="" val="311693829"/>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8693150" y="1703388"/>
            <a:ext cx="7035800" cy="7073900"/>
            <a:chOff x="8693150" y="1703388"/>
            <a:chExt cx="7035800" cy="7073900"/>
          </a:xfrm>
        </p:grpSpPr>
        <p:sp>
          <p:nvSpPr>
            <p:cNvPr id="4" name="AutoShape 1"/>
            <p:cNvSpPr>
              <a:spLocks/>
            </p:cNvSpPr>
            <p:nvPr/>
          </p:nvSpPr>
          <p:spPr bwMode="auto">
            <a:xfrm>
              <a:off x="8693150" y="1703388"/>
              <a:ext cx="7035800" cy="7073900"/>
            </a:xfrm>
            <a:custGeom>
              <a:avLst/>
              <a:gdLst>
                <a:gd name="T0" fmla="+- 0 10813 298"/>
                <a:gd name="T1" fmla="*/ T0 w 21031"/>
                <a:gd name="T2" fmla="+- 0 10723 179"/>
                <a:gd name="T3" fmla="*/ 10723 h 21089"/>
                <a:gd name="T4" fmla="+- 0 10813 298"/>
                <a:gd name="T5" fmla="*/ T4 w 21031"/>
                <a:gd name="T6" fmla="+- 0 10723 179"/>
                <a:gd name="T7" fmla="*/ 10723 h 21089"/>
                <a:gd name="T8" fmla="+- 0 10813 298"/>
                <a:gd name="T9" fmla="*/ T8 w 21031"/>
                <a:gd name="T10" fmla="+- 0 10723 179"/>
                <a:gd name="T11" fmla="*/ 10723 h 21089"/>
                <a:gd name="T12" fmla="+- 0 10813 298"/>
                <a:gd name="T13" fmla="*/ T12 w 21031"/>
                <a:gd name="T14" fmla="+- 0 10723 179"/>
                <a:gd name="T15" fmla="*/ 10723 h 21089"/>
              </a:gdLst>
              <a:ahLst/>
              <a:cxnLst>
                <a:cxn ang="0">
                  <a:pos x="T1" y="T3"/>
                </a:cxn>
                <a:cxn ang="0">
                  <a:pos x="T5" y="T7"/>
                </a:cxn>
                <a:cxn ang="0">
                  <a:pos x="T9" y="T11"/>
                </a:cxn>
                <a:cxn ang="0">
                  <a:pos x="T13" y="T15"/>
                </a:cxn>
              </a:cxnLst>
              <a:rect l="0" t="0" r="r" b="b"/>
              <a:pathLst>
                <a:path w="21031" h="21089">
                  <a:moveTo>
                    <a:pt x="20649" y="10666"/>
                  </a:moveTo>
                  <a:cubicBezTo>
                    <a:pt x="21014" y="10283"/>
                    <a:pt x="21197" y="9565"/>
                    <a:pt x="20831" y="9356"/>
                  </a:cubicBezTo>
                  <a:cubicBezTo>
                    <a:pt x="20466" y="9148"/>
                    <a:pt x="20231" y="8471"/>
                    <a:pt x="20361" y="8132"/>
                  </a:cubicBezTo>
                  <a:cubicBezTo>
                    <a:pt x="20805" y="7194"/>
                    <a:pt x="20335" y="6908"/>
                    <a:pt x="19970" y="6726"/>
                  </a:cubicBezTo>
                  <a:cubicBezTo>
                    <a:pt x="19604" y="6543"/>
                    <a:pt x="19369" y="6335"/>
                    <a:pt x="19499" y="5684"/>
                  </a:cubicBezTo>
                  <a:cubicBezTo>
                    <a:pt x="19735" y="4694"/>
                    <a:pt x="19212" y="4564"/>
                    <a:pt x="18847" y="4486"/>
                  </a:cubicBezTo>
                  <a:cubicBezTo>
                    <a:pt x="18481" y="4407"/>
                    <a:pt x="17985" y="4225"/>
                    <a:pt x="17985" y="3496"/>
                  </a:cubicBezTo>
                  <a:cubicBezTo>
                    <a:pt x="17985" y="2767"/>
                    <a:pt x="17463" y="2610"/>
                    <a:pt x="17097" y="2636"/>
                  </a:cubicBezTo>
                  <a:cubicBezTo>
                    <a:pt x="16731" y="2662"/>
                    <a:pt x="16183" y="2610"/>
                    <a:pt x="16052" y="1855"/>
                  </a:cubicBezTo>
                  <a:cubicBezTo>
                    <a:pt x="15922" y="1100"/>
                    <a:pt x="15138" y="1126"/>
                    <a:pt x="14825" y="1204"/>
                  </a:cubicBezTo>
                  <a:cubicBezTo>
                    <a:pt x="14512" y="1282"/>
                    <a:pt x="14094" y="1386"/>
                    <a:pt x="13754" y="865"/>
                  </a:cubicBezTo>
                  <a:cubicBezTo>
                    <a:pt x="13310" y="84"/>
                    <a:pt x="12736" y="214"/>
                    <a:pt x="12553" y="314"/>
                  </a:cubicBezTo>
                  <a:cubicBezTo>
                    <a:pt x="12370" y="413"/>
                    <a:pt x="11822" y="943"/>
                    <a:pt x="11378" y="512"/>
                  </a:cubicBezTo>
                  <a:cubicBezTo>
                    <a:pt x="10751" y="-179"/>
                    <a:pt x="10411" y="-125"/>
                    <a:pt x="9811" y="396"/>
                  </a:cubicBezTo>
                  <a:cubicBezTo>
                    <a:pt x="9297" y="842"/>
                    <a:pt x="8748" y="660"/>
                    <a:pt x="8600" y="597"/>
                  </a:cubicBezTo>
                  <a:cubicBezTo>
                    <a:pt x="8587" y="592"/>
                    <a:pt x="8574" y="586"/>
                    <a:pt x="8561" y="580"/>
                  </a:cubicBezTo>
                  <a:cubicBezTo>
                    <a:pt x="7845" y="231"/>
                    <a:pt x="7503" y="266"/>
                    <a:pt x="7077" y="1096"/>
                  </a:cubicBezTo>
                  <a:cubicBezTo>
                    <a:pt x="6760" y="1627"/>
                    <a:pt x="6093" y="1256"/>
                    <a:pt x="5890" y="1207"/>
                  </a:cubicBezTo>
                  <a:cubicBezTo>
                    <a:pt x="5688" y="1158"/>
                    <a:pt x="5099" y="1180"/>
                    <a:pt x="4873" y="2049"/>
                  </a:cubicBezTo>
                  <a:cubicBezTo>
                    <a:pt x="4680" y="2640"/>
                    <a:pt x="4249" y="2647"/>
                    <a:pt x="3926" y="2652"/>
                  </a:cubicBezTo>
                  <a:cubicBezTo>
                    <a:pt x="3603" y="2658"/>
                    <a:pt x="2840" y="2834"/>
                    <a:pt x="2909" y="3598"/>
                  </a:cubicBezTo>
                  <a:cubicBezTo>
                    <a:pt x="2979" y="4361"/>
                    <a:pt x="2462" y="4553"/>
                    <a:pt x="2103" y="4622"/>
                  </a:cubicBezTo>
                  <a:cubicBezTo>
                    <a:pt x="1743" y="4691"/>
                    <a:pt x="1279" y="4977"/>
                    <a:pt x="1468" y="5681"/>
                  </a:cubicBezTo>
                  <a:cubicBezTo>
                    <a:pt x="1657" y="6386"/>
                    <a:pt x="1224" y="6690"/>
                    <a:pt x="892" y="6859"/>
                  </a:cubicBezTo>
                  <a:cubicBezTo>
                    <a:pt x="559" y="7029"/>
                    <a:pt x="88" y="7289"/>
                    <a:pt x="571" y="8185"/>
                  </a:cubicBezTo>
                  <a:cubicBezTo>
                    <a:pt x="866" y="8780"/>
                    <a:pt x="693" y="9042"/>
                    <a:pt x="387" y="9313"/>
                  </a:cubicBezTo>
                  <a:cubicBezTo>
                    <a:pt x="81" y="9583"/>
                    <a:pt x="-298" y="9981"/>
                    <a:pt x="373" y="10772"/>
                  </a:cubicBezTo>
                  <a:cubicBezTo>
                    <a:pt x="587" y="11066"/>
                    <a:pt x="536" y="11780"/>
                    <a:pt x="236" y="12076"/>
                  </a:cubicBezTo>
                  <a:cubicBezTo>
                    <a:pt x="-63" y="12372"/>
                    <a:pt x="300" y="13018"/>
                    <a:pt x="752" y="13294"/>
                  </a:cubicBezTo>
                  <a:cubicBezTo>
                    <a:pt x="1205" y="13570"/>
                    <a:pt x="958" y="14364"/>
                    <a:pt x="911" y="14592"/>
                  </a:cubicBezTo>
                  <a:cubicBezTo>
                    <a:pt x="865" y="14820"/>
                    <a:pt x="660" y="15468"/>
                    <a:pt x="1866" y="15631"/>
                  </a:cubicBezTo>
                  <a:cubicBezTo>
                    <a:pt x="2406" y="15730"/>
                    <a:pt x="2225" y="16668"/>
                    <a:pt x="2268" y="16926"/>
                  </a:cubicBezTo>
                  <a:cubicBezTo>
                    <a:pt x="2310" y="17185"/>
                    <a:pt x="2349" y="17633"/>
                    <a:pt x="3203" y="17593"/>
                  </a:cubicBezTo>
                  <a:cubicBezTo>
                    <a:pt x="4058" y="17554"/>
                    <a:pt x="4017" y="18509"/>
                    <a:pt x="4123" y="18804"/>
                  </a:cubicBezTo>
                  <a:cubicBezTo>
                    <a:pt x="4229" y="19099"/>
                    <a:pt x="4532" y="19423"/>
                    <a:pt x="5244" y="19152"/>
                  </a:cubicBezTo>
                  <a:cubicBezTo>
                    <a:pt x="5955" y="18881"/>
                    <a:pt x="6323" y="20050"/>
                    <a:pt x="6452" y="20231"/>
                  </a:cubicBezTo>
                  <a:cubicBezTo>
                    <a:pt x="6582" y="20413"/>
                    <a:pt x="7092" y="20600"/>
                    <a:pt x="7731" y="20160"/>
                  </a:cubicBezTo>
                  <a:cubicBezTo>
                    <a:pt x="8144" y="19888"/>
                    <a:pt x="8584" y="20418"/>
                    <a:pt x="8695" y="20631"/>
                  </a:cubicBezTo>
                  <a:cubicBezTo>
                    <a:pt x="8806" y="20844"/>
                    <a:pt x="9069" y="21421"/>
                    <a:pt x="9965" y="20831"/>
                  </a:cubicBezTo>
                  <a:cubicBezTo>
                    <a:pt x="10861" y="20241"/>
                    <a:pt x="11121" y="20603"/>
                    <a:pt x="11262" y="20727"/>
                  </a:cubicBezTo>
                  <a:cubicBezTo>
                    <a:pt x="11339" y="20795"/>
                    <a:pt x="11445" y="20913"/>
                    <a:pt x="11622" y="20944"/>
                  </a:cubicBezTo>
                  <a:cubicBezTo>
                    <a:pt x="12043" y="21074"/>
                    <a:pt x="12327" y="20699"/>
                    <a:pt x="12422" y="20556"/>
                  </a:cubicBezTo>
                  <a:cubicBezTo>
                    <a:pt x="12527" y="20400"/>
                    <a:pt x="12684" y="19983"/>
                    <a:pt x="13702" y="20321"/>
                  </a:cubicBezTo>
                  <a:cubicBezTo>
                    <a:pt x="14721" y="20660"/>
                    <a:pt x="14825" y="20035"/>
                    <a:pt x="14877" y="19801"/>
                  </a:cubicBezTo>
                  <a:cubicBezTo>
                    <a:pt x="14929" y="19566"/>
                    <a:pt x="15217" y="18941"/>
                    <a:pt x="15687" y="19097"/>
                  </a:cubicBezTo>
                  <a:cubicBezTo>
                    <a:pt x="16418" y="19358"/>
                    <a:pt x="16862" y="19045"/>
                    <a:pt x="16940" y="18837"/>
                  </a:cubicBezTo>
                  <a:cubicBezTo>
                    <a:pt x="17019" y="18629"/>
                    <a:pt x="17071" y="17404"/>
                    <a:pt x="17828" y="17482"/>
                  </a:cubicBezTo>
                  <a:cubicBezTo>
                    <a:pt x="18586" y="17561"/>
                    <a:pt x="18794" y="17170"/>
                    <a:pt x="18821" y="16857"/>
                  </a:cubicBezTo>
                  <a:cubicBezTo>
                    <a:pt x="18847" y="16545"/>
                    <a:pt x="18559" y="15633"/>
                    <a:pt x="19395" y="15451"/>
                  </a:cubicBezTo>
                  <a:cubicBezTo>
                    <a:pt x="20231" y="15269"/>
                    <a:pt x="20152" y="14826"/>
                    <a:pt x="20126" y="14565"/>
                  </a:cubicBezTo>
                  <a:cubicBezTo>
                    <a:pt x="20100" y="14305"/>
                    <a:pt x="19682" y="13445"/>
                    <a:pt x="20179" y="13211"/>
                  </a:cubicBezTo>
                  <a:cubicBezTo>
                    <a:pt x="21301" y="12742"/>
                    <a:pt x="20936" y="12169"/>
                    <a:pt x="20831" y="11961"/>
                  </a:cubicBezTo>
                  <a:cubicBezTo>
                    <a:pt x="20727" y="11752"/>
                    <a:pt x="20283" y="11049"/>
                    <a:pt x="20649" y="10666"/>
                  </a:cubicBezTo>
                  <a:close/>
                </a:path>
              </a:pathLst>
            </a:custGeom>
            <a:solidFill>
              <a:schemeClr val="accent5">
                <a:lumMod val="75000"/>
              </a:schemeClr>
            </a:solidFill>
            <a:ln>
              <a:noFill/>
            </a:ln>
            <a:effectLs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sp>
          <p:nvSpPr>
            <p:cNvPr id="5" name="AutoShape 2"/>
            <p:cNvSpPr>
              <a:spLocks/>
            </p:cNvSpPr>
            <p:nvPr/>
          </p:nvSpPr>
          <p:spPr bwMode="auto">
            <a:xfrm>
              <a:off x="9283700" y="2311400"/>
              <a:ext cx="5867400" cy="5867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10800"/>
                  </a:moveTo>
                  <a:cubicBezTo>
                    <a:pt x="21599" y="16764"/>
                    <a:pt x="16764" y="21599"/>
                    <a:pt x="10800" y="21599"/>
                  </a:cubicBezTo>
                  <a:cubicBezTo>
                    <a:pt x="4835" y="21599"/>
                    <a:pt x="0" y="16764"/>
                    <a:pt x="0" y="10800"/>
                  </a:cubicBezTo>
                  <a:cubicBezTo>
                    <a:pt x="0" y="4835"/>
                    <a:pt x="4835" y="0"/>
                    <a:pt x="10800" y="0"/>
                  </a:cubicBezTo>
                  <a:cubicBezTo>
                    <a:pt x="16764" y="0"/>
                    <a:pt x="21599" y="4835"/>
                    <a:pt x="21599" y="10800"/>
                  </a:cubicBezTo>
                  <a:close/>
                </a:path>
              </a:pathLst>
            </a:custGeom>
            <a:solidFill>
              <a:schemeClr val="accent5"/>
            </a:solidFill>
            <a:ln>
              <a:noFill/>
            </a:ln>
            <a:effectLs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sp>
          <p:nvSpPr>
            <p:cNvPr id="6" name="AutoShape 3"/>
            <p:cNvSpPr>
              <a:spLocks/>
            </p:cNvSpPr>
            <p:nvPr/>
          </p:nvSpPr>
          <p:spPr bwMode="auto">
            <a:xfrm>
              <a:off x="9575800" y="2605088"/>
              <a:ext cx="5270500" cy="52705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10800"/>
                  </a:moveTo>
                  <a:cubicBezTo>
                    <a:pt x="21599" y="16764"/>
                    <a:pt x="16764" y="21599"/>
                    <a:pt x="10800" y="21599"/>
                  </a:cubicBezTo>
                  <a:cubicBezTo>
                    <a:pt x="4835" y="21599"/>
                    <a:pt x="0" y="16764"/>
                    <a:pt x="0" y="10800"/>
                  </a:cubicBezTo>
                  <a:cubicBezTo>
                    <a:pt x="0" y="4835"/>
                    <a:pt x="4835" y="0"/>
                    <a:pt x="10800" y="0"/>
                  </a:cubicBezTo>
                  <a:cubicBezTo>
                    <a:pt x="16764" y="0"/>
                    <a:pt x="21599" y="4835"/>
                    <a:pt x="21599" y="10800"/>
                  </a:cubicBezTo>
                  <a:close/>
                </a:path>
              </a:pathLst>
            </a:custGeom>
            <a:solidFill>
              <a:schemeClr val="accent6"/>
            </a:solidFill>
            <a:ln>
              <a:noFill/>
            </a:ln>
            <a:effectLs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grpSp>
      <p:pic>
        <p:nvPicPr>
          <p:cNvPr id="8" name="Picture 7"/>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9224028" y="4355432"/>
            <a:ext cx="6040364" cy="1790968"/>
          </a:xfrm>
          <a:prstGeom prst="rect">
            <a:avLst/>
          </a:prstGeom>
        </p:spPr>
      </p:pic>
      <p:sp>
        <p:nvSpPr>
          <p:cNvPr id="9" name="Title 2"/>
          <p:cNvSpPr txBox="1">
            <a:spLocks/>
          </p:cNvSpPr>
          <p:nvPr/>
        </p:nvSpPr>
        <p:spPr>
          <a:xfrm>
            <a:off x="6672760" y="11229442"/>
            <a:ext cx="11142923" cy="1508105"/>
          </a:xfrm>
          <a:prstGeom prst="rect">
            <a:avLst/>
          </a:prstGeom>
        </p:spPr>
        <p:txBody>
          <a:bodyPr wrap="none">
            <a:spAutoFit/>
          </a:bodyPr>
          <a:lstStyle>
            <a:lvl1pPr algn="ctr" defTabSz="457200" rtl="0" eaLnBrk="1" fontAlgn="base" hangingPunct="1">
              <a:spcBef>
                <a:spcPct val="0"/>
              </a:spcBef>
              <a:spcAft>
                <a:spcPct val="0"/>
              </a:spcAft>
              <a:defRPr sz="9200" b="1" kern="1200" baseline="0">
                <a:solidFill>
                  <a:schemeClr val="tx1"/>
                </a:solidFill>
                <a:latin typeface="Aleo" panose="020F0502020204030203" pitchFamily="34" charset="0"/>
                <a:ea typeface="+mj-ea"/>
                <a:cs typeface="+mj-cs"/>
                <a:sym typeface="Helvetica" panose="020B0604020202020204" pitchFamily="34" charset="0"/>
              </a:defRPr>
            </a:lvl1pPr>
            <a:lvl2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4572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9144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13716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1828800" algn="l" defTabSz="457200" rtl="0" eaLnBrk="1" fontAlgn="base" hangingPunct="1">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r>
              <a:rPr lang="en-US" dirty="0">
                <a:ea typeface="Aleo Regular" charset="0"/>
                <a:cs typeface="Aleo Regular" charset="0"/>
                <a:sym typeface="Aleo Regular" charset="0"/>
              </a:rPr>
              <a:t>Investors Presentation</a:t>
            </a:r>
            <a:endParaRPr lang="en-US" dirty="0"/>
          </a:p>
        </p:txBody>
      </p:sp>
    </p:spTree>
    <p:extLst>
      <p:ext uri="{BB962C8B-B14F-4D97-AF65-F5344CB8AC3E}">
        <p14:creationId xmlns:p14="http://schemas.microsoft.com/office/powerpoint/2010/main" xmlns="" val="13699075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128001" name="AutoShape 1"/>
          <p:cNvSpPr>
            <a:spLocks/>
          </p:cNvSpPr>
          <p:nvPr/>
        </p:nvSpPr>
        <p:spPr bwMode="auto">
          <a:xfrm>
            <a:off x="10344150" y="3848100"/>
            <a:ext cx="3706813" cy="4278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tx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8" name="Freeform 7"/>
          <p:cNvSpPr>
            <a:spLocks/>
          </p:cNvSpPr>
          <p:nvPr/>
        </p:nvSpPr>
        <p:spPr bwMode="auto">
          <a:xfrm>
            <a:off x="11055284" y="5278439"/>
            <a:ext cx="2995509" cy="2632775"/>
          </a:xfrm>
          <a:custGeom>
            <a:avLst/>
            <a:gdLst>
              <a:gd name="connsiteX0" fmla="*/ 2172289 w 2995509"/>
              <a:gd name="connsiteY0" fmla="*/ 0 h 2632775"/>
              <a:gd name="connsiteX1" fmla="*/ 2995509 w 2995509"/>
              <a:gd name="connsiteY1" fmla="*/ 584769 h 2632775"/>
              <a:gd name="connsiteX2" fmla="*/ 2995509 w 2995509"/>
              <a:gd name="connsiteY2" fmla="*/ 1778397 h 2632775"/>
              <a:gd name="connsiteX3" fmla="*/ 1514735 w 2995509"/>
              <a:gd name="connsiteY3" fmla="*/ 2632775 h 2632775"/>
              <a:gd name="connsiteX4" fmla="*/ 0 w 2995509"/>
              <a:gd name="connsiteY4" fmla="*/ 1399037 h 2632775"/>
              <a:gd name="connsiteX5" fmla="*/ 996401 w 2995509"/>
              <a:gd name="connsiteY5" fmla="*/ 1944169 h 2632775"/>
              <a:gd name="connsiteX6" fmla="*/ 2140885 w 2995509"/>
              <a:gd name="connsiteY6" fmla="*/ 1259438 h 2632775"/>
              <a:gd name="connsiteX7" fmla="*/ 2172289 w 2995509"/>
              <a:gd name="connsiteY7" fmla="*/ 0 h 263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5509" h="2632775">
                <a:moveTo>
                  <a:pt x="2172289" y="0"/>
                </a:moveTo>
                <a:lnTo>
                  <a:pt x="2995509" y="584769"/>
                </a:lnTo>
                <a:lnTo>
                  <a:pt x="2995509" y="1778397"/>
                </a:lnTo>
                <a:lnTo>
                  <a:pt x="1514735" y="2632775"/>
                </a:lnTo>
                <a:lnTo>
                  <a:pt x="0" y="1399037"/>
                </a:lnTo>
                <a:lnTo>
                  <a:pt x="996401" y="1944169"/>
                </a:lnTo>
                <a:lnTo>
                  <a:pt x="2140885" y="1259438"/>
                </a:lnTo>
                <a:cubicBezTo>
                  <a:pt x="2151401" y="839666"/>
                  <a:pt x="2161773" y="419772"/>
                  <a:pt x="2172289" y="0"/>
                </a:cubicBezTo>
                <a:close/>
              </a:path>
            </a:pathLst>
          </a:custGeom>
          <a:solidFill>
            <a:schemeClr val="bg2">
              <a:lumMod val="75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128003" name="AutoShape 3"/>
          <p:cNvSpPr>
            <a:spLocks/>
          </p:cNvSpPr>
          <p:nvPr/>
        </p:nvSpPr>
        <p:spPr bwMode="auto">
          <a:xfrm>
            <a:off x="11009313" y="4660900"/>
            <a:ext cx="2363787" cy="27289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600"/>
                </a:lnTo>
                <a:lnTo>
                  <a:pt x="0" y="16199"/>
                </a:lnTo>
                <a:lnTo>
                  <a:pt x="0" y="5400"/>
                </a:lnTo>
                <a:close/>
              </a:path>
            </a:pathLst>
          </a:custGeom>
          <a:solidFill>
            <a:schemeClr val="bg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128004" name="AutoShape 4"/>
          <p:cNvSpPr>
            <a:spLocks/>
          </p:cNvSpPr>
          <p:nvPr/>
        </p:nvSpPr>
        <p:spPr bwMode="auto">
          <a:xfrm>
            <a:off x="7640638" y="8045450"/>
            <a:ext cx="9105900" cy="15113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9200" dirty="0">
                <a:solidFill>
                  <a:srgbClr val="FFFFFF"/>
                </a:solidFill>
                <a:latin typeface="Aleo" panose="020F0502020204030203" pitchFamily="34" charset="0"/>
                <a:ea typeface="Aleo Light" charset="0"/>
                <a:cs typeface="Aleo Light" charset="0"/>
                <a:sym typeface="Aleo Light" charset="0"/>
              </a:rPr>
              <a:t>Back up </a:t>
            </a:r>
            <a:r>
              <a:rPr lang="en-US" sz="9200" b="1" dirty="0">
                <a:solidFill>
                  <a:srgbClr val="FFFFFF"/>
                </a:solidFill>
                <a:latin typeface="Aleo" panose="020F0502020204030203" pitchFamily="34" charset="0"/>
                <a:ea typeface="Aleo Regular" charset="0"/>
                <a:cs typeface="Aleo Regular" charset="0"/>
                <a:sym typeface="Aleo Regular" charset="0"/>
              </a:rPr>
              <a:t>time</a:t>
            </a:r>
            <a:endParaRPr lang="en-US" dirty="0">
              <a:latin typeface="Aleo" panose="020F0502020204030203" pitchFamily="34" charset="0"/>
            </a:endParaRPr>
          </a:p>
        </p:txBody>
      </p:sp>
      <p:sp>
        <p:nvSpPr>
          <p:cNvPr id="128005" name="AutoShape 5"/>
          <p:cNvSpPr>
            <a:spLocks/>
          </p:cNvSpPr>
          <p:nvPr/>
        </p:nvSpPr>
        <p:spPr bwMode="auto">
          <a:xfrm>
            <a:off x="11353800" y="5164138"/>
            <a:ext cx="1676400" cy="16637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207" y="16168"/>
                </a:moveTo>
                <a:lnTo>
                  <a:pt x="8207" y="5696"/>
                </a:lnTo>
                <a:lnTo>
                  <a:pt x="16643" y="10932"/>
                </a:lnTo>
                <a:cubicBezTo>
                  <a:pt x="16643" y="10932"/>
                  <a:pt x="8207" y="16168"/>
                  <a:pt x="8207" y="16168"/>
                </a:cubicBezTo>
                <a:close/>
                <a:moveTo>
                  <a:pt x="10799" y="0"/>
                </a:moveTo>
                <a:cubicBezTo>
                  <a:pt x="4835" y="0"/>
                  <a:pt x="0" y="4835"/>
                  <a:pt x="0" y="10800"/>
                </a:cubicBezTo>
                <a:cubicBezTo>
                  <a:pt x="0" y="16764"/>
                  <a:pt x="4835" y="21600"/>
                  <a:pt x="10799" y="21600"/>
                </a:cubicBezTo>
                <a:cubicBezTo>
                  <a:pt x="16764" y="21600"/>
                  <a:pt x="21600" y="16764"/>
                  <a:pt x="21600" y="10800"/>
                </a:cubicBezTo>
                <a:cubicBezTo>
                  <a:pt x="21600" y="4835"/>
                  <a:pt x="16764" y="0"/>
                  <a:pt x="10799" y="0"/>
                </a:cubicBezTo>
                <a:cubicBezTo>
                  <a:pt x="10799" y="0"/>
                  <a:pt x="10799" y="0"/>
                  <a:pt x="10799" y="0"/>
                </a:cubicBezTo>
                <a:close/>
                <a:moveTo>
                  <a:pt x="10799" y="2122"/>
                </a:moveTo>
                <a:cubicBezTo>
                  <a:pt x="13129" y="2122"/>
                  <a:pt x="15318" y="3028"/>
                  <a:pt x="16962" y="4673"/>
                </a:cubicBezTo>
                <a:cubicBezTo>
                  <a:pt x="18600" y="6311"/>
                  <a:pt x="19502" y="8486"/>
                  <a:pt x="19502" y="10800"/>
                </a:cubicBezTo>
                <a:cubicBezTo>
                  <a:pt x="19502" y="13112"/>
                  <a:pt x="18600" y="15288"/>
                  <a:pt x="16962" y="16926"/>
                </a:cubicBezTo>
                <a:cubicBezTo>
                  <a:pt x="15318" y="18571"/>
                  <a:pt x="13129" y="19477"/>
                  <a:pt x="10799" y="19477"/>
                </a:cubicBezTo>
                <a:cubicBezTo>
                  <a:pt x="8470" y="19477"/>
                  <a:pt x="6281" y="18571"/>
                  <a:pt x="4637" y="16926"/>
                </a:cubicBezTo>
                <a:cubicBezTo>
                  <a:pt x="2999" y="15288"/>
                  <a:pt x="2097" y="13112"/>
                  <a:pt x="2097" y="10800"/>
                </a:cubicBezTo>
                <a:cubicBezTo>
                  <a:pt x="2097" y="8486"/>
                  <a:pt x="2999" y="6311"/>
                  <a:pt x="4637" y="4673"/>
                </a:cubicBezTo>
                <a:cubicBezTo>
                  <a:pt x="6281" y="3028"/>
                  <a:pt x="8470" y="2122"/>
                  <a:pt x="10799" y="2122"/>
                </a:cubicBezTo>
              </a:path>
            </a:pathLst>
          </a:custGeom>
          <a:solidFill>
            <a:srgbClr val="FFFFFF"/>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C0C0C0"/>
                </a:outerShdw>
              </a:effectLst>
              <a:latin typeface="Lato" panose="020F0502020204030203" pitchFamily="34" charset="0"/>
            </a:endParaRPr>
          </a:p>
        </p:txBody>
      </p:sp>
    </p:spTree>
    <p:extLst>
      <p:ext uri="{BB962C8B-B14F-4D97-AF65-F5344CB8AC3E}">
        <p14:creationId xmlns:p14="http://schemas.microsoft.com/office/powerpoint/2010/main" xmlns="" val="2864212068"/>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827444782"/>
              </p:ext>
            </p:extLst>
          </p:nvPr>
        </p:nvGraphicFramePr>
        <p:xfrm>
          <a:off x="11652111" y="2676759"/>
          <a:ext cx="6131983" cy="8811860"/>
        </p:xfrm>
        <a:graphic>
          <a:graphicData uri="http://schemas.openxmlformats.org/drawingml/2006/table">
            <a:tbl>
              <a:tblPr firstRow="1" bandRow="1">
                <a:tableStyleId>{00A15C55-8517-42AA-B614-E9B94910E393}</a:tableStyleId>
              </a:tblPr>
              <a:tblGrid>
                <a:gridCol w="6131983">
                  <a:extLst>
                    <a:ext uri="{9D8B030D-6E8A-4147-A177-3AD203B41FA5}">
                      <a16:colId xmlns:a16="http://schemas.microsoft.com/office/drawing/2014/main" xmlns="" val="20000"/>
                    </a:ext>
                  </a:extLst>
                </a:gridCol>
              </a:tblGrid>
              <a:tr h="2191244">
                <a:tc>
                  <a:txBody>
                    <a:bodyPr/>
                    <a:lstStyle/>
                    <a:p>
                      <a:pPr algn="ctr"/>
                      <a:r>
                        <a:rPr lang="en-US" sz="6000" dirty="0"/>
                        <a:t>Medium (Tier 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0" kern="1200" baseline="0" noProof="0" dirty="0"/>
                        <a:t>€500-1000M</a:t>
                      </a:r>
                      <a:endParaRPr lang="en-US" sz="6000" b="1" kern="1200" baseline="0" noProof="0" dirty="0">
                        <a:solidFill>
                          <a:srgbClr val="FFFFFF">
                            <a:alpha val="50000"/>
                          </a:srgbClr>
                        </a:solidFill>
                        <a:latin typeface="Aleo bold" panose="020F0802020204030203" pitchFamily="34" charset="0"/>
                        <a:ea typeface="+mn-ea"/>
                        <a:cs typeface="+mn-cs"/>
                      </a:endParaRPr>
                    </a:p>
                  </a:txBody>
                  <a:tcPr anchor="ctr"/>
                </a:tc>
                <a:extLst>
                  <a:ext uri="{0D108BD9-81ED-4DB2-BD59-A6C34878D82A}">
                    <a16:rowId xmlns:a16="http://schemas.microsoft.com/office/drawing/2014/main" xmlns="" val="10000"/>
                  </a:ext>
                </a:extLst>
              </a:tr>
              <a:tr h="165515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000" dirty="0"/>
                        <a:t>€5000</a:t>
                      </a:r>
                      <a:endParaRPr lang="en-US" sz="3000"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1"/>
                  </a:ext>
                </a:extLst>
              </a:tr>
              <a:tr h="1655154">
                <a:tc>
                  <a:txBody>
                    <a:bodyPr/>
                    <a:lstStyle/>
                    <a:p>
                      <a:pPr algn="ctr"/>
                      <a:r>
                        <a:rPr lang="en-US" sz="3000" dirty="0"/>
                        <a:t>€40,800/year</a:t>
                      </a:r>
                      <a:endParaRPr lang="en-US" sz="30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2"/>
                  </a:ext>
                </a:extLst>
              </a:tr>
              <a:tr h="1655154">
                <a:tc>
                  <a:txBody>
                    <a:bodyPr/>
                    <a:lstStyle/>
                    <a:p>
                      <a:pPr algn="ctr"/>
                      <a:r>
                        <a:rPr lang="en-US" sz="3000" dirty="0"/>
                        <a:t>€6,120/year</a:t>
                      </a:r>
                      <a:endParaRPr lang="en-US" sz="3000"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3"/>
                  </a:ext>
                </a:extLst>
              </a:tr>
              <a:tr h="1655154">
                <a:tc>
                  <a:txBody>
                    <a:bodyPr/>
                    <a:lstStyle/>
                    <a:p>
                      <a:pPr algn="ctr"/>
                      <a:r>
                        <a:rPr lang="en-US" sz="3000" dirty="0"/>
                        <a:t>€55,300/year</a:t>
                      </a:r>
                      <a:endParaRPr lang="en-US" sz="30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4"/>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xmlns="" val="184569969"/>
              </p:ext>
            </p:extLst>
          </p:nvPr>
        </p:nvGraphicFramePr>
        <p:xfrm>
          <a:off x="17934924" y="2676759"/>
          <a:ext cx="6131983" cy="8811860"/>
        </p:xfrm>
        <a:graphic>
          <a:graphicData uri="http://schemas.openxmlformats.org/drawingml/2006/table">
            <a:tbl>
              <a:tblPr firstRow="1" bandRow="1">
                <a:tableStyleId>{21E4AEA4-8DFA-4A89-87EB-49C32662AFE0}</a:tableStyleId>
              </a:tblPr>
              <a:tblGrid>
                <a:gridCol w="6131983">
                  <a:extLst>
                    <a:ext uri="{9D8B030D-6E8A-4147-A177-3AD203B41FA5}">
                      <a16:colId xmlns:a16="http://schemas.microsoft.com/office/drawing/2014/main" xmlns="" val="20000"/>
                    </a:ext>
                  </a:extLst>
                </a:gridCol>
              </a:tblGrid>
              <a:tr h="21912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6000" dirty="0"/>
                        <a:t>Large</a:t>
                      </a:r>
                      <a:r>
                        <a:rPr lang="fr-FR" sz="6000" baseline="0" dirty="0"/>
                        <a:t> (</a:t>
                      </a:r>
                      <a:r>
                        <a:rPr lang="en-US" sz="6000" baseline="0" noProof="0" dirty="0"/>
                        <a:t>Tier </a:t>
                      </a:r>
                      <a:r>
                        <a:rPr lang="fr-FR" sz="6000" baseline="0" dirty="0"/>
                        <a:t>3)</a:t>
                      </a:r>
                      <a:endParaRPr lang="en-US" sz="60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0" kern="1200" baseline="0" noProof="0" dirty="0"/>
                        <a:t>&gt; €1000M</a:t>
                      </a:r>
                      <a:endParaRPr lang="en-US" sz="6000" b="1" kern="1200" baseline="0" noProof="0" dirty="0">
                        <a:solidFill>
                          <a:srgbClr val="FFFFFF">
                            <a:alpha val="50000"/>
                          </a:srgbClr>
                        </a:solidFill>
                        <a:latin typeface="Aleo bold" panose="020F0802020204030203" pitchFamily="34" charset="0"/>
                        <a:ea typeface="+mn-ea"/>
                        <a:cs typeface="+mn-cs"/>
                      </a:endParaRPr>
                    </a:p>
                  </a:txBody>
                  <a:tcPr anchor="ctr"/>
                </a:tc>
                <a:extLst>
                  <a:ext uri="{0D108BD9-81ED-4DB2-BD59-A6C34878D82A}">
                    <a16:rowId xmlns:a16="http://schemas.microsoft.com/office/drawing/2014/main" xmlns="" val="10000"/>
                  </a:ext>
                </a:extLst>
              </a:tr>
              <a:tr h="1655154">
                <a:tc>
                  <a:txBody>
                    <a:bodyPr/>
                    <a:lstStyle/>
                    <a:p>
                      <a:pPr algn="ctr"/>
                      <a:r>
                        <a:rPr lang="en-US" sz="3000" dirty="0"/>
                        <a:t>€5000</a:t>
                      </a:r>
                      <a:endParaRPr lang="en-US" sz="3000"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1"/>
                  </a:ext>
                </a:extLst>
              </a:tr>
              <a:tr h="1655154">
                <a:tc>
                  <a:txBody>
                    <a:bodyPr/>
                    <a:lstStyle/>
                    <a:p>
                      <a:pPr algn="ctr"/>
                      <a:r>
                        <a:rPr lang="en-US" sz="3000" dirty="0"/>
                        <a:t>€61,200/year</a:t>
                      </a:r>
                      <a:endParaRPr lang="en-US" sz="30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2"/>
                  </a:ext>
                </a:extLst>
              </a:tr>
              <a:tr h="1655154">
                <a:tc>
                  <a:txBody>
                    <a:bodyPr/>
                    <a:lstStyle/>
                    <a:p>
                      <a:pPr algn="ctr"/>
                      <a:r>
                        <a:rPr lang="en-US" sz="3000" dirty="0"/>
                        <a:t>€9,180/year</a:t>
                      </a:r>
                      <a:endParaRPr lang="en-US" sz="3000"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3"/>
                  </a:ext>
                </a:extLst>
              </a:tr>
              <a:tr h="1655154">
                <a:tc>
                  <a:txBody>
                    <a:bodyPr/>
                    <a:lstStyle/>
                    <a:p>
                      <a:pPr algn="ctr"/>
                      <a:r>
                        <a:rPr lang="en-US" sz="3000" baseline="0" dirty="0"/>
                        <a:t>€</a:t>
                      </a:r>
                      <a:r>
                        <a:rPr lang="en-US" sz="3000" dirty="0"/>
                        <a:t>75,</a:t>
                      </a:r>
                      <a:r>
                        <a:rPr lang="en-US" sz="3000" baseline="0" dirty="0"/>
                        <a:t>700/year</a:t>
                      </a:r>
                      <a:endParaRPr lang="en-US" sz="30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4"/>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xmlns="" val="367982819"/>
              </p:ext>
            </p:extLst>
          </p:nvPr>
        </p:nvGraphicFramePr>
        <p:xfrm>
          <a:off x="5369298" y="2676759"/>
          <a:ext cx="6131983" cy="8811860"/>
        </p:xfrm>
        <a:graphic>
          <a:graphicData uri="http://schemas.openxmlformats.org/drawingml/2006/table">
            <a:tbl>
              <a:tblPr firstRow="1" bandRow="1">
                <a:tableStyleId>{46F890A9-2807-4EBB-B81D-B2AA78EC7F39}</a:tableStyleId>
              </a:tblPr>
              <a:tblGrid>
                <a:gridCol w="6131983">
                  <a:extLst>
                    <a:ext uri="{9D8B030D-6E8A-4147-A177-3AD203B41FA5}">
                      <a16:colId xmlns:a16="http://schemas.microsoft.com/office/drawing/2014/main" xmlns="" val="20000"/>
                    </a:ext>
                  </a:extLst>
                </a:gridCol>
              </a:tblGrid>
              <a:tr h="2191244">
                <a:tc>
                  <a:txBody>
                    <a:bodyPr/>
                    <a:lstStyle/>
                    <a:p>
                      <a:pPr algn="ctr"/>
                      <a:r>
                        <a:rPr lang="en-US" sz="6000" dirty="0"/>
                        <a:t>Small</a:t>
                      </a:r>
                      <a:r>
                        <a:rPr lang="en-US" sz="6000" baseline="0" dirty="0"/>
                        <a:t> (Tier 1)</a:t>
                      </a:r>
                    </a:p>
                    <a:p>
                      <a:pPr algn="ctr"/>
                      <a:r>
                        <a:rPr lang="fr-FR" sz="6000" baseline="0" dirty="0"/>
                        <a:t>€0-500M*</a:t>
                      </a:r>
                      <a:endParaRPr lang="en-US" sz="2000" dirty="0">
                        <a:solidFill>
                          <a:srgbClr val="FFFFFF">
                            <a:alpha val="50000"/>
                          </a:srgbClr>
                        </a:solidFill>
                        <a:latin typeface="Aleo bold" panose="020F0802020204030203" pitchFamily="34" charset="0"/>
                      </a:endParaRPr>
                    </a:p>
                  </a:txBody>
                  <a:tcPr anchor="ctr"/>
                </a:tc>
                <a:extLst>
                  <a:ext uri="{0D108BD9-81ED-4DB2-BD59-A6C34878D82A}">
                    <a16:rowId xmlns:a16="http://schemas.microsoft.com/office/drawing/2014/main" xmlns="" val="10000"/>
                  </a:ext>
                </a:extLst>
              </a:tr>
              <a:tr h="165515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000" dirty="0"/>
                        <a:t>€5000</a:t>
                      </a:r>
                      <a:endParaRPr lang="en-US" sz="3000"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1"/>
                  </a:ext>
                </a:extLst>
              </a:tr>
              <a:tr h="1655154">
                <a:tc>
                  <a:txBody>
                    <a:bodyPr/>
                    <a:lstStyle/>
                    <a:p>
                      <a:pPr algn="ctr"/>
                      <a:r>
                        <a:rPr lang="en-US" sz="3000" dirty="0"/>
                        <a:t>€20,400/year</a:t>
                      </a:r>
                      <a:endParaRPr lang="en-US" sz="30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2"/>
                  </a:ext>
                </a:extLst>
              </a:tr>
              <a:tr h="1655154">
                <a:tc>
                  <a:txBody>
                    <a:bodyPr/>
                    <a:lstStyle/>
                    <a:p>
                      <a:pPr algn="ctr"/>
                      <a:r>
                        <a:rPr lang="en-US" sz="3000" dirty="0"/>
                        <a:t>€3,060/year</a:t>
                      </a:r>
                      <a:endParaRPr lang="en-US" sz="3000"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3"/>
                  </a:ext>
                </a:extLst>
              </a:tr>
              <a:tr h="1655154">
                <a:tc>
                  <a:txBody>
                    <a:bodyPr/>
                    <a:lstStyle/>
                    <a:p>
                      <a:pPr algn="ctr"/>
                      <a:r>
                        <a:rPr lang="en-US" sz="3000" dirty="0"/>
                        <a:t>€34,900/year</a:t>
                      </a:r>
                      <a:endParaRPr lang="en-US" sz="30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4"/>
                  </a:ext>
                </a:extLst>
              </a:tr>
            </a:tbl>
          </a:graphicData>
        </a:graphic>
      </p:graphicFrame>
      <p:sp>
        <p:nvSpPr>
          <p:cNvPr id="2" name="Title 1"/>
          <p:cNvSpPr>
            <a:spLocks noGrp="1"/>
          </p:cNvSpPr>
          <p:nvPr>
            <p:ph type="title"/>
          </p:nvPr>
        </p:nvSpPr>
        <p:spPr>
          <a:xfrm>
            <a:off x="380798" y="687112"/>
            <a:ext cx="8125558" cy="1508105"/>
          </a:xfrm>
        </p:spPr>
        <p:txBody>
          <a:bodyPr/>
          <a:lstStyle/>
          <a:p>
            <a:r>
              <a:rPr lang="en-US" dirty="0">
                <a:ea typeface="Aleo Regular" charset="0"/>
                <a:cs typeface="Aleo Regular" charset="0"/>
                <a:sym typeface="Aleo Regular" charset="0"/>
              </a:rPr>
              <a:t>Product pricing</a:t>
            </a:r>
            <a:endParaRPr lang="en-US" dirty="0"/>
          </a:p>
        </p:txBody>
      </p:sp>
      <p:sp>
        <p:nvSpPr>
          <p:cNvPr id="3" name="TextBox 2"/>
          <p:cNvSpPr txBox="1"/>
          <p:nvPr/>
        </p:nvSpPr>
        <p:spPr>
          <a:xfrm>
            <a:off x="2039815" y="12397689"/>
            <a:ext cx="2608215" cy="584775"/>
          </a:xfrm>
          <a:prstGeom prst="rect">
            <a:avLst/>
          </a:prstGeom>
          <a:noFill/>
        </p:spPr>
        <p:txBody>
          <a:bodyPr wrap="none" rtlCol="0">
            <a:spAutoFit/>
          </a:bodyPr>
          <a:lstStyle/>
          <a:p>
            <a:pPr algn="l"/>
            <a:r>
              <a:rPr lang="fr-FR" sz="3200" dirty="0">
                <a:solidFill>
                  <a:schemeClr val="tx1"/>
                </a:solidFill>
                <a:latin typeface="Lato Light" panose="020F0302020204030203" pitchFamily="34" charset="0"/>
                <a:ea typeface="Lato Light" panose="020F0302020204030203" pitchFamily="34" charset="0"/>
                <a:cs typeface="Lato Light" panose="020F0302020204030203" pitchFamily="34" charset="0"/>
              </a:rPr>
              <a:t>(*)Sales Range</a:t>
            </a:r>
            <a:endParaRPr lang="en-US" sz="3200" dirty="0">
              <a:solidFill>
                <a:schemeClr val="tx1"/>
              </a:solidFill>
              <a:latin typeface="Lato Light" panose="020F0302020204030203" pitchFamily="34" charset="0"/>
              <a:ea typeface="Lato Light" panose="020F0302020204030203" pitchFamily="34" charset="0"/>
              <a:cs typeface="Lato Light" panose="020F0302020204030203"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xmlns="" val="320445622"/>
              </p:ext>
            </p:extLst>
          </p:nvPr>
        </p:nvGraphicFramePr>
        <p:xfrm>
          <a:off x="380798" y="2717103"/>
          <a:ext cx="4859687" cy="8772892"/>
        </p:xfrm>
        <a:graphic>
          <a:graphicData uri="http://schemas.openxmlformats.org/drawingml/2006/table">
            <a:tbl>
              <a:tblPr firstRow="1" bandRow="1">
                <a:tableStyleId>{B301B821-A1FF-4177-AEE7-76D212191A09}</a:tableStyleId>
              </a:tblPr>
              <a:tblGrid>
                <a:gridCol w="4859687">
                  <a:extLst>
                    <a:ext uri="{9D8B030D-6E8A-4147-A177-3AD203B41FA5}">
                      <a16:colId xmlns:a16="http://schemas.microsoft.com/office/drawing/2014/main" xmlns="" val="20000"/>
                    </a:ext>
                  </a:extLst>
                </a:gridCol>
              </a:tblGrid>
              <a:tr h="2142186">
                <a:tc>
                  <a:txBody>
                    <a:bodyPr/>
                    <a:lstStyle/>
                    <a:p>
                      <a:pPr algn="ctr"/>
                      <a:r>
                        <a:rPr lang="en-US" sz="6000" kern="1200" baseline="0" noProof="0" dirty="0"/>
                        <a:t>Features</a:t>
                      </a:r>
                      <a:endParaRPr lang="en-US" sz="6000" b="1" kern="1200" baseline="0" noProof="0" dirty="0">
                        <a:solidFill>
                          <a:srgbClr val="FFFFFF">
                            <a:alpha val="50000"/>
                          </a:srgbClr>
                        </a:solidFill>
                        <a:latin typeface="Aleo bold" panose="020F0802020204030203" pitchFamily="34" charset="0"/>
                        <a:ea typeface="+mn-ea"/>
                        <a:cs typeface="+mn-cs"/>
                      </a:endParaRPr>
                    </a:p>
                  </a:txBody>
                  <a:tcPr anchor="ctr">
                    <a:solidFill>
                      <a:srgbClr val="5BBFB7"/>
                    </a:solidFill>
                  </a:tcPr>
                </a:tc>
                <a:extLst>
                  <a:ext uri="{0D108BD9-81ED-4DB2-BD59-A6C34878D82A}">
                    <a16:rowId xmlns:a16="http://schemas.microsoft.com/office/drawing/2014/main" xmlns="" val="10000"/>
                  </a:ext>
                </a:extLst>
              </a:tr>
              <a:tr h="1642473">
                <a:tc>
                  <a:txBody>
                    <a:bodyPr/>
                    <a:lstStyle/>
                    <a:p>
                      <a:pPr algn="ctr"/>
                      <a:r>
                        <a:rPr lang="en-US" sz="3000" dirty="0"/>
                        <a:t>Installation fee (by production environment)</a:t>
                      </a:r>
                      <a:endParaRPr lang="en-US" sz="3000"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1"/>
                  </a:ext>
                </a:extLst>
              </a:tr>
              <a:tr h="1642473">
                <a:tc>
                  <a:txBody>
                    <a:bodyPr/>
                    <a:lstStyle/>
                    <a:p>
                      <a:pPr algn="ctr"/>
                      <a:r>
                        <a:rPr lang="en-US" sz="3000" dirty="0"/>
                        <a:t>Subscription free (1 Prod Environment, basic</a:t>
                      </a:r>
                      <a:r>
                        <a:rPr lang="en-US" sz="3000" baseline="0" dirty="0"/>
                        <a:t> configuration</a:t>
                      </a:r>
                      <a:r>
                        <a:rPr lang="en-US" sz="3000" dirty="0"/>
                        <a:t>)</a:t>
                      </a:r>
                      <a:endParaRPr lang="en-US" sz="30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2"/>
                  </a:ext>
                </a:extLst>
              </a:tr>
              <a:tr h="1642473">
                <a:tc>
                  <a:txBody>
                    <a:bodyPr/>
                    <a:lstStyle/>
                    <a:p>
                      <a:pPr algn="ctr"/>
                      <a:r>
                        <a:rPr lang="en-US" sz="3000" dirty="0"/>
                        <a:t>Addition Production Environment</a:t>
                      </a:r>
                      <a:endParaRPr lang="en-US" sz="3000" dirty="0">
                        <a:solidFill>
                          <a:srgbClr val="333333"/>
                        </a:solidFill>
                        <a:latin typeface="Aleo bold" panose="020F0802020204030203" pitchFamily="34" charset="0"/>
                      </a:endParaRPr>
                    </a:p>
                  </a:txBody>
                  <a:tcPr anchor="ctr"/>
                </a:tc>
                <a:extLst>
                  <a:ext uri="{0D108BD9-81ED-4DB2-BD59-A6C34878D82A}">
                    <a16:rowId xmlns:a16="http://schemas.microsoft.com/office/drawing/2014/main" xmlns="" val="10003"/>
                  </a:ext>
                </a:extLst>
              </a:tr>
              <a:tr h="1703287">
                <a:tc>
                  <a:txBody>
                    <a:bodyPr/>
                    <a:lstStyle/>
                    <a:p>
                      <a:pPr algn="ctr"/>
                      <a:r>
                        <a:rPr lang="en-US" sz="3000" dirty="0"/>
                        <a:t>Full Subscription</a:t>
                      </a:r>
                      <a:r>
                        <a:rPr lang="en-US" sz="3000" baseline="0" dirty="0"/>
                        <a:t> (Including all modules available)**</a:t>
                      </a:r>
                      <a:endParaRPr lang="en-US" sz="3000" dirty="0">
                        <a:solidFill>
                          <a:srgbClr val="333333"/>
                        </a:solidFill>
                        <a:latin typeface="Lato Light" panose="020F0302020204030203" pitchFamily="34" charset="0"/>
                      </a:endParaRPr>
                    </a:p>
                  </a:txBody>
                  <a:tcPr anchor="ctr"/>
                </a:tc>
                <a:extLst>
                  <a:ext uri="{0D108BD9-81ED-4DB2-BD59-A6C34878D82A}">
                    <a16:rowId xmlns:a16="http://schemas.microsoft.com/office/drawing/2014/main" xmlns="" val="10004"/>
                  </a:ext>
                </a:extLst>
              </a:tr>
            </a:tbl>
          </a:graphicData>
        </a:graphic>
      </p:graphicFrame>
      <p:sp>
        <p:nvSpPr>
          <p:cNvPr id="10" name="TextBox 9"/>
          <p:cNvSpPr txBox="1"/>
          <p:nvPr/>
        </p:nvSpPr>
        <p:spPr>
          <a:xfrm>
            <a:off x="5251918" y="12409413"/>
            <a:ext cx="15825935" cy="584775"/>
          </a:xfrm>
          <a:prstGeom prst="rect">
            <a:avLst/>
          </a:prstGeom>
          <a:noFill/>
        </p:spPr>
        <p:txBody>
          <a:bodyPr wrap="none" rtlCol="0">
            <a:spAutoFit/>
          </a:bodyPr>
          <a:lstStyle/>
          <a:p>
            <a:pPr algn="l"/>
            <a:r>
              <a:rPr lang="en-US" sz="3200" dirty="0">
                <a:solidFill>
                  <a:schemeClr val="tx1"/>
                </a:solidFill>
                <a:latin typeface="Lato Light" panose="020F0302020204030203" pitchFamily="34" charset="0"/>
                <a:ea typeface="Lato Light" panose="020F0302020204030203" pitchFamily="34" charset="0"/>
                <a:cs typeface="Lato Light" panose="020F0302020204030203" pitchFamily="34" charset="0"/>
              </a:rPr>
              <a:t>(**)Emailing/Dashboard designer/Workflow/IC Self Assessment/Additional 25 tests package…</a:t>
            </a:r>
          </a:p>
        </p:txBody>
      </p:sp>
    </p:spTree>
    <p:extLst>
      <p:ext uri="{BB962C8B-B14F-4D97-AF65-F5344CB8AC3E}">
        <p14:creationId xmlns:p14="http://schemas.microsoft.com/office/powerpoint/2010/main" xmlns="" val="155755024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2" name="Group 201"/>
          <p:cNvGrpSpPr/>
          <p:nvPr/>
        </p:nvGrpSpPr>
        <p:grpSpPr>
          <a:xfrm>
            <a:off x="20726395" y="2565400"/>
            <a:ext cx="6" cy="7054856"/>
            <a:chOff x="8839197" y="1282700"/>
            <a:chExt cx="3" cy="3527428"/>
          </a:xfrm>
        </p:grpSpPr>
        <p:sp>
          <p:nvSpPr>
            <p:cNvPr id="164" name="Line 5"/>
            <p:cNvSpPr>
              <a:spLocks noChangeShapeType="1"/>
            </p:cNvSpPr>
            <p:nvPr/>
          </p:nvSpPr>
          <p:spPr bwMode="gray">
            <a:xfrm flipH="1">
              <a:off x="8839199" y="1282700"/>
              <a:ext cx="1" cy="393700"/>
            </a:xfrm>
            <a:prstGeom prst="line">
              <a:avLst/>
            </a:prstGeom>
            <a:noFill/>
            <a:ln w="19050">
              <a:solidFill>
                <a:schemeClr val="accent2"/>
              </a:solidFill>
              <a:round/>
              <a:headEnd/>
              <a:tailEnd/>
            </a:ln>
          </p:spPr>
          <p:txBody>
            <a:bodyPr wrap="square">
              <a:spAutoFit/>
            </a:bodyPr>
            <a:lstStyle/>
            <a:p>
              <a:endParaRPr lang="en-US" sz="11200"/>
            </a:p>
          </p:txBody>
        </p:sp>
        <p:cxnSp>
          <p:nvCxnSpPr>
            <p:cNvPr id="197" name="Straight Connector 196"/>
            <p:cNvCxnSpPr/>
            <p:nvPr/>
          </p:nvCxnSpPr>
          <p:spPr>
            <a:xfrm rot="16200000" flipV="1">
              <a:off x="7272335" y="3243263"/>
              <a:ext cx="3133727" cy="3"/>
            </a:xfrm>
            <a:prstGeom prst="line">
              <a:avLst/>
            </a:prstGeom>
            <a:ln w="9525">
              <a:solidFill>
                <a:schemeClr val="bg1">
                  <a:lumMod val="85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grpSp>
        <p:nvGrpSpPr>
          <p:cNvPr id="201" name="Group 200"/>
          <p:cNvGrpSpPr/>
          <p:nvPr/>
        </p:nvGrpSpPr>
        <p:grpSpPr>
          <a:xfrm>
            <a:off x="16611601" y="2565400"/>
            <a:ext cx="6" cy="7054856"/>
            <a:chOff x="6781800" y="1282700"/>
            <a:chExt cx="3" cy="3527428"/>
          </a:xfrm>
        </p:grpSpPr>
        <p:sp>
          <p:nvSpPr>
            <p:cNvPr id="171" name="Line 5"/>
            <p:cNvSpPr>
              <a:spLocks noChangeShapeType="1"/>
            </p:cNvSpPr>
            <p:nvPr/>
          </p:nvSpPr>
          <p:spPr bwMode="gray">
            <a:xfrm flipH="1">
              <a:off x="6781800" y="1282700"/>
              <a:ext cx="1" cy="393700"/>
            </a:xfrm>
            <a:prstGeom prst="line">
              <a:avLst/>
            </a:prstGeom>
            <a:noFill/>
            <a:ln w="19050">
              <a:solidFill>
                <a:schemeClr val="accent2"/>
              </a:solidFill>
              <a:round/>
              <a:headEnd/>
              <a:tailEnd/>
            </a:ln>
          </p:spPr>
          <p:txBody>
            <a:bodyPr wrap="square">
              <a:spAutoFit/>
            </a:bodyPr>
            <a:lstStyle/>
            <a:p>
              <a:endParaRPr lang="en-US" sz="11200"/>
            </a:p>
          </p:txBody>
        </p:sp>
        <p:cxnSp>
          <p:nvCxnSpPr>
            <p:cNvPr id="196" name="Straight Connector 195"/>
            <p:cNvCxnSpPr/>
            <p:nvPr/>
          </p:nvCxnSpPr>
          <p:spPr>
            <a:xfrm rot="16200000" flipV="1">
              <a:off x="5214938" y="3243263"/>
              <a:ext cx="3133727" cy="3"/>
            </a:xfrm>
            <a:prstGeom prst="line">
              <a:avLst/>
            </a:prstGeom>
            <a:ln w="9525">
              <a:solidFill>
                <a:schemeClr val="bg1">
                  <a:lumMod val="85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grpSp>
        <p:nvGrpSpPr>
          <p:cNvPr id="200" name="Group 199"/>
          <p:cNvGrpSpPr/>
          <p:nvPr/>
        </p:nvGrpSpPr>
        <p:grpSpPr>
          <a:xfrm>
            <a:off x="12801598" y="2562225"/>
            <a:ext cx="8" cy="7058030"/>
            <a:chOff x="4876799" y="1281112"/>
            <a:chExt cx="4" cy="3529015"/>
          </a:xfrm>
        </p:grpSpPr>
        <p:sp>
          <p:nvSpPr>
            <p:cNvPr id="169" name="Line 5"/>
            <p:cNvSpPr>
              <a:spLocks noChangeShapeType="1"/>
            </p:cNvSpPr>
            <p:nvPr/>
          </p:nvSpPr>
          <p:spPr bwMode="gray">
            <a:xfrm flipH="1">
              <a:off x="4876799" y="1281112"/>
              <a:ext cx="1" cy="393700"/>
            </a:xfrm>
            <a:prstGeom prst="line">
              <a:avLst/>
            </a:prstGeom>
            <a:noFill/>
            <a:ln w="19050">
              <a:solidFill>
                <a:schemeClr val="accent2"/>
              </a:solidFill>
              <a:round/>
              <a:headEnd/>
              <a:tailEnd/>
            </a:ln>
          </p:spPr>
          <p:txBody>
            <a:bodyPr wrap="square">
              <a:spAutoFit/>
            </a:bodyPr>
            <a:lstStyle/>
            <a:p>
              <a:endParaRPr lang="en-US" sz="11200"/>
            </a:p>
          </p:txBody>
        </p:sp>
        <p:cxnSp>
          <p:nvCxnSpPr>
            <p:cNvPr id="195" name="Straight Connector 194"/>
            <p:cNvCxnSpPr/>
            <p:nvPr/>
          </p:nvCxnSpPr>
          <p:spPr>
            <a:xfrm rot="16200000" flipV="1">
              <a:off x="3309938" y="3243262"/>
              <a:ext cx="3133727" cy="3"/>
            </a:xfrm>
            <a:prstGeom prst="line">
              <a:avLst/>
            </a:prstGeom>
            <a:ln w="9525">
              <a:solidFill>
                <a:schemeClr val="bg1">
                  <a:lumMod val="85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grpSp>
        <p:nvGrpSpPr>
          <p:cNvPr id="199" name="Group 198"/>
          <p:cNvGrpSpPr/>
          <p:nvPr/>
        </p:nvGrpSpPr>
        <p:grpSpPr>
          <a:xfrm>
            <a:off x="9332878" y="2565401"/>
            <a:ext cx="8" cy="7054854"/>
            <a:chOff x="3142439" y="1282700"/>
            <a:chExt cx="4" cy="3527427"/>
          </a:xfrm>
        </p:grpSpPr>
        <p:sp>
          <p:nvSpPr>
            <p:cNvPr id="166" name="Line 5"/>
            <p:cNvSpPr>
              <a:spLocks noChangeShapeType="1"/>
            </p:cNvSpPr>
            <p:nvPr/>
          </p:nvSpPr>
          <p:spPr bwMode="gray">
            <a:xfrm flipH="1">
              <a:off x="3142439" y="1282700"/>
              <a:ext cx="1" cy="393700"/>
            </a:xfrm>
            <a:prstGeom prst="line">
              <a:avLst/>
            </a:prstGeom>
            <a:noFill/>
            <a:ln w="19050">
              <a:solidFill>
                <a:schemeClr val="accent2"/>
              </a:solidFill>
              <a:round/>
              <a:headEnd/>
              <a:tailEnd/>
            </a:ln>
          </p:spPr>
          <p:txBody>
            <a:bodyPr wrap="square">
              <a:spAutoFit/>
            </a:bodyPr>
            <a:lstStyle/>
            <a:p>
              <a:endParaRPr lang="en-US" sz="11200"/>
            </a:p>
          </p:txBody>
        </p:sp>
        <p:cxnSp>
          <p:nvCxnSpPr>
            <p:cNvPr id="194" name="Straight Connector 193"/>
            <p:cNvCxnSpPr/>
            <p:nvPr/>
          </p:nvCxnSpPr>
          <p:spPr>
            <a:xfrm rot="16200000" flipV="1">
              <a:off x="1575578" y="3243262"/>
              <a:ext cx="3133727" cy="3"/>
            </a:xfrm>
            <a:prstGeom prst="line">
              <a:avLst/>
            </a:prstGeom>
            <a:ln w="9525">
              <a:solidFill>
                <a:schemeClr val="bg1">
                  <a:lumMod val="85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grpSp>
        <p:nvGrpSpPr>
          <p:cNvPr id="198" name="Group 197"/>
          <p:cNvGrpSpPr/>
          <p:nvPr/>
        </p:nvGrpSpPr>
        <p:grpSpPr>
          <a:xfrm>
            <a:off x="6083912" y="2546351"/>
            <a:ext cx="8" cy="7054854"/>
            <a:chOff x="1371599" y="1273175"/>
            <a:chExt cx="4" cy="3527427"/>
          </a:xfrm>
        </p:grpSpPr>
        <p:sp>
          <p:nvSpPr>
            <p:cNvPr id="142" name="Line 5"/>
            <p:cNvSpPr>
              <a:spLocks noChangeShapeType="1"/>
            </p:cNvSpPr>
            <p:nvPr/>
          </p:nvSpPr>
          <p:spPr bwMode="gray">
            <a:xfrm flipH="1">
              <a:off x="1371599" y="1273175"/>
              <a:ext cx="1" cy="393700"/>
            </a:xfrm>
            <a:prstGeom prst="line">
              <a:avLst/>
            </a:prstGeom>
            <a:noFill/>
            <a:ln w="19050">
              <a:solidFill>
                <a:schemeClr val="accent2"/>
              </a:solidFill>
              <a:round/>
              <a:headEnd/>
              <a:tailEnd/>
            </a:ln>
          </p:spPr>
          <p:txBody>
            <a:bodyPr wrap="square">
              <a:spAutoFit/>
            </a:bodyPr>
            <a:lstStyle/>
            <a:p>
              <a:endParaRPr lang="en-US" sz="11200"/>
            </a:p>
          </p:txBody>
        </p:sp>
        <p:cxnSp>
          <p:nvCxnSpPr>
            <p:cNvPr id="190" name="Straight Connector 189"/>
            <p:cNvCxnSpPr>
              <a:endCxn id="142" idx="1"/>
            </p:cNvCxnSpPr>
            <p:nvPr/>
          </p:nvCxnSpPr>
          <p:spPr>
            <a:xfrm rot="16200000" flipV="1">
              <a:off x="-195262" y="3233737"/>
              <a:ext cx="3133727" cy="3"/>
            </a:xfrm>
            <a:prstGeom prst="line">
              <a:avLst/>
            </a:prstGeom>
            <a:ln w="9525">
              <a:solidFill>
                <a:schemeClr val="bg1">
                  <a:lumMod val="85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Autofit/>
          </a:bodyPr>
          <a:lstStyle/>
          <a:p>
            <a:r>
              <a:rPr lang="en-US" sz="6600" dirty="0">
                <a:solidFill>
                  <a:schemeClr val="accent1"/>
                </a:solidFill>
                <a:latin typeface="+mj-lt"/>
              </a:rPr>
              <a:t>Five Year Roadmap Vision – Eye2Scan</a:t>
            </a:r>
          </a:p>
        </p:txBody>
      </p:sp>
      <p:sp>
        <p:nvSpPr>
          <p:cNvPr id="141" name="Line 4"/>
          <p:cNvSpPr>
            <a:spLocks noChangeShapeType="1"/>
          </p:cNvSpPr>
          <p:nvPr/>
        </p:nvSpPr>
        <p:spPr bwMode="gray">
          <a:xfrm>
            <a:off x="3200400" y="3200400"/>
            <a:ext cx="17830800" cy="0"/>
          </a:xfrm>
          <a:prstGeom prst="line">
            <a:avLst/>
          </a:prstGeom>
          <a:noFill/>
          <a:ln w="9525">
            <a:solidFill>
              <a:schemeClr val="accent2"/>
            </a:solidFill>
            <a:round/>
            <a:headEnd/>
            <a:tailEnd/>
          </a:ln>
        </p:spPr>
        <p:txBody>
          <a:bodyPr wrap="square">
            <a:spAutoFit/>
          </a:bodyPr>
          <a:lstStyle/>
          <a:p>
            <a:endParaRPr lang="en-US" sz="11200"/>
          </a:p>
        </p:txBody>
      </p:sp>
      <p:sp>
        <p:nvSpPr>
          <p:cNvPr id="145" name="Text Box 12"/>
          <p:cNvSpPr txBox="1">
            <a:spLocks noChangeArrowheads="1"/>
          </p:cNvSpPr>
          <p:nvPr/>
        </p:nvSpPr>
        <p:spPr bwMode="gray">
          <a:xfrm>
            <a:off x="3590138" y="2422526"/>
            <a:ext cx="1915909" cy="1015663"/>
          </a:xfrm>
          <a:prstGeom prst="rect">
            <a:avLst/>
          </a:prstGeom>
          <a:noFill/>
          <a:ln w="9525" algn="ctr">
            <a:noFill/>
            <a:miter lim="800000"/>
            <a:headEnd/>
            <a:tailEnd/>
          </a:ln>
        </p:spPr>
        <p:txBody>
          <a:bodyPr wrap="none">
            <a:spAutoFit/>
          </a:bodyPr>
          <a:lstStyle/>
          <a:p>
            <a:pPr marL="685800" indent="-685800"/>
            <a:r>
              <a:rPr lang="en-US" sz="6000" b="1" dirty="0">
                <a:solidFill>
                  <a:schemeClr val="accent1"/>
                </a:solidFill>
                <a:latin typeface="+mj-lt"/>
              </a:rPr>
              <a:t>2016 </a:t>
            </a:r>
          </a:p>
        </p:txBody>
      </p:sp>
      <p:sp>
        <p:nvSpPr>
          <p:cNvPr id="165" name="Text Box 12"/>
          <p:cNvSpPr txBox="1">
            <a:spLocks noChangeArrowheads="1"/>
          </p:cNvSpPr>
          <p:nvPr/>
        </p:nvSpPr>
        <p:spPr bwMode="gray">
          <a:xfrm>
            <a:off x="17768557" y="2441576"/>
            <a:ext cx="1952778" cy="1015663"/>
          </a:xfrm>
          <a:prstGeom prst="rect">
            <a:avLst/>
          </a:prstGeom>
          <a:noFill/>
          <a:ln w="9525" algn="ctr">
            <a:noFill/>
            <a:miter lim="800000"/>
            <a:headEnd/>
            <a:tailEnd/>
          </a:ln>
        </p:spPr>
        <p:txBody>
          <a:bodyPr wrap="none">
            <a:spAutoFit/>
          </a:bodyPr>
          <a:lstStyle/>
          <a:p>
            <a:pPr marL="685800" indent="-685800"/>
            <a:r>
              <a:rPr lang="en-US" sz="6000" b="1" dirty="0">
                <a:solidFill>
                  <a:schemeClr val="accent1"/>
                </a:solidFill>
                <a:latin typeface="+mj-lt"/>
              </a:rPr>
              <a:t>2020</a:t>
            </a:r>
            <a:r>
              <a:rPr lang="en-US" sz="6000" b="1" dirty="0">
                <a:solidFill>
                  <a:schemeClr val="accent1"/>
                </a:solidFill>
              </a:rPr>
              <a:t> </a:t>
            </a:r>
          </a:p>
        </p:txBody>
      </p:sp>
      <p:sp>
        <p:nvSpPr>
          <p:cNvPr id="167" name="Text Box 12"/>
          <p:cNvSpPr txBox="1">
            <a:spLocks noChangeArrowheads="1"/>
          </p:cNvSpPr>
          <p:nvPr/>
        </p:nvSpPr>
        <p:spPr bwMode="gray">
          <a:xfrm>
            <a:off x="6643357" y="2441576"/>
            <a:ext cx="1952778" cy="1015663"/>
          </a:xfrm>
          <a:prstGeom prst="rect">
            <a:avLst/>
          </a:prstGeom>
          <a:noFill/>
          <a:ln w="9525" algn="ctr">
            <a:noFill/>
            <a:miter lim="800000"/>
            <a:headEnd/>
            <a:tailEnd/>
          </a:ln>
        </p:spPr>
        <p:txBody>
          <a:bodyPr wrap="none">
            <a:spAutoFit/>
          </a:bodyPr>
          <a:lstStyle/>
          <a:p>
            <a:pPr marL="685800" indent="-685800"/>
            <a:r>
              <a:rPr lang="en-US" sz="6000" b="1" dirty="0">
                <a:solidFill>
                  <a:schemeClr val="accent1"/>
                </a:solidFill>
                <a:latin typeface="+mj-lt"/>
              </a:rPr>
              <a:t>2017</a:t>
            </a:r>
            <a:r>
              <a:rPr lang="en-US" sz="6000" b="1" dirty="0"/>
              <a:t> </a:t>
            </a:r>
          </a:p>
        </p:txBody>
      </p:sp>
      <p:sp>
        <p:nvSpPr>
          <p:cNvPr id="170" name="Text Box 12"/>
          <p:cNvSpPr txBox="1">
            <a:spLocks noChangeArrowheads="1"/>
          </p:cNvSpPr>
          <p:nvPr/>
        </p:nvSpPr>
        <p:spPr bwMode="gray">
          <a:xfrm>
            <a:off x="10300957" y="2438400"/>
            <a:ext cx="1952778" cy="1015663"/>
          </a:xfrm>
          <a:prstGeom prst="rect">
            <a:avLst/>
          </a:prstGeom>
          <a:noFill/>
          <a:ln w="9525" algn="ctr">
            <a:noFill/>
            <a:miter lim="800000"/>
            <a:headEnd/>
            <a:tailEnd/>
          </a:ln>
        </p:spPr>
        <p:txBody>
          <a:bodyPr wrap="none">
            <a:spAutoFit/>
          </a:bodyPr>
          <a:lstStyle/>
          <a:p>
            <a:pPr marL="685800" indent="-685800"/>
            <a:r>
              <a:rPr lang="en-US" sz="6000" b="1" dirty="0">
                <a:solidFill>
                  <a:schemeClr val="accent1"/>
                </a:solidFill>
                <a:latin typeface="+mj-lt"/>
              </a:rPr>
              <a:t>2018</a:t>
            </a:r>
            <a:r>
              <a:rPr lang="en-US" sz="6000" b="1" dirty="0"/>
              <a:t> </a:t>
            </a:r>
          </a:p>
        </p:txBody>
      </p:sp>
      <p:sp>
        <p:nvSpPr>
          <p:cNvPr id="172" name="Text Box 12"/>
          <p:cNvSpPr txBox="1">
            <a:spLocks noChangeArrowheads="1"/>
          </p:cNvSpPr>
          <p:nvPr/>
        </p:nvSpPr>
        <p:spPr bwMode="gray">
          <a:xfrm>
            <a:off x="13806157" y="2441576"/>
            <a:ext cx="1952778" cy="1015663"/>
          </a:xfrm>
          <a:prstGeom prst="rect">
            <a:avLst/>
          </a:prstGeom>
          <a:noFill/>
          <a:ln w="9525" algn="ctr">
            <a:noFill/>
            <a:miter lim="800000"/>
            <a:headEnd/>
            <a:tailEnd/>
          </a:ln>
        </p:spPr>
        <p:txBody>
          <a:bodyPr wrap="none">
            <a:spAutoFit/>
          </a:bodyPr>
          <a:lstStyle/>
          <a:p>
            <a:pPr marL="685800" indent="-685800"/>
            <a:r>
              <a:rPr lang="en-US" sz="6000" b="1" dirty="0">
                <a:solidFill>
                  <a:schemeClr val="accent1"/>
                </a:solidFill>
                <a:latin typeface="+mj-lt"/>
              </a:rPr>
              <a:t>2019</a:t>
            </a:r>
            <a:r>
              <a:rPr lang="en-US" sz="6000" b="1" dirty="0">
                <a:solidFill>
                  <a:schemeClr val="accent1"/>
                </a:solidFill>
              </a:rPr>
              <a:t> </a:t>
            </a:r>
          </a:p>
        </p:txBody>
      </p:sp>
      <p:sp>
        <p:nvSpPr>
          <p:cNvPr id="181" name="Rounded Rectangle 180"/>
          <p:cNvSpPr/>
          <p:nvPr/>
        </p:nvSpPr>
        <p:spPr>
          <a:xfrm>
            <a:off x="6186792" y="6510694"/>
            <a:ext cx="1535824" cy="558998"/>
          </a:xfrm>
          <a:prstGeom prst="roundRect">
            <a:avLst/>
          </a:prstGeom>
          <a:solidFill>
            <a:schemeClr val="accent4"/>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0 additional controls </a:t>
            </a:r>
            <a:r>
              <a:rPr lang="en-US" sz="1600" b="1" dirty="0" smtClean="0"/>
              <a:t>(2)</a:t>
            </a:r>
            <a:endParaRPr lang="en-US" sz="1600" b="1" dirty="0"/>
          </a:p>
        </p:txBody>
      </p:sp>
      <p:sp>
        <p:nvSpPr>
          <p:cNvPr id="182" name="Rounded Rectangle 181"/>
          <p:cNvSpPr/>
          <p:nvPr/>
        </p:nvSpPr>
        <p:spPr>
          <a:xfrm>
            <a:off x="6186791" y="5719883"/>
            <a:ext cx="4299915" cy="558998"/>
          </a:xfrm>
          <a:prstGeom prst="roundRect">
            <a:avLst/>
          </a:prstGeom>
          <a:solidFill>
            <a:schemeClr val="bg2"/>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Eye2Scan </a:t>
            </a:r>
            <a:r>
              <a:rPr lang="en-US" sz="1800" dirty="0" smtClean="0"/>
              <a:t>Big Data &amp; other ERPs</a:t>
            </a:r>
            <a:endParaRPr lang="en-US" sz="1800" dirty="0"/>
          </a:p>
        </p:txBody>
      </p:sp>
      <p:sp>
        <p:nvSpPr>
          <p:cNvPr id="183" name="Rounded Rectangle 182"/>
          <p:cNvSpPr/>
          <p:nvPr/>
        </p:nvSpPr>
        <p:spPr>
          <a:xfrm>
            <a:off x="6186792" y="7274986"/>
            <a:ext cx="1408078" cy="609600"/>
          </a:xfrm>
          <a:prstGeom prst="roundRect">
            <a:avLst/>
          </a:prstGeom>
          <a:solidFill>
            <a:schemeClr val="accent6"/>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Mail &amp; Workflow</a:t>
            </a:r>
          </a:p>
        </p:txBody>
      </p:sp>
      <p:sp>
        <p:nvSpPr>
          <p:cNvPr id="34" name="Rounded Rectangle 33"/>
          <p:cNvSpPr/>
          <p:nvPr/>
        </p:nvSpPr>
        <p:spPr>
          <a:xfrm>
            <a:off x="9373396" y="8097029"/>
            <a:ext cx="3428204" cy="558998"/>
          </a:xfrm>
          <a:prstGeom prst="roundRect">
            <a:avLst/>
          </a:prstGeom>
          <a:solidFill>
            <a:schemeClr val="accent4"/>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4</a:t>
            </a:r>
            <a:r>
              <a:rPr lang="en-US" sz="2000" b="1" dirty="0" smtClean="0"/>
              <a:t>0 </a:t>
            </a:r>
            <a:r>
              <a:rPr lang="en-US" sz="2000" b="1" dirty="0"/>
              <a:t>additional controls </a:t>
            </a:r>
            <a:r>
              <a:rPr lang="en-US" sz="2000" b="1" dirty="0" smtClean="0"/>
              <a:t>(3&amp;</a:t>
            </a:r>
            <a:r>
              <a:rPr lang="en-US" sz="2000" b="1" dirty="0"/>
              <a:t>4</a:t>
            </a:r>
            <a:r>
              <a:rPr lang="en-US" sz="2000" b="1" dirty="0" smtClean="0"/>
              <a:t>)</a:t>
            </a:r>
            <a:endParaRPr lang="en-US" sz="2000" b="1" dirty="0"/>
          </a:p>
        </p:txBody>
      </p:sp>
      <p:sp>
        <p:nvSpPr>
          <p:cNvPr id="35" name="Rounded Rectangle 34"/>
          <p:cNvSpPr/>
          <p:nvPr/>
        </p:nvSpPr>
        <p:spPr>
          <a:xfrm>
            <a:off x="12842114" y="8932099"/>
            <a:ext cx="3810000" cy="558998"/>
          </a:xfrm>
          <a:prstGeom prst="roundRect">
            <a:avLst/>
          </a:prstGeom>
          <a:solidFill>
            <a:schemeClr val="accent4"/>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4</a:t>
            </a:r>
            <a:r>
              <a:rPr lang="en-US" sz="2000" b="1" dirty="0" smtClean="0"/>
              <a:t>0 </a:t>
            </a:r>
            <a:r>
              <a:rPr lang="en-US" sz="2000" b="1" dirty="0"/>
              <a:t>additional controls </a:t>
            </a:r>
            <a:r>
              <a:rPr lang="en-US" sz="2000" b="1" dirty="0" smtClean="0"/>
              <a:t>(5&amp;6)</a:t>
            </a:r>
            <a:endParaRPr lang="en-US" sz="2000" b="1" dirty="0"/>
          </a:p>
        </p:txBody>
      </p:sp>
      <p:sp>
        <p:nvSpPr>
          <p:cNvPr id="37" name="Rounded Rectangle 36"/>
          <p:cNvSpPr/>
          <p:nvPr/>
        </p:nvSpPr>
        <p:spPr>
          <a:xfrm>
            <a:off x="9332878" y="11131090"/>
            <a:ext cx="11505404" cy="558998"/>
          </a:xfrm>
          <a:prstGeom prst="roundRect">
            <a:avLst/>
          </a:prstGeom>
          <a:solidFill>
            <a:schemeClr val="bg1">
              <a:lumMod val="75000"/>
            </a:schemeClr>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Next Modules</a:t>
            </a:r>
          </a:p>
        </p:txBody>
      </p:sp>
      <p:sp>
        <p:nvSpPr>
          <p:cNvPr id="38" name="Rounded Rectangle 37"/>
          <p:cNvSpPr/>
          <p:nvPr/>
        </p:nvSpPr>
        <p:spPr>
          <a:xfrm>
            <a:off x="2941983" y="4169664"/>
            <a:ext cx="1782417" cy="609600"/>
          </a:xfrm>
          <a:prstGeom prst="roundRect">
            <a:avLst/>
          </a:prstGeom>
          <a:solidFill>
            <a:schemeClr val="accent4"/>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0 additional controls (1)</a:t>
            </a:r>
          </a:p>
        </p:txBody>
      </p:sp>
      <p:sp>
        <p:nvSpPr>
          <p:cNvPr id="5" name="Explosion 1 4"/>
          <p:cNvSpPr/>
          <p:nvPr/>
        </p:nvSpPr>
        <p:spPr bwMode="gray">
          <a:xfrm>
            <a:off x="2941983" y="6395783"/>
            <a:ext cx="1917111" cy="1701246"/>
          </a:xfrm>
          <a:prstGeom prst="irregularSeal1">
            <a:avLst/>
          </a:prstGeom>
          <a:solidFill>
            <a:schemeClr val="bg2"/>
          </a:solidFill>
          <a:ln w="9525" algn="ctr">
            <a:noFill/>
            <a:miter lim="800000"/>
            <a:headEnd/>
            <a:tailEnd/>
          </a:ln>
          <a:effectLst/>
        </p:spPr>
        <p:txBody>
          <a:bodyPr rtlCol="0" anchor="ctr"/>
          <a:lstStyle/>
          <a:p>
            <a:pPr>
              <a:spcBef>
                <a:spcPts val="2000"/>
              </a:spcBef>
              <a:buClr>
                <a:schemeClr val="accent2"/>
              </a:buClr>
              <a:buSzPct val="100000"/>
            </a:pPr>
            <a:r>
              <a:rPr lang="fr-FR" sz="1800" b="1" dirty="0">
                <a:solidFill>
                  <a:schemeClr val="bg1"/>
                </a:solidFill>
              </a:rPr>
              <a:t>V2 Client Server</a:t>
            </a:r>
            <a:endParaRPr lang="en-US" sz="1800" b="1" dirty="0">
              <a:solidFill>
                <a:schemeClr val="bg1"/>
              </a:solidFill>
            </a:endParaRPr>
          </a:p>
        </p:txBody>
      </p:sp>
      <p:sp>
        <p:nvSpPr>
          <p:cNvPr id="45" name="Explosion 1 44"/>
          <p:cNvSpPr/>
          <p:nvPr/>
        </p:nvSpPr>
        <p:spPr bwMode="gray">
          <a:xfrm>
            <a:off x="10363618" y="10041866"/>
            <a:ext cx="1797292" cy="1478694"/>
          </a:xfrm>
          <a:prstGeom prst="irregularSeal1">
            <a:avLst/>
          </a:prstGeom>
          <a:solidFill>
            <a:schemeClr val="bg2"/>
          </a:solidFill>
          <a:ln w="9525" algn="ctr">
            <a:noFill/>
            <a:miter lim="800000"/>
            <a:headEnd/>
            <a:tailEnd/>
          </a:ln>
          <a:effectLst/>
        </p:spPr>
        <p:txBody>
          <a:bodyPr rtlCol="0" anchor="ctr"/>
          <a:lstStyle/>
          <a:p>
            <a:pPr>
              <a:spcBef>
                <a:spcPts val="2000"/>
              </a:spcBef>
              <a:buClr>
                <a:schemeClr val="accent2"/>
              </a:buClr>
              <a:buSzPct val="100000"/>
            </a:pPr>
            <a:r>
              <a:rPr lang="fr-FR" sz="1800" b="1" dirty="0">
                <a:solidFill>
                  <a:schemeClr val="bg1"/>
                </a:solidFill>
              </a:rPr>
              <a:t>V3 Full Web</a:t>
            </a:r>
            <a:endParaRPr lang="en-US" sz="1800" b="1" dirty="0">
              <a:solidFill>
                <a:schemeClr val="bg1"/>
              </a:solidFill>
            </a:endParaRPr>
          </a:p>
        </p:txBody>
      </p:sp>
      <p:sp>
        <p:nvSpPr>
          <p:cNvPr id="46" name="Rounded Rectangle 45"/>
          <p:cNvSpPr/>
          <p:nvPr/>
        </p:nvSpPr>
        <p:spPr>
          <a:xfrm>
            <a:off x="9573945" y="7325588"/>
            <a:ext cx="2766860" cy="558998"/>
          </a:xfrm>
          <a:prstGeom prst="roundRect">
            <a:avLst/>
          </a:prstGeom>
          <a:solidFill>
            <a:schemeClr val="accent6"/>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smtClean="0"/>
              <a:t>Dashboard Designer</a:t>
            </a:r>
            <a:endParaRPr lang="en-US" sz="1800" b="1" dirty="0"/>
          </a:p>
        </p:txBody>
      </p:sp>
      <p:grpSp>
        <p:nvGrpSpPr>
          <p:cNvPr id="4" name="Group 3"/>
          <p:cNvGrpSpPr/>
          <p:nvPr/>
        </p:nvGrpSpPr>
        <p:grpSpPr>
          <a:xfrm>
            <a:off x="20821817" y="3242463"/>
            <a:ext cx="3525186" cy="4094837"/>
            <a:chOff x="15069918" y="2997819"/>
            <a:chExt cx="3525186" cy="4094837"/>
          </a:xfrm>
        </p:grpSpPr>
        <p:sp>
          <p:nvSpPr>
            <p:cNvPr id="47" name="Rounded Rectangle 46"/>
            <p:cNvSpPr/>
            <p:nvPr/>
          </p:nvSpPr>
          <p:spPr>
            <a:xfrm>
              <a:off x="15126386" y="3645521"/>
              <a:ext cx="3428204" cy="558998"/>
            </a:xfrm>
            <a:prstGeom prst="roundRect">
              <a:avLst/>
            </a:prstGeom>
            <a:solidFill>
              <a:schemeClr val="accent4"/>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dirty="0"/>
                <a:t>Business enhancements</a:t>
              </a:r>
            </a:p>
          </p:txBody>
        </p:sp>
        <p:sp>
          <p:nvSpPr>
            <p:cNvPr id="48" name="Rounded Rectangle 47"/>
            <p:cNvSpPr/>
            <p:nvPr/>
          </p:nvSpPr>
          <p:spPr>
            <a:xfrm>
              <a:off x="15126386" y="4991560"/>
              <a:ext cx="3468718" cy="558998"/>
            </a:xfrm>
            <a:prstGeom prst="roundRect">
              <a:avLst/>
            </a:prstGeom>
            <a:solidFill>
              <a:schemeClr val="accent6"/>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Functional enhancements</a:t>
              </a:r>
            </a:p>
          </p:txBody>
        </p:sp>
        <p:sp>
          <p:nvSpPr>
            <p:cNvPr id="49" name="Rounded Rectangle 48"/>
            <p:cNvSpPr/>
            <p:nvPr/>
          </p:nvSpPr>
          <p:spPr>
            <a:xfrm>
              <a:off x="15069918" y="6533658"/>
              <a:ext cx="3468718" cy="558998"/>
            </a:xfrm>
            <a:prstGeom prst="roundRect">
              <a:avLst/>
            </a:prstGeom>
            <a:solidFill>
              <a:schemeClr val="bg2"/>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dirty="0"/>
                <a:t>Technical enhancements</a:t>
              </a:r>
            </a:p>
          </p:txBody>
        </p:sp>
        <p:pic>
          <p:nvPicPr>
            <p:cNvPr id="50" name="Picture 49" descr="http://www.claritymbasmart.com/public/template/mba-smart/icons/icons_r9_c1-5.gif"/>
            <p:cNvPicPr>
              <a:picLocks noChangeAspect="1" noChangeArrowheads="1"/>
            </p:cNvPicPr>
            <p:nvPr/>
          </p:nvPicPr>
          <p:blipFill>
            <a:blip r:embed="rId3" cstate="print"/>
            <a:srcRect/>
            <a:stretch>
              <a:fillRect/>
            </a:stretch>
          </p:blipFill>
          <p:spPr bwMode="auto">
            <a:xfrm>
              <a:off x="16459211" y="2997819"/>
              <a:ext cx="647702" cy="647702"/>
            </a:xfrm>
            <a:prstGeom prst="rect">
              <a:avLst/>
            </a:prstGeom>
            <a:noFill/>
          </p:spPr>
        </p:pic>
        <p:pic>
          <p:nvPicPr>
            <p:cNvPr id="51" name="Picture 50" descr="http://www.teqnomates.com/images/expertise_icon.png"/>
            <p:cNvPicPr>
              <a:picLocks noChangeAspect="1" noChangeArrowheads="1"/>
            </p:cNvPicPr>
            <p:nvPr/>
          </p:nvPicPr>
          <p:blipFill>
            <a:blip r:embed="rId4" cstate="print"/>
            <a:srcRect/>
            <a:stretch>
              <a:fillRect/>
            </a:stretch>
          </p:blipFill>
          <p:spPr bwMode="auto">
            <a:xfrm>
              <a:off x="16518525" y="5821205"/>
              <a:ext cx="571500" cy="724344"/>
            </a:xfrm>
            <a:prstGeom prst="rect">
              <a:avLst/>
            </a:prstGeom>
            <a:solidFill>
              <a:schemeClr val="bg1"/>
            </a:solidFill>
          </p:spPr>
        </p:pic>
        <p:pic>
          <p:nvPicPr>
            <p:cNvPr id="52" name="Picture 51" descr="http://www.nucompassmobility.com/wp-content/uploads/2009/02/global_icon.gif"/>
            <p:cNvPicPr>
              <a:picLocks noChangeAspect="1" noChangeArrowheads="1"/>
            </p:cNvPicPr>
            <p:nvPr/>
          </p:nvPicPr>
          <p:blipFill>
            <a:blip r:embed="rId5" cstate="print">
              <a:clrChange>
                <a:clrFrom>
                  <a:srgbClr val="FFFFFF"/>
                </a:clrFrom>
                <a:clrTo>
                  <a:srgbClr val="FFFFFF">
                    <a:alpha val="0"/>
                  </a:srgbClr>
                </a:clrTo>
              </a:clrChange>
            </a:blip>
            <a:srcRect b="24426"/>
            <a:stretch>
              <a:fillRect/>
            </a:stretch>
          </p:blipFill>
          <p:spPr bwMode="auto">
            <a:xfrm>
              <a:off x="16498793" y="4362909"/>
              <a:ext cx="723900" cy="609600"/>
            </a:xfrm>
            <a:prstGeom prst="rect">
              <a:avLst/>
            </a:prstGeom>
            <a:noFill/>
          </p:spPr>
        </p:pic>
      </p:grpSp>
      <p:sp>
        <p:nvSpPr>
          <p:cNvPr id="53" name="Rounded Rectangle 37"/>
          <p:cNvSpPr/>
          <p:nvPr/>
        </p:nvSpPr>
        <p:spPr>
          <a:xfrm>
            <a:off x="2941983" y="5091824"/>
            <a:ext cx="1780881" cy="609600"/>
          </a:xfrm>
          <a:prstGeom prst="roundRect">
            <a:avLst/>
          </a:prstGeom>
          <a:solidFill>
            <a:schemeClr val="bg2"/>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Data import reengineering</a:t>
            </a:r>
            <a:endParaRPr lang="en-US" sz="1600" b="1" dirty="0"/>
          </a:p>
        </p:txBody>
      </p:sp>
      <p:sp>
        <p:nvSpPr>
          <p:cNvPr id="54" name="Rounded Rectangle 34"/>
          <p:cNvSpPr/>
          <p:nvPr/>
        </p:nvSpPr>
        <p:spPr>
          <a:xfrm>
            <a:off x="16746788" y="8933537"/>
            <a:ext cx="3810000" cy="558998"/>
          </a:xfrm>
          <a:prstGeom prst="roundRect">
            <a:avLst/>
          </a:prstGeom>
          <a:solidFill>
            <a:schemeClr val="accent4"/>
          </a:solidFill>
          <a:ln w="9525">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4</a:t>
            </a:r>
            <a:r>
              <a:rPr lang="en-US" sz="2000" b="1" dirty="0" smtClean="0"/>
              <a:t>0 </a:t>
            </a:r>
            <a:r>
              <a:rPr lang="en-US" sz="2000" b="1" dirty="0"/>
              <a:t>additional controls </a:t>
            </a:r>
            <a:r>
              <a:rPr lang="en-US" sz="2000" b="1" dirty="0" smtClean="0"/>
              <a:t>(7&amp;</a:t>
            </a:r>
            <a:r>
              <a:rPr lang="en-US" sz="2000" b="1" dirty="0"/>
              <a:t>8</a:t>
            </a:r>
            <a:r>
              <a:rPr lang="en-US" sz="2000" b="1" dirty="0" smtClean="0"/>
              <a:t>)</a:t>
            </a:r>
            <a:endParaRPr lang="en-US" sz="2000" b="1" dirty="0"/>
          </a:p>
        </p:txBody>
      </p:sp>
      <p:sp>
        <p:nvSpPr>
          <p:cNvPr id="44" name="ZoneTexte 43"/>
          <p:cNvSpPr txBox="1"/>
          <p:nvPr/>
        </p:nvSpPr>
        <p:spPr>
          <a:xfrm>
            <a:off x="4839216" y="4209420"/>
            <a:ext cx="1784263" cy="461665"/>
          </a:xfrm>
          <a:prstGeom prst="rect">
            <a:avLst/>
          </a:prstGeom>
          <a:noFill/>
          <a:effectLst>
            <a:outerShdw blurRad="50800" dist="38100" dir="5400000" algn="t" rotWithShape="0">
              <a:prstClr val="black">
                <a:alpha val="40000"/>
              </a:prstClr>
            </a:outerShdw>
          </a:effectLst>
        </p:spPr>
        <p:txBody>
          <a:bodyPr wrap="square" rtlCol="0">
            <a:spAutoFit/>
          </a:bodyPr>
          <a:lstStyle/>
          <a:p>
            <a:pPr algn="l"/>
            <a:r>
              <a:rPr lang="fr-FR" sz="2400" b="1" i="1" dirty="0" err="1"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rPr>
              <a:t>Done</a:t>
            </a:r>
            <a:endParaRPr lang="fr-FR" sz="2400" b="1" i="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endParaRPr>
          </a:p>
        </p:txBody>
      </p:sp>
      <p:sp>
        <p:nvSpPr>
          <p:cNvPr id="55" name="ZoneTexte 54"/>
          <p:cNvSpPr txBox="1"/>
          <p:nvPr/>
        </p:nvSpPr>
        <p:spPr>
          <a:xfrm>
            <a:off x="4822254" y="6756367"/>
            <a:ext cx="1784263" cy="461665"/>
          </a:xfrm>
          <a:prstGeom prst="rect">
            <a:avLst/>
          </a:prstGeom>
          <a:noFill/>
          <a:effectLst>
            <a:outerShdw blurRad="50800" dist="38100" dir="5400000" algn="t" rotWithShape="0">
              <a:prstClr val="black">
                <a:alpha val="40000"/>
              </a:prstClr>
            </a:outerShdw>
          </a:effectLst>
        </p:spPr>
        <p:txBody>
          <a:bodyPr wrap="square" rtlCol="0">
            <a:spAutoFit/>
          </a:bodyPr>
          <a:lstStyle/>
          <a:p>
            <a:pPr algn="l"/>
            <a:r>
              <a:rPr lang="fr-FR" sz="2400" b="1" i="1" dirty="0" err="1"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rPr>
              <a:t>Done</a:t>
            </a:r>
            <a:endParaRPr lang="fr-FR" sz="2400" b="1" i="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endParaRPr>
          </a:p>
        </p:txBody>
      </p:sp>
      <p:sp>
        <p:nvSpPr>
          <p:cNvPr id="56" name="ZoneTexte 55"/>
          <p:cNvSpPr txBox="1"/>
          <p:nvPr/>
        </p:nvSpPr>
        <p:spPr>
          <a:xfrm>
            <a:off x="4802376" y="5111702"/>
            <a:ext cx="1784263" cy="461665"/>
          </a:xfrm>
          <a:prstGeom prst="rect">
            <a:avLst/>
          </a:prstGeom>
          <a:noFill/>
          <a:effectLst>
            <a:outerShdw blurRad="50800" dist="38100" dir="5400000" algn="t" rotWithShape="0">
              <a:prstClr val="black">
                <a:alpha val="40000"/>
              </a:prstClr>
            </a:outerShdw>
          </a:effectLst>
        </p:spPr>
        <p:txBody>
          <a:bodyPr wrap="square" rtlCol="0">
            <a:spAutoFit/>
          </a:bodyPr>
          <a:lstStyle/>
          <a:p>
            <a:pPr algn="l"/>
            <a:r>
              <a:rPr lang="fr-FR" sz="2400" b="1" i="1" dirty="0" err="1"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rPr>
              <a:t>Done</a:t>
            </a:r>
            <a:endParaRPr lang="fr-FR" sz="2400" b="1" i="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endParaRPr>
          </a:p>
        </p:txBody>
      </p:sp>
      <p:sp>
        <p:nvSpPr>
          <p:cNvPr id="57" name="ZoneTexte 56"/>
          <p:cNvSpPr txBox="1"/>
          <p:nvPr/>
        </p:nvSpPr>
        <p:spPr>
          <a:xfrm>
            <a:off x="7789682" y="6525534"/>
            <a:ext cx="1784263" cy="461665"/>
          </a:xfrm>
          <a:prstGeom prst="rect">
            <a:avLst/>
          </a:prstGeom>
          <a:noFill/>
          <a:effectLst>
            <a:outerShdw blurRad="50800" dist="38100" dir="5400000" algn="t" rotWithShape="0">
              <a:prstClr val="black">
                <a:alpha val="40000"/>
              </a:prstClr>
            </a:outerShdw>
          </a:effectLst>
        </p:spPr>
        <p:txBody>
          <a:bodyPr wrap="square" rtlCol="0">
            <a:spAutoFit/>
          </a:bodyPr>
          <a:lstStyle/>
          <a:p>
            <a:pPr algn="l"/>
            <a:r>
              <a:rPr lang="fr-FR" sz="2400" b="1" i="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rPr>
              <a:t>On-</a:t>
            </a:r>
            <a:r>
              <a:rPr lang="fr-FR" sz="2400" b="1" i="1" dirty="0" err="1"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rPr>
              <a:t>going</a:t>
            </a:r>
            <a:endParaRPr lang="fr-FR" sz="2400" b="1" i="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endParaRPr>
          </a:p>
        </p:txBody>
      </p:sp>
      <p:sp>
        <p:nvSpPr>
          <p:cNvPr id="58" name="ZoneTexte 57"/>
          <p:cNvSpPr txBox="1"/>
          <p:nvPr/>
        </p:nvSpPr>
        <p:spPr>
          <a:xfrm>
            <a:off x="7722616" y="7325588"/>
            <a:ext cx="1784263" cy="461665"/>
          </a:xfrm>
          <a:prstGeom prst="rect">
            <a:avLst/>
          </a:prstGeom>
          <a:noFill/>
          <a:effectLst>
            <a:outerShdw blurRad="50800" dist="38100" dir="5400000" algn="t" rotWithShape="0">
              <a:prstClr val="black">
                <a:alpha val="40000"/>
              </a:prstClr>
            </a:outerShdw>
          </a:effectLst>
        </p:spPr>
        <p:txBody>
          <a:bodyPr wrap="square" rtlCol="0">
            <a:spAutoFit/>
          </a:bodyPr>
          <a:lstStyle/>
          <a:p>
            <a:pPr algn="l"/>
            <a:r>
              <a:rPr lang="fr-FR" sz="2400" b="1" i="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rPr>
              <a:t>On-</a:t>
            </a:r>
            <a:r>
              <a:rPr lang="fr-FR" sz="2400" b="1" i="1" dirty="0" err="1"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rPr>
              <a:t>going</a:t>
            </a:r>
            <a:endParaRPr lang="fr-FR" sz="2400" b="1" i="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endParaRPr>
          </a:p>
        </p:txBody>
      </p:sp>
      <p:sp>
        <p:nvSpPr>
          <p:cNvPr id="59" name="ZoneTexte 58"/>
          <p:cNvSpPr txBox="1"/>
          <p:nvPr/>
        </p:nvSpPr>
        <p:spPr>
          <a:xfrm>
            <a:off x="10556542" y="5795202"/>
            <a:ext cx="2642623" cy="461665"/>
          </a:xfrm>
          <a:prstGeom prst="rect">
            <a:avLst/>
          </a:prstGeom>
          <a:noFill/>
          <a:effectLst>
            <a:outerShdw blurRad="50800" dist="38100" dir="5400000" algn="t" rotWithShape="0">
              <a:prstClr val="black">
                <a:alpha val="40000"/>
              </a:prstClr>
            </a:outerShdw>
          </a:effectLst>
        </p:spPr>
        <p:txBody>
          <a:bodyPr wrap="square" rtlCol="0">
            <a:spAutoFit/>
          </a:bodyPr>
          <a:lstStyle/>
          <a:p>
            <a:pPr algn="l"/>
            <a:r>
              <a:rPr lang="fr-FR" sz="2400" b="1" i="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rPr>
              <a:t>To </a:t>
            </a:r>
            <a:r>
              <a:rPr lang="fr-FR" sz="2400" b="1" i="1" dirty="0" err="1"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rPr>
              <a:t>be</a:t>
            </a:r>
            <a:r>
              <a:rPr lang="fr-FR" sz="2400" b="1" i="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rPr>
              <a:t> </a:t>
            </a:r>
            <a:r>
              <a:rPr lang="fr-FR" sz="2400" b="1" i="1" dirty="0" err="1"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rPr>
              <a:t>launched</a:t>
            </a:r>
            <a:endParaRPr lang="fr-FR" sz="2400" b="1" i="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Lato Light" panose="020F0302020204030203" pitchFamily="34" charset="0"/>
              <a:ea typeface="Lato Light" panose="020F0302020204030203" pitchFamily="34" charset="0"/>
              <a:cs typeface="Lato Light" panose="020F0302020204030203" pitchFamily="34" charset="0"/>
            </a:endParaRPr>
          </a:p>
        </p:txBody>
      </p:sp>
    </p:spTree>
    <p:extLst>
      <p:ext uri="{BB962C8B-B14F-4D97-AF65-F5344CB8AC3E}">
        <p14:creationId xmlns:p14="http://schemas.microsoft.com/office/powerpoint/2010/main" xmlns="" val="337073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AutoShape 2"/>
          <p:cNvSpPr>
            <a:spLocks/>
          </p:cNvSpPr>
          <p:nvPr/>
        </p:nvSpPr>
        <p:spPr bwMode="auto">
          <a:xfrm>
            <a:off x="20739100" y="7353300"/>
            <a:ext cx="0" cy="15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21600"/>
                </a:moveTo>
                <a:lnTo>
                  <a:pt x="21600" y="12490"/>
                </a:lnTo>
                <a:cubicBezTo>
                  <a:pt x="14767" y="8453"/>
                  <a:pt x="6832" y="4718"/>
                  <a:pt x="0" y="0"/>
                </a:cubicBezTo>
                <a:cubicBezTo>
                  <a:pt x="0" y="0"/>
                  <a:pt x="0" y="21600"/>
                  <a:pt x="0" y="2160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35" name="AutoShape 3"/>
          <p:cNvSpPr>
            <a:spLocks/>
          </p:cNvSpPr>
          <p:nvPr/>
        </p:nvSpPr>
        <p:spPr bwMode="auto">
          <a:xfrm>
            <a:off x="20610513" y="6513513"/>
            <a:ext cx="2147887" cy="2717800"/>
          </a:xfrm>
          <a:custGeom>
            <a:avLst/>
            <a:gdLst>
              <a:gd name="T0" fmla="+- 0 10758 40"/>
              <a:gd name="T1" fmla="*/ T0 w 21436"/>
              <a:gd name="T2" fmla="+- 0 10807 57"/>
              <a:gd name="T3" fmla="*/ 10807 h 21500"/>
              <a:gd name="T4" fmla="+- 0 10758 40"/>
              <a:gd name="T5" fmla="*/ T4 w 21436"/>
              <a:gd name="T6" fmla="+- 0 10807 57"/>
              <a:gd name="T7" fmla="*/ 10807 h 21500"/>
              <a:gd name="T8" fmla="+- 0 10758 40"/>
              <a:gd name="T9" fmla="*/ T8 w 21436"/>
              <a:gd name="T10" fmla="+- 0 10807 57"/>
              <a:gd name="T11" fmla="*/ 10807 h 21500"/>
              <a:gd name="T12" fmla="+- 0 10758 40"/>
              <a:gd name="T13" fmla="*/ T12 w 21436"/>
              <a:gd name="T14" fmla="+- 0 10807 57"/>
              <a:gd name="T15" fmla="*/ 10807 h 21500"/>
            </a:gdLst>
            <a:ahLst/>
            <a:cxnLst>
              <a:cxn ang="0">
                <a:pos x="T1" y="T3"/>
              </a:cxn>
              <a:cxn ang="0">
                <a:pos x="T5" y="T7"/>
              </a:cxn>
              <a:cxn ang="0">
                <a:pos x="T9" y="T11"/>
              </a:cxn>
              <a:cxn ang="0">
                <a:pos x="T13" y="T15"/>
              </a:cxn>
            </a:cxnLst>
            <a:rect l="0" t="0" r="r" b="b"/>
            <a:pathLst>
              <a:path w="21436" h="21500">
                <a:moveTo>
                  <a:pt x="21237" y="6"/>
                </a:moveTo>
                <a:cubicBezTo>
                  <a:pt x="20205" y="-57"/>
                  <a:pt x="20660" y="416"/>
                  <a:pt x="20051" y="626"/>
                </a:cubicBezTo>
                <a:cubicBezTo>
                  <a:pt x="20051" y="626"/>
                  <a:pt x="18913" y="689"/>
                  <a:pt x="18887" y="689"/>
                </a:cubicBezTo>
                <a:cubicBezTo>
                  <a:pt x="18833" y="689"/>
                  <a:pt x="19019" y="1318"/>
                  <a:pt x="18781" y="1507"/>
                </a:cubicBezTo>
                <a:cubicBezTo>
                  <a:pt x="18622" y="1611"/>
                  <a:pt x="18437" y="1716"/>
                  <a:pt x="18224" y="1737"/>
                </a:cubicBezTo>
                <a:cubicBezTo>
                  <a:pt x="18145" y="1737"/>
                  <a:pt x="18172" y="1611"/>
                  <a:pt x="18092" y="1570"/>
                </a:cubicBezTo>
                <a:cubicBezTo>
                  <a:pt x="18039" y="1549"/>
                  <a:pt x="17959" y="1654"/>
                  <a:pt x="17907" y="1633"/>
                </a:cubicBezTo>
                <a:cubicBezTo>
                  <a:pt x="17616" y="1696"/>
                  <a:pt x="17272" y="1675"/>
                  <a:pt x="17034" y="1801"/>
                </a:cubicBezTo>
                <a:cubicBezTo>
                  <a:pt x="16927" y="1843"/>
                  <a:pt x="16980" y="1989"/>
                  <a:pt x="16874" y="2032"/>
                </a:cubicBezTo>
                <a:cubicBezTo>
                  <a:pt x="16716" y="2094"/>
                  <a:pt x="16503" y="2032"/>
                  <a:pt x="16319" y="2073"/>
                </a:cubicBezTo>
                <a:cubicBezTo>
                  <a:pt x="16213" y="2094"/>
                  <a:pt x="16027" y="2304"/>
                  <a:pt x="15895" y="2892"/>
                </a:cubicBezTo>
                <a:cubicBezTo>
                  <a:pt x="15868" y="3038"/>
                  <a:pt x="15816" y="3437"/>
                  <a:pt x="15816" y="3605"/>
                </a:cubicBezTo>
                <a:cubicBezTo>
                  <a:pt x="15816" y="3836"/>
                  <a:pt x="16874" y="4402"/>
                  <a:pt x="16213" y="4507"/>
                </a:cubicBezTo>
                <a:cubicBezTo>
                  <a:pt x="15524" y="4633"/>
                  <a:pt x="15842" y="4109"/>
                  <a:pt x="15233" y="4066"/>
                </a:cubicBezTo>
                <a:cubicBezTo>
                  <a:pt x="14015" y="4003"/>
                  <a:pt x="15471" y="4234"/>
                  <a:pt x="14598" y="4360"/>
                </a:cubicBezTo>
                <a:cubicBezTo>
                  <a:pt x="14466" y="4381"/>
                  <a:pt x="14333" y="4234"/>
                  <a:pt x="14174" y="4255"/>
                </a:cubicBezTo>
                <a:cubicBezTo>
                  <a:pt x="13751" y="4339"/>
                  <a:pt x="13990" y="4696"/>
                  <a:pt x="13619" y="4780"/>
                </a:cubicBezTo>
                <a:cubicBezTo>
                  <a:pt x="13407" y="4822"/>
                  <a:pt x="13195" y="4234"/>
                  <a:pt x="12983" y="4150"/>
                </a:cubicBezTo>
                <a:cubicBezTo>
                  <a:pt x="12772" y="4066"/>
                  <a:pt x="12533" y="4360"/>
                  <a:pt x="12374" y="4528"/>
                </a:cubicBezTo>
                <a:cubicBezTo>
                  <a:pt x="12268" y="4633"/>
                  <a:pt x="12480" y="4948"/>
                  <a:pt x="12322" y="4927"/>
                </a:cubicBezTo>
                <a:cubicBezTo>
                  <a:pt x="11766" y="4822"/>
                  <a:pt x="12586" y="4948"/>
                  <a:pt x="11898" y="4570"/>
                </a:cubicBezTo>
                <a:cubicBezTo>
                  <a:pt x="11527" y="4360"/>
                  <a:pt x="11660" y="4780"/>
                  <a:pt x="11421" y="4780"/>
                </a:cubicBezTo>
                <a:cubicBezTo>
                  <a:pt x="10760" y="4780"/>
                  <a:pt x="11342" y="4591"/>
                  <a:pt x="11104" y="4465"/>
                </a:cubicBezTo>
                <a:cubicBezTo>
                  <a:pt x="10945" y="4402"/>
                  <a:pt x="10945" y="4717"/>
                  <a:pt x="10839" y="4801"/>
                </a:cubicBezTo>
                <a:cubicBezTo>
                  <a:pt x="10680" y="4948"/>
                  <a:pt x="10442" y="4759"/>
                  <a:pt x="10310" y="4780"/>
                </a:cubicBezTo>
                <a:cubicBezTo>
                  <a:pt x="10177" y="4780"/>
                  <a:pt x="10310" y="5158"/>
                  <a:pt x="10177" y="5220"/>
                </a:cubicBezTo>
                <a:cubicBezTo>
                  <a:pt x="10151" y="5262"/>
                  <a:pt x="10072" y="5199"/>
                  <a:pt x="10018" y="5158"/>
                </a:cubicBezTo>
                <a:cubicBezTo>
                  <a:pt x="9674" y="5010"/>
                  <a:pt x="10627" y="4654"/>
                  <a:pt x="9568" y="4885"/>
                </a:cubicBezTo>
                <a:cubicBezTo>
                  <a:pt x="9251" y="4948"/>
                  <a:pt x="9727" y="5283"/>
                  <a:pt x="9066" y="5074"/>
                </a:cubicBezTo>
                <a:cubicBezTo>
                  <a:pt x="8986" y="5053"/>
                  <a:pt x="9145" y="4927"/>
                  <a:pt x="9092" y="4885"/>
                </a:cubicBezTo>
                <a:cubicBezTo>
                  <a:pt x="9039" y="4842"/>
                  <a:pt x="8933" y="4948"/>
                  <a:pt x="8880" y="4927"/>
                </a:cubicBezTo>
                <a:cubicBezTo>
                  <a:pt x="8721" y="4822"/>
                  <a:pt x="8933" y="4612"/>
                  <a:pt x="8642" y="4675"/>
                </a:cubicBezTo>
                <a:cubicBezTo>
                  <a:pt x="8033" y="4801"/>
                  <a:pt x="7212" y="4864"/>
                  <a:pt x="6551" y="4801"/>
                </a:cubicBezTo>
                <a:cubicBezTo>
                  <a:pt x="6471" y="4780"/>
                  <a:pt x="6445" y="4696"/>
                  <a:pt x="6366" y="4696"/>
                </a:cubicBezTo>
                <a:cubicBezTo>
                  <a:pt x="5995" y="4675"/>
                  <a:pt x="5624" y="4864"/>
                  <a:pt x="5227" y="4905"/>
                </a:cubicBezTo>
                <a:cubicBezTo>
                  <a:pt x="5095" y="4905"/>
                  <a:pt x="4963" y="4905"/>
                  <a:pt x="4830" y="4905"/>
                </a:cubicBezTo>
                <a:cubicBezTo>
                  <a:pt x="4698" y="4905"/>
                  <a:pt x="4565" y="4864"/>
                  <a:pt x="4433" y="4885"/>
                </a:cubicBezTo>
                <a:cubicBezTo>
                  <a:pt x="4090" y="4968"/>
                  <a:pt x="3851" y="5178"/>
                  <a:pt x="3534" y="5283"/>
                </a:cubicBezTo>
                <a:cubicBezTo>
                  <a:pt x="3321" y="5346"/>
                  <a:pt x="3056" y="5304"/>
                  <a:pt x="2845" y="5388"/>
                </a:cubicBezTo>
                <a:cubicBezTo>
                  <a:pt x="2739" y="5451"/>
                  <a:pt x="2369" y="6437"/>
                  <a:pt x="2104" y="6374"/>
                </a:cubicBezTo>
                <a:cubicBezTo>
                  <a:pt x="2024" y="6353"/>
                  <a:pt x="2024" y="6248"/>
                  <a:pt x="1971" y="6248"/>
                </a:cubicBezTo>
                <a:cubicBezTo>
                  <a:pt x="1812" y="6227"/>
                  <a:pt x="1627" y="6227"/>
                  <a:pt x="1495" y="6269"/>
                </a:cubicBezTo>
                <a:cubicBezTo>
                  <a:pt x="1071" y="6374"/>
                  <a:pt x="1707" y="6563"/>
                  <a:pt x="1389" y="6625"/>
                </a:cubicBezTo>
                <a:lnTo>
                  <a:pt x="1374" y="6637"/>
                </a:lnTo>
                <a:cubicBezTo>
                  <a:pt x="1453" y="6715"/>
                  <a:pt x="1551" y="6776"/>
                  <a:pt x="1601" y="6856"/>
                </a:cubicBezTo>
                <a:cubicBezTo>
                  <a:pt x="1654" y="6983"/>
                  <a:pt x="1548" y="7129"/>
                  <a:pt x="1601" y="7234"/>
                </a:cubicBezTo>
                <a:cubicBezTo>
                  <a:pt x="1839" y="7632"/>
                  <a:pt x="2607" y="8032"/>
                  <a:pt x="3030" y="8284"/>
                </a:cubicBezTo>
                <a:cubicBezTo>
                  <a:pt x="3109" y="8346"/>
                  <a:pt x="2500" y="8325"/>
                  <a:pt x="2633" y="8535"/>
                </a:cubicBezTo>
                <a:cubicBezTo>
                  <a:pt x="2659" y="8556"/>
                  <a:pt x="3189" y="8934"/>
                  <a:pt x="3189" y="9101"/>
                </a:cubicBezTo>
                <a:cubicBezTo>
                  <a:pt x="3109" y="9857"/>
                  <a:pt x="2818" y="9395"/>
                  <a:pt x="2342" y="9710"/>
                </a:cubicBezTo>
                <a:cubicBezTo>
                  <a:pt x="2130" y="9857"/>
                  <a:pt x="516" y="12227"/>
                  <a:pt x="595" y="12395"/>
                </a:cubicBezTo>
                <a:cubicBezTo>
                  <a:pt x="648" y="12626"/>
                  <a:pt x="913" y="12794"/>
                  <a:pt x="993" y="13004"/>
                </a:cubicBezTo>
                <a:cubicBezTo>
                  <a:pt x="1019" y="13109"/>
                  <a:pt x="807" y="13255"/>
                  <a:pt x="913" y="13339"/>
                </a:cubicBezTo>
                <a:cubicBezTo>
                  <a:pt x="1362" y="13780"/>
                  <a:pt x="1098" y="12940"/>
                  <a:pt x="1415" y="13738"/>
                </a:cubicBezTo>
                <a:cubicBezTo>
                  <a:pt x="1442" y="13780"/>
                  <a:pt x="1336" y="13675"/>
                  <a:pt x="1283" y="13654"/>
                </a:cubicBezTo>
                <a:cubicBezTo>
                  <a:pt x="1151" y="13633"/>
                  <a:pt x="1019" y="13675"/>
                  <a:pt x="886" y="13675"/>
                </a:cubicBezTo>
                <a:cubicBezTo>
                  <a:pt x="807" y="13654"/>
                  <a:pt x="700" y="13654"/>
                  <a:pt x="621" y="13633"/>
                </a:cubicBezTo>
                <a:cubicBezTo>
                  <a:pt x="648" y="13843"/>
                  <a:pt x="463" y="14137"/>
                  <a:pt x="436" y="14346"/>
                </a:cubicBezTo>
                <a:cubicBezTo>
                  <a:pt x="409" y="14493"/>
                  <a:pt x="436" y="14640"/>
                  <a:pt x="356" y="14766"/>
                </a:cubicBezTo>
                <a:cubicBezTo>
                  <a:pt x="277" y="14912"/>
                  <a:pt x="39" y="14954"/>
                  <a:pt x="12" y="15102"/>
                </a:cubicBezTo>
                <a:cubicBezTo>
                  <a:pt x="-40" y="15248"/>
                  <a:pt x="92" y="15395"/>
                  <a:pt x="92" y="15563"/>
                </a:cubicBezTo>
                <a:cubicBezTo>
                  <a:pt x="700" y="15584"/>
                  <a:pt x="304" y="15815"/>
                  <a:pt x="727" y="15941"/>
                </a:cubicBezTo>
                <a:cubicBezTo>
                  <a:pt x="807" y="15962"/>
                  <a:pt x="913" y="15857"/>
                  <a:pt x="993" y="15899"/>
                </a:cubicBezTo>
                <a:cubicBezTo>
                  <a:pt x="1151" y="15983"/>
                  <a:pt x="1177" y="16192"/>
                  <a:pt x="1336" y="16277"/>
                </a:cubicBezTo>
                <a:cubicBezTo>
                  <a:pt x="1442" y="16297"/>
                  <a:pt x="1521" y="16192"/>
                  <a:pt x="1627" y="16171"/>
                </a:cubicBezTo>
                <a:cubicBezTo>
                  <a:pt x="1707" y="16171"/>
                  <a:pt x="1786" y="16213"/>
                  <a:pt x="1839" y="16235"/>
                </a:cubicBezTo>
                <a:cubicBezTo>
                  <a:pt x="2183" y="16423"/>
                  <a:pt x="1759" y="16381"/>
                  <a:pt x="2077" y="16591"/>
                </a:cubicBezTo>
                <a:cubicBezTo>
                  <a:pt x="2157" y="16633"/>
                  <a:pt x="2316" y="16549"/>
                  <a:pt x="2500" y="16151"/>
                </a:cubicBezTo>
                <a:cubicBezTo>
                  <a:pt x="2527" y="16109"/>
                  <a:pt x="2527" y="16046"/>
                  <a:pt x="2580" y="16046"/>
                </a:cubicBezTo>
                <a:cubicBezTo>
                  <a:pt x="2659" y="16046"/>
                  <a:pt x="3321" y="16297"/>
                  <a:pt x="3401" y="16297"/>
                </a:cubicBezTo>
                <a:cubicBezTo>
                  <a:pt x="3454" y="16297"/>
                  <a:pt x="3480" y="16192"/>
                  <a:pt x="3534" y="16171"/>
                </a:cubicBezTo>
                <a:cubicBezTo>
                  <a:pt x="3877" y="16066"/>
                  <a:pt x="4751" y="16339"/>
                  <a:pt x="5175" y="16255"/>
                </a:cubicBezTo>
                <a:cubicBezTo>
                  <a:pt x="5413" y="16192"/>
                  <a:pt x="5572" y="16024"/>
                  <a:pt x="5810" y="16003"/>
                </a:cubicBezTo>
                <a:cubicBezTo>
                  <a:pt x="6234" y="15983"/>
                  <a:pt x="6525" y="16423"/>
                  <a:pt x="6815" y="16486"/>
                </a:cubicBezTo>
                <a:cubicBezTo>
                  <a:pt x="7212" y="16591"/>
                  <a:pt x="7345" y="16003"/>
                  <a:pt x="7451" y="15920"/>
                </a:cubicBezTo>
                <a:cubicBezTo>
                  <a:pt x="7927" y="15521"/>
                  <a:pt x="9145" y="15563"/>
                  <a:pt x="9516" y="15269"/>
                </a:cubicBezTo>
                <a:cubicBezTo>
                  <a:pt x="10230" y="14724"/>
                  <a:pt x="9198" y="15185"/>
                  <a:pt x="9701" y="14661"/>
                </a:cubicBezTo>
                <a:cubicBezTo>
                  <a:pt x="9833" y="14535"/>
                  <a:pt x="10045" y="14430"/>
                  <a:pt x="10257" y="14388"/>
                </a:cubicBezTo>
                <a:lnTo>
                  <a:pt x="10284" y="14326"/>
                </a:lnTo>
                <a:lnTo>
                  <a:pt x="10389" y="14137"/>
                </a:lnTo>
                <a:cubicBezTo>
                  <a:pt x="10389" y="14115"/>
                  <a:pt x="10389" y="14094"/>
                  <a:pt x="10389" y="14094"/>
                </a:cubicBezTo>
                <a:lnTo>
                  <a:pt x="10416" y="14011"/>
                </a:lnTo>
                <a:lnTo>
                  <a:pt x="10680" y="14052"/>
                </a:lnTo>
                <a:cubicBezTo>
                  <a:pt x="10654" y="14011"/>
                  <a:pt x="10601" y="13969"/>
                  <a:pt x="10601" y="13927"/>
                </a:cubicBezTo>
                <a:cubicBezTo>
                  <a:pt x="10601" y="13906"/>
                  <a:pt x="11607" y="13801"/>
                  <a:pt x="11660" y="13780"/>
                </a:cubicBezTo>
                <a:cubicBezTo>
                  <a:pt x="12163" y="13591"/>
                  <a:pt x="12004" y="13276"/>
                  <a:pt x="12719" y="13319"/>
                </a:cubicBezTo>
                <a:cubicBezTo>
                  <a:pt x="13010" y="13339"/>
                  <a:pt x="13328" y="13423"/>
                  <a:pt x="13566" y="13570"/>
                </a:cubicBezTo>
                <a:cubicBezTo>
                  <a:pt x="13645" y="13612"/>
                  <a:pt x="13566" y="13758"/>
                  <a:pt x="13645" y="13758"/>
                </a:cubicBezTo>
                <a:cubicBezTo>
                  <a:pt x="13831" y="13758"/>
                  <a:pt x="14015" y="13612"/>
                  <a:pt x="14227" y="13591"/>
                </a:cubicBezTo>
                <a:cubicBezTo>
                  <a:pt x="14333" y="13570"/>
                  <a:pt x="14201" y="13780"/>
                  <a:pt x="14227" y="13864"/>
                </a:cubicBezTo>
                <a:cubicBezTo>
                  <a:pt x="14280" y="14032"/>
                  <a:pt x="14413" y="13717"/>
                  <a:pt x="14466" y="13758"/>
                </a:cubicBezTo>
                <a:cubicBezTo>
                  <a:pt x="14545" y="13843"/>
                  <a:pt x="14545" y="13948"/>
                  <a:pt x="14625" y="14011"/>
                </a:cubicBezTo>
                <a:cubicBezTo>
                  <a:pt x="14730" y="14094"/>
                  <a:pt x="14625" y="13738"/>
                  <a:pt x="14783" y="13696"/>
                </a:cubicBezTo>
                <a:cubicBezTo>
                  <a:pt x="15683" y="13507"/>
                  <a:pt x="15287" y="13927"/>
                  <a:pt x="15921" y="14137"/>
                </a:cubicBezTo>
                <a:cubicBezTo>
                  <a:pt x="16186" y="14220"/>
                  <a:pt x="16001" y="13801"/>
                  <a:pt x="16239" y="13906"/>
                </a:cubicBezTo>
                <a:cubicBezTo>
                  <a:pt x="16848" y="14220"/>
                  <a:pt x="16424" y="14661"/>
                  <a:pt x="16609" y="15122"/>
                </a:cubicBezTo>
                <a:cubicBezTo>
                  <a:pt x="16636" y="15227"/>
                  <a:pt x="17298" y="15605"/>
                  <a:pt x="17457" y="15647"/>
                </a:cubicBezTo>
                <a:cubicBezTo>
                  <a:pt x="17774" y="15731"/>
                  <a:pt x="17378" y="15269"/>
                  <a:pt x="17748" y="15437"/>
                </a:cubicBezTo>
                <a:cubicBezTo>
                  <a:pt x="18224" y="15647"/>
                  <a:pt x="17616" y="16235"/>
                  <a:pt x="17959" y="16066"/>
                </a:cubicBezTo>
                <a:cubicBezTo>
                  <a:pt x="18092" y="16003"/>
                  <a:pt x="18013" y="16339"/>
                  <a:pt x="18118" y="16423"/>
                </a:cubicBezTo>
                <a:cubicBezTo>
                  <a:pt x="18277" y="16507"/>
                  <a:pt x="18940" y="16528"/>
                  <a:pt x="19098" y="16633"/>
                </a:cubicBezTo>
                <a:lnTo>
                  <a:pt x="19363" y="17283"/>
                </a:lnTo>
                <a:cubicBezTo>
                  <a:pt x="19363" y="17326"/>
                  <a:pt x="19204" y="17326"/>
                  <a:pt x="19230" y="17367"/>
                </a:cubicBezTo>
                <a:cubicBezTo>
                  <a:pt x="19283" y="17514"/>
                  <a:pt x="19892" y="17577"/>
                  <a:pt x="19892" y="17598"/>
                </a:cubicBezTo>
                <a:cubicBezTo>
                  <a:pt x="19733" y="17682"/>
                  <a:pt x="19549" y="17703"/>
                  <a:pt x="19416" y="17787"/>
                </a:cubicBezTo>
                <a:cubicBezTo>
                  <a:pt x="19363" y="17828"/>
                  <a:pt x="19389" y="17871"/>
                  <a:pt x="19363" y="17913"/>
                </a:cubicBezTo>
                <a:cubicBezTo>
                  <a:pt x="19230" y="18017"/>
                  <a:pt x="19098" y="17619"/>
                  <a:pt x="18887" y="17619"/>
                </a:cubicBezTo>
                <a:cubicBezTo>
                  <a:pt x="18727" y="17619"/>
                  <a:pt x="18887" y="18017"/>
                  <a:pt x="18727" y="17996"/>
                </a:cubicBezTo>
                <a:cubicBezTo>
                  <a:pt x="18622" y="17976"/>
                  <a:pt x="18277" y="17766"/>
                  <a:pt x="18277" y="17766"/>
                </a:cubicBezTo>
                <a:cubicBezTo>
                  <a:pt x="18224" y="17828"/>
                  <a:pt x="18251" y="17955"/>
                  <a:pt x="18145" y="17976"/>
                </a:cubicBezTo>
                <a:cubicBezTo>
                  <a:pt x="18092" y="17996"/>
                  <a:pt x="18065" y="17828"/>
                  <a:pt x="18039" y="17871"/>
                </a:cubicBezTo>
                <a:cubicBezTo>
                  <a:pt x="17907" y="17955"/>
                  <a:pt x="17933" y="18101"/>
                  <a:pt x="17854" y="18185"/>
                </a:cubicBezTo>
                <a:cubicBezTo>
                  <a:pt x="17827" y="18206"/>
                  <a:pt x="17774" y="18185"/>
                  <a:pt x="17748" y="18164"/>
                </a:cubicBezTo>
                <a:cubicBezTo>
                  <a:pt x="17748" y="18123"/>
                  <a:pt x="17801" y="18101"/>
                  <a:pt x="17801" y="18060"/>
                </a:cubicBezTo>
                <a:cubicBezTo>
                  <a:pt x="17774" y="17955"/>
                  <a:pt x="17721" y="17850"/>
                  <a:pt x="17669" y="17766"/>
                </a:cubicBezTo>
                <a:cubicBezTo>
                  <a:pt x="17562" y="17619"/>
                  <a:pt x="17325" y="17934"/>
                  <a:pt x="17193" y="18060"/>
                </a:cubicBezTo>
                <a:cubicBezTo>
                  <a:pt x="16822" y="18395"/>
                  <a:pt x="17484" y="18563"/>
                  <a:pt x="17536" y="18731"/>
                </a:cubicBezTo>
                <a:cubicBezTo>
                  <a:pt x="17562" y="18836"/>
                  <a:pt x="17430" y="18941"/>
                  <a:pt x="17430" y="19045"/>
                </a:cubicBezTo>
                <a:cubicBezTo>
                  <a:pt x="17430" y="19151"/>
                  <a:pt x="17589" y="19234"/>
                  <a:pt x="17536" y="19318"/>
                </a:cubicBezTo>
                <a:cubicBezTo>
                  <a:pt x="17484" y="19403"/>
                  <a:pt x="17298" y="19403"/>
                  <a:pt x="17193" y="19486"/>
                </a:cubicBezTo>
                <a:cubicBezTo>
                  <a:pt x="16954" y="19633"/>
                  <a:pt x="17325" y="19717"/>
                  <a:pt x="17193" y="19864"/>
                </a:cubicBezTo>
                <a:cubicBezTo>
                  <a:pt x="17086" y="19968"/>
                  <a:pt x="16927" y="20031"/>
                  <a:pt x="16848" y="20116"/>
                </a:cubicBezTo>
                <a:cubicBezTo>
                  <a:pt x="16609" y="20409"/>
                  <a:pt x="17007" y="20871"/>
                  <a:pt x="16822" y="20892"/>
                </a:cubicBezTo>
                <a:cubicBezTo>
                  <a:pt x="16689" y="20912"/>
                  <a:pt x="16557" y="20871"/>
                  <a:pt x="16424" y="20892"/>
                </a:cubicBezTo>
                <a:lnTo>
                  <a:pt x="16451" y="20892"/>
                </a:lnTo>
                <a:lnTo>
                  <a:pt x="16319" y="21039"/>
                </a:lnTo>
                <a:cubicBezTo>
                  <a:pt x="16319" y="21102"/>
                  <a:pt x="16292" y="21164"/>
                  <a:pt x="16239" y="21144"/>
                </a:cubicBezTo>
                <a:cubicBezTo>
                  <a:pt x="16292" y="21164"/>
                  <a:pt x="16371" y="21123"/>
                  <a:pt x="16424" y="21164"/>
                </a:cubicBezTo>
                <a:cubicBezTo>
                  <a:pt x="16503" y="21227"/>
                  <a:pt x="16478" y="21353"/>
                  <a:pt x="16583" y="21417"/>
                </a:cubicBezTo>
                <a:cubicBezTo>
                  <a:pt x="16689" y="21500"/>
                  <a:pt x="17827" y="21543"/>
                  <a:pt x="17801" y="21437"/>
                </a:cubicBezTo>
                <a:cubicBezTo>
                  <a:pt x="17801" y="21417"/>
                  <a:pt x="17430" y="21353"/>
                  <a:pt x="17695" y="21227"/>
                </a:cubicBezTo>
                <a:cubicBezTo>
                  <a:pt x="17854" y="21164"/>
                  <a:pt x="18039" y="21185"/>
                  <a:pt x="18198" y="21123"/>
                </a:cubicBezTo>
                <a:cubicBezTo>
                  <a:pt x="18463" y="21018"/>
                  <a:pt x="18568" y="20724"/>
                  <a:pt x="18860" y="20640"/>
                </a:cubicBezTo>
                <a:cubicBezTo>
                  <a:pt x="19442" y="20472"/>
                  <a:pt x="19733" y="20640"/>
                  <a:pt x="19865" y="21039"/>
                </a:cubicBezTo>
                <a:cubicBezTo>
                  <a:pt x="19919" y="20912"/>
                  <a:pt x="20131" y="20430"/>
                  <a:pt x="19813" y="20347"/>
                </a:cubicBezTo>
                <a:cubicBezTo>
                  <a:pt x="19760" y="20326"/>
                  <a:pt x="19839" y="20430"/>
                  <a:pt x="19786" y="20430"/>
                </a:cubicBezTo>
                <a:cubicBezTo>
                  <a:pt x="19760" y="20451"/>
                  <a:pt x="19760" y="20367"/>
                  <a:pt x="19733" y="20347"/>
                </a:cubicBezTo>
                <a:cubicBezTo>
                  <a:pt x="19575" y="20304"/>
                  <a:pt x="19681" y="20682"/>
                  <a:pt x="19495" y="20409"/>
                </a:cubicBezTo>
                <a:cubicBezTo>
                  <a:pt x="19336" y="20220"/>
                  <a:pt x="19363" y="19926"/>
                  <a:pt x="19336" y="19717"/>
                </a:cubicBezTo>
                <a:cubicBezTo>
                  <a:pt x="19336" y="19633"/>
                  <a:pt x="19151" y="19423"/>
                  <a:pt x="19257" y="19465"/>
                </a:cubicBezTo>
                <a:cubicBezTo>
                  <a:pt x="19495" y="19528"/>
                  <a:pt x="19442" y="20010"/>
                  <a:pt x="19681" y="19948"/>
                </a:cubicBezTo>
                <a:cubicBezTo>
                  <a:pt x="20475" y="19696"/>
                  <a:pt x="19945" y="19633"/>
                  <a:pt x="19945" y="19360"/>
                </a:cubicBezTo>
                <a:cubicBezTo>
                  <a:pt x="19945" y="19318"/>
                  <a:pt x="19998" y="19444"/>
                  <a:pt x="20051" y="19423"/>
                </a:cubicBezTo>
                <a:cubicBezTo>
                  <a:pt x="20131" y="19403"/>
                  <a:pt x="19919" y="19234"/>
                  <a:pt x="19998" y="19193"/>
                </a:cubicBezTo>
                <a:cubicBezTo>
                  <a:pt x="20131" y="19151"/>
                  <a:pt x="20289" y="19234"/>
                  <a:pt x="20421" y="19193"/>
                </a:cubicBezTo>
                <a:cubicBezTo>
                  <a:pt x="20527" y="19171"/>
                  <a:pt x="20607" y="19088"/>
                  <a:pt x="20660" y="19003"/>
                </a:cubicBezTo>
                <a:cubicBezTo>
                  <a:pt x="20872" y="18626"/>
                  <a:pt x="21110" y="18164"/>
                  <a:pt x="21268" y="17745"/>
                </a:cubicBezTo>
                <a:cubicBezTo>
                  <a:pt x="21295" y="17661"/>
                  <a:pt x="21083" y="17577"/>
                  <a:pt x="21136" y="17493"/>
                </a:cubicBezTo>
                <a:cubicBezTo>
                  <a:pt x="21163" y="17430"/>
                  <a:pt x="21322" y="17409"/>
                  <a:pt x="21374" y="17346"/>
                </a:cubicBezTo>
                <a:cubicBezTo>
                  <a:pt x="21559" y="17074"/>
                  <a:pt x="21269" y="16881"/>
                  <a:pt x="21269" y="16881"/>
                </a:cubicBezTo>
                <a:cubicBezTo>
                  <a:pt x="21269" y="16881"/>
                  <a:pt x="21317" y="6"/>
                  <a:pt x="21237" y="6"/>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36" name="AutoShape 4"/>
          <p:cNvSpPr>
            <a:spLocks/>
          </p:cNvSpPr>
          <p:nvPr/>
        </p:nvSpPr>
        <p:spPr bwMode="auto">
          <a:xfrm>
            <a:off x="21309013" y="1003300"/>
            <a:ext cx="6350" cy="0"/>
          </a:xfrm>
          <a:custGeom>
            <a:avLst/>
            <a:gdLst>
              <a:gd name="T0" fmla="+- 0 13453 5306"/>
              <a:gd name="T1" fmla="*/ T0 w 16294"/>
              <a:gd name="T2" fmla="*/ 10800 h 21600"/>
              <a:gd name="T3" fmla="+- 0 13453 5306"/>
              <a:gd name="T4" fmla="*/ T3 w 16294"/>
              <a:gd name="T5" fmla="*/ 10800 h 21600"/>
              <a:gd name="T6" fmla="+- 0 13453 5306"/>
              <a:gd name="T7" fmla="*/ T6 w 16294"/>
              <a:gd name="T8" fmla="*/ 10800 h 21600"/>
              <a:gd name="T9" fmla="+- 0 13453 5306"/>
              <a:gd name="T10" fmla="*/ T9 w 16294"/>
              <a:gd name="T11" fmla="*/ 10800 h 21600"/>
            </a:gdLst>
            <a:ahLst/>
            <a:cxnLst>
              <a:cxn ang="0">
                <a:pos x="T1" y="T2"/>
              </a:cxn>
              <a:cxn ang="0">
                <a:pos x="T4" y="T5"/>
              </a:cxn>
              <a:cxn ang="0">
                <a:pos x="T7" y="T8"/>
              </a:cxn>
              <a:cxn ang="0">
                <a:pos x="T10" y="T11"/>
              </a:cxn>
            </a:cxnLst>
            <a:rect l="0" t="0" r="r" b="b"/>
            <a:pathLst>
              <a:path w="16294" h="21600">
                <a:moveTo>
                  <a:pt x="16293" y="21600"/>
                </a:moveTo>
                <a:cubicBezTo>
                  <a:pt x="11619" y="15797"/>
                  <a:pt x="6832" y="10316"/>
                  <a:pt x="3251" y="0"/>
                </a:cubicBezTo>
                <a:cubicBezTo>
                  <a:pt x="-5306" y="0"/>
                  <a:pt x="4419" y="14249"/>
                  <a:pt x="16293" y="2160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37" name="AutoShape 5"/>
          <p:cNvSpPr>
            <a:spLocks/>
          </p:cNvSpPr>
          <p:nvPr/>
        </p:nvSpPr>
        <p:spPr bwMode="auto">
          <a:xfrm>
            <a:off x="20116800" y="1079500"/>
            <a:ext cx="9525" cy="127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0"/>
                </a:moveTo>
                <a:cubicBezTo>
                  <a:pt x="12810" y="7244"/>
                  <a:pt x="4407" y="14406"/>
                  <a:pt x="0" y="21600"/>
                </a:cubicBezTo>
                <a:cubicBezTo>
                  <a:pt x="5799" y="14804"/>
                  <a:pt x="13300" y="7600"/>
                  <a:pt x="21599" y="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38" name="AutoShape 6"/>
          <p:cNvSpPr>
            <a:spLocks/>
          </p:cNvSpPr>
          <p:nvPr/>
        </p:nvSpPr>
        <p:spPr bwMode="auto">
          <a:xfrm>
            <a:off x="16751300" y="3109913"/>
            <a:ext cx="4903788" cy="4230687"/>
          </a:xfrm>
          <a:custGeom>
            <a:avLst/>
            <a:gdLst>
              <a:gd name="T0" fmla="+- 0 10804 20"/>
              <a:gd name="T1" fmla="*/ T0 w 21568"/>
              <a:gd name="T2" fmla="+- 0 10846 92"/>
              <a:gd name="T3" fmla="*/ 10846 h 21508"/>
              <a:gd name="T4" fmla="+- 0 10804 20"/>
              <a:gd name="T5" fmla="*/ T4 w 21568"/>
              <a:gd name="T6" fmla="+- 0 10846 92"/>
              <a:gd name="T7" fmla="*/ 10846 h 21508"/>
              <a:gd name="T8" fmla="+- 0 10804 20"/>
              <a:gd name="T9" fmla="*/ T8 w 21568"/>
              <a:gd name="T10" fmla="+- 0 10846 92"/>
              <a:gd name="T11" fmla="*/ 10846 h 21508"/>
              <a:gd name="T12" fmla="+- 0 10804 20"/>
              <a:gd name="T13" fmla="*/ T12 w 21568"/>
              <a:gd name="T14" fmla="+- 0 10846 92"/>
              <a:gd name="T15" fmla="*/ 10846 h 21508"/>
            </a:gdLst>
            <a:ahLst/>
            <a:cxnLst>
              <a:cxn ang="0">
                <a:pos x="T1" y="T3"/>
              </a:cxn>
              <a:cxn ang="0">
                <a:pos x="T5" y="T7"/>
              </a:cxn>
              <a:cxn ang="0">
                <a:pos x="T9" y="T11"/>
              </a:cxn>
              <a:cxn ang="0">
                <a:pos x="T13" y="T15"/>
              </a:cxn>
            </a:cxnLst>
            <a:rect l="0" t="0" r="r" b="b"/>
            <a:pathLst>
              <a:path w="21568" h="21508">
                <a:moveTo>
                  <a:pt x="17695" y="4020"/>
                </a:moveTo>
                <a:cubicBezTo>
                  <a:pt x="18244" y="3683"/>
                  <a:pt x="17357" y="4033"/>
                  <a:pt x="17206" y="3831"/>
                </a:cubicBezTo>
                <a:cubicBezTo>
                  <a:pt x="17159" y="3764"/>
                  <a:pt x="17182" y="3656"/>
                  <a:pt x="17159" y="3575"/>
                </a:cubicBezTo>
                <a:cubicBezTo>
                  <a:pt x="17147" y="3481"/>
                  <a:pt x="17066" y="3373"/>
                  <a:pt x="17124" y="3305"/>
                </a:cubicBezTo>
                <a:cubicBezTo>
                  <a:pt x="17171" y="3238"/>
                  <a:pt x="17287" y="3373"/>
                  <a:pt x="17357" y="3332"/>
                </a:cubicBezTo>
                <a:cubicBezTo>
                  <a:pt x="17439" y="3278"/>
                  <a:pt x="17404" y="3076"/>
                  <a:pt x="17497" y="3036"/>
                </a:cubicBezTo>
                <a:cubicBezTo>
                  <a:pt x="17556" y="3022"/>
                  <a:pt x="17684" y="3427"/>
                  <a:pt x="17731" y="3400"/>
                </a:cubicBezTo>
                <a:lnTo>
                  <a:pt x="17754" y="2928"/>
                </a:lnTo>
                <a:cubicBezTo>
                  <a:pt x="17789" y="2833"/>
                  <a:pt x="17847" y="2753"/>
                  <a:pt x="17917" y="2699"/>
                </a:cubicBezTo>
                <a:cubicBezTo>
                  <a:pt x="17976" y="2645"/>
                  <a:pt x="18092" y="2726"/>
                  <a:pt x="18127" y="2658"/>
                </a:cubicBezTo>
                <a:cubicBezTo>
                  <a:pt x="18185" y="2550"/>
                  <a:pt x="17976" y="2483"/>
                  <a:pt x="17882" y="2429"/>
                </a:cubicBezTo>
                <a:cubicBezTo>
                  <a:pt x="17812" y="2375"/>
                  <a:pt x="17731" y="2335"/>
                  <a:pt x="17649" y="2321"/>
                </a:cubicBezTo>
                <a:cubicBezTo>
                  <a:pt x="17579" y="2308"/>
                  <a:pt x="17497" y="2362"/>
                  <a:pt x="17427" y="2335"/>
                </a:cubicBezTo>
                <a:cubicBezTo>
                  <a:pt x="17416" y="2321"/>
                  <a:pt x="17194" y="1971"/>
                  <a:pt x="17194" y="1971"/>
                </a:cubicBezTo>
                <a:cubicBezTo>
                  <a:pt x="17112" y="1930"/>
                  <a:pt x="16751" y="1944"/>
                  <a:pt x="16716" y="1782"/>
                </a:cubicBezTo>
                <a:cubicBezTo>
                  <a:pt x="16705" y="1701"/>
                  <a:pt x="16879" y="1755"/>
                  <a:pt x="16914" y="1687"/>
                </a:cubicBezTo>
                <a:lnTo>
                  <a:pt x="16879" y="1175"/>
                </a:lnTo>
                <a:cubicBezTo>
                  <a:pt x="16809" y="986"/>
                  <a:pt x="16494" y="892"/>
                  <a:pt x="16401" y="676"/>
                </a:cubicBezTo>
                <a:lnTo>
                  <a:pt x="16296" y="164"/>
                </a:lnTo>
                <a:cubicBezTo>
                  <a:pt x="16238" y="97"/>
                  <a:pt x="16074" y="137"/>
                  <a:pt x="16063" y="43"/>
                </a:cubicBezTo>
                <a:cubicBezTo>
                  <a:pt x="16051" y="-92"/>
                  <a:pt x="16319" y="123"/>
                  <a:pt x="16390" y="245"/>
                </a:cubicBezTo>
                <a:cubicBezTo>
                  <a:pt x="16471" y="393"/>
                  <a:pt x="16564" y="838"/>
                  <a:pt x="16669" y="932"/>
                </a:cubicBezTo>
                <a:cubicBezTo>
                  <a:pt x="16984" y="1216"/>
                  <a:pt x="16996" y="460"/>
                  <a:pt x="17241" y="663"/>
                </a:cubicBezTo>
                <a:lnTo>
                  <a:pt x="17217" y="1135"/>
                </a:lnTo>
                <a:cubicBezTo>
                  <a:pt x="17287" y="1364"/>
                  <a:pt x="17929" y="1553"/>
                  <a:pt x="17941" y="1606"/>
                </a:cubicBezTo>
                <a:cubicBezTo>
                  <a:pt x="17964" y="1741"/>
                  <a:pt x="17941" y="1782"/>
                  <a:pt x="17894" y="1782"/>
                </a:cubicBezTo>
                <a:cubicBezTo>
                  <a:pt x="17871" y="1782"/>
                  <a:pt x="17824" y="1755"/>
                  <a:pt x="17789" y="1728"/>
                </a:cubicBezTo>
                <a:cubicBezTo>
                  <a:pt x="17661" y="1620"/>
                  <a:pt x="17509" y="1445"/>
                  <a:pt x="17497" y="1445"/>
                </a:cubicBezTo>
                <a:cubicBezTo>
                  <a:pt x="17497" y="1445"/>
                  <a:pt x="17369" y="1768"/>
                  <a:pt x="17369" y="1755"/>
                </a:cubicBezTo>
                <a:cubicBezTo>
                  <a:pt x="17357" y="1755"/>
                  <a:pt x="17124" y="892"/>
                  <a:pt x="17008" y="1445"/>
                </a:cubicBezTo>
                <a:cubicBezTo>
                  <a:pt x="16972" y="1580"/>
                  <a:pt x="17486" y="2173"/>
                  <a:pt x="17695" y="2025"/>
                </a:cubicBezTo>
                <a:cubicBezTo>
                  <a:pt x="17777" y="1971"/>
                  <a:pt x="17731" y="1768"/>
                  <a:pt x="17789" y="1728"/>
                </a:cubicBezTo>
                <a:cubicBezTo>
                  <a:pt x="17801" y="1715"/>
                  <a:pt x="17801" y="1715"/>
                  <a:pt x="17812" y="1715"/>
                </a:cubicBezTo>
                <a:cubicBezTo>
                  <a:pt x="17847" y="1715"/>
                  <a:pt x="17871" y="1741"/>
                  <a:pt x="17894" y="1782"/>
                </a:cubicBezTo>
                <a:cubicBezTo>
                  <a:pt x="17906" y="1809"/>
                  <a:pt x="17917" y="1836"/>
                  <a:pt x="17941" y="1863"/>
                </a:cubicBezTo>
                <a:cubicBezTo>
                  <a:pt x="17976" y="1903"/>
                  <a:pt x="18092" y="1944"/>
                  <a:pt x="18057" y="1998"/>
                </a:cubicBezTo>
                <a:cubicBezTo>
                  <a:pt x="18022" y="2078"/>
                  <a:pt x="17824" y="1957"/>
                  <a:pt x="17847" y="2038"/>
                </a:cubicBezTo>
                <a:cubicBezTo>
                  <a:pt x="17871" y="2119"/>
                  <a:pt x="17999" y="2065"/>
                  <a:pt x="18081" y="2051"/>
                </a:cubicBezTo>
                <a:cubicBezTo>
                  <a:pt x="18594" y="1957"/>
                  <a:pt x="17987" y="1661"/>
                  <a:pt x="18174" y="1431"/>
                </a:cubicBezTo>
                <a:cubicBezTo>
                  <a:pt x="18232" y="1377"/>
                  <a:pt x="18337" y="1499"/>
                  <a:pt x="18407" y="1485"/>
                </a:cubicBezTo>
                <a:cubicBezTo>
                  <a:pt x="18489" y="1458"/>
                  <a:pt x="18558" y="1242"/>
                  <a:pt x="18594" y="1323"/>
                </a:cubicBezTo>
                <a:cubicBezTo>
                  <a:pt x="18629" y="1418"/>
                  <a:pt x="18454" y="1485"/>
                  <a:pt x="18454" y="1593"/>
                </a:cubicBezTo>
                <a:cubicBezTo>
                  <a:pt x="18454" y="1715"/>
                  <a:pt x="18745" y="1701"/>
                  <a:pt x="18710" y="1809"/>
                </a:cubicBezTo>
                <a:cubicBezTo>
                  <a:pt x="18687" y="1890"/>
                  <a:pt x="18535" y="1836"/>
                  <a:pt x="18512" y="1917"/>
                </a:cubicBezTo>
                <a:lnTo>
                  <a:pt x="18734" y="2294"/>
                </a:lnTo>
                <a:cubicBezTo>
                  <a:pt x="18734" y="2402"/>
                  <a:pt x="18640" y="2469"/>
                  <a:pt x="18594" y="2564"/>
                </a:cubicBezTo>
                <a:lnTo>
                  <a:pt x="18500" y="2901"/>
                </a:lnTo>
                <a:cubicBezTo>
                  <a:pt x="18489" y="2914"/>
                  <a:pt x="18069" y="2982"/>
                  <a:pt x="18057" y="2982"/>
                </a:cubicBezTo>
                <a:cubicBezTo>
                  <a:pt x="18034" y="3009"/>
                  <a:pt x="18162" y="2968"/>
                  <a:pt x="18174" y="3009"/>
                </a:cubicBezTo>
                <a:cubicBezTo>
                  <a:pt x="18209" y="3144"/>
                  <a:pt x="18022" y="3305"/>
                  <a:pt x="18092" y="3413"/>
                </a:cubicBezTo>
                <a:cubicBezTo>
                  <a:pt x="18151" y="3494"/>
                  <a:pt x="18291" y="3454"/>
                  <a:pt x="18337" y="3548"/>
                </a:cubicBezTo>
                <a:cubicBezTo>
                  <a:pt x="18396" y="3629"/>
                  <a:pt x="18011" y="4249"/>
                  <a:pt x="17695" y="4020"/>
                </a:cubicBezTo>
                <a:close/>
                <a:moveTo>
                  <a:pt x="15620" y="1054"/>
                </a:moveTo>
                <a:cubicBezTo>
                  <a:pt x="15655" y="1121"/>
                  <a:pt x="15690" y="1175"/>
                  <a:pt x="15725" y="1242"/>
                </a:cubicBezTo>
                <a:cubicBezTo>
                  <a:pt x="15759" y="1296"/>
                  <a:pt x="15794" y="1377"/>
                  <a:pt x="15841" y="1418"/>
                </a:cubicBezTo>
                <a:cubicBezTo>
                  <a:pt x="15888" y="1472"/>
                  <a:pt x="16004" y="1472"/>
                  <a:pt x="16051" y="1512"/>
                </a:cubicBezTo>
                <a:cubicBezTo>
                  <a:pt x="16063" y="1526"/>
                  <a:pt x="16074" y="1539"/>
                  <a:pt x="16074" y="1553"/>
                </a:cubicBezTo>
                <a:lnTo>
                  <a:pt x="16074" y="1566"/>
                </a:lnTo>
                <a:cubicBezTo>
                  <a:pt x="16074" y="1661"/>
                  <a:pt x="15923" y="1458"/>
                  <a:pt x="15841" y="1485"/>
                </a:cubicBezTo>
                <a:cubicBezTo>
                  <a:pt x="15666" y="1539"/>
                  <a:pt x="15818" y="2227"/>
                  <a:pt x="15935" y="2254"/>
                </a:cubicBezTo>
                <a:lnTo>
                  <a:pt x="16016" y="1863"/>
                </a:lnTo>
                <a:cubicBezTo>
                  <a:pt x="16074" y="1795"/>
                  <a:pt x="16191" y="1849"/>
                  <a:pt x="16215" y="1768"/>
                </a:cubicBezTo>
                <a:cubicBezTo>
                  <a:pt x="16226" y="1768"/>
                  <a:pt x="16145" y="1661"/>
                  <a:pt x="16074" y="1553"/>
                </a:cubicBezTo>
                <a:cubicBezTo>
                  <a:pt x="16063" y="1539"/>
                  <a:pt x="16063" y="1526"/>
                  <a:pt x="16051" y="1512"/>
                </a:cubicBezTo>
                <a:cubicBezTo>
                  <a:pt x="15970" y="1377"/>
                  <a:pt x="15900" y="1216"/>
                  <a:pt x="16016" y="1189"/>
                </a:cubicBezTo>
                <a:cubicBezTo>
                  <a:pt x="16109" y="1175"/>
                  <a:pt x="16168" y="1377"/>
                  <a:pt x="16261" y="1364"/>
                </a:cubicBezTo>
                <a:cubicBezTo>
                  <a:pt x="16261" y="1364"/>
                  <a:pt x="16331" y="973"/>
                  <a:pt x="16343" y="973"/>
                </a:cubicBezTo>
                <a:cubicBezTo>
                  <a:pt x="16401" y="959"/>
                  <a:pt x="16424" y="1081"/>
                  <a:pt x="16460" y="1135"/>
                </a:cubicBezTo>
                <a:cubicBezTo>
                  <a:pt x="16506" y="1189"/>
                  <a:pt x="16611" y="1229"/>
                  <a:pt x="16588" y="1296"/>
                </a:cubicBezTo>
                <a:cubicBezTo>
                  <a:pt x="16553" y="1377"/>
                  <a:pt x="16413" y="1296"/>
                  <a:pt x="16378" y="1364"/>
                </a:cubicBezTo>
                <a:cubicBezTo>
                  <a:pt x="16343" y="1431"/>
                  <a:pt x="16390" y="1526"/>
                  <a:pt x="16401" y="1620"/>
                </a:cubicBezTo>
                <a:cubicBezTo>
                  <a:pt x="16413" y="1701"/>
                  <a:pt x="16424" y="1782"/>
                  <a:pt x="16424" y="1863"/>
                </a:cubicBezTo>
                <a:lnTo>
                  <a:pt x="16296" y="2173"/>
                </a:lnTo>
                <a:cubicBezTo>
                  <a:pt x="16191" y="2200"/>
                  <a:pt x="16133" y="1849"/>
                  <a:pt x="16063" y="1944"/>
                </a:cubicBezTo>
                <a:cubicBezTo>
                  <a:pt x="16016" y="2011"/>
                  <a:pt x="16074" y="2105"/>
                  <a:pt x="16074" y="2200"/>
                </a:cubicBezTo>
                <a:cubicBezTo>
                  <a:pt x="16086" y="2281"/>
                  <a:pt x="16121" y="2362"/>
                  <a:pt x="16098" y="2443"/>
                </a:cubicBezTo>
                <a:cubicBezTo>
                  <a:pt x="16063" y="2604"/>
                  <a:pt x="15818" y="2861"/>
                  <a:pt x="15818" y="3036"/>
                </a:cubicBezTo>
                <a:cubicBezTo>
                  <a:pt x="15818" y="3278"/>
                  <a:pt x="15946" y="3589"/>
                  <a:pt x="15981" y="3818"/>
                </a:cubicBezTo>
                <a:cubicBezTo>
                  <a:pt x="15993" y="3912"/>
                  <a:pt x="15958" y="4020"/>
                  <a:pt x="16016" y="4087"/>
                </a:cubicBezTo>
                <a:cubicBezTo>
                  <a:pt x="16063" y="4155"/>
                  <a:pt x="16168" y="4209"/>
                  <a:pt x="16249" y="4195"/>
                </a:cubicBezTo>
                <a:cubicBezTo>
                  <a:pt x="16331" y="4195"/>
                  <a:pt x="16378" y="4020"/>
                  <a:pt x="16448" y="4060"/>
                </a:cubicBezTo>
                <a:lnTo>
                  <a:pt x="16541" y="4573"/>
                </a:lnTo>
                <a:cubicBezTo>
                  <a:pt x="16308" y="4977"/>
                  <a:pt x="16518" y="4007"/>
                  <a:pt x="16063" y="4249"/>
                </a:cubicBezTo>
                <a:lnTo>
                  <a:pt x="15981" y="4667"/>
                </a:lnTo>
                <a:cubicBezTo>
                  <a:pt x="15876" y="4640"/>
                  <a:pt x="15818" y="4047"/>
                  <a:pt x="15818" y="3952"/>
                </a:cubicBezTo>
                <a:cubicBezTo>
                  <a:pt x="15830" y="3562"/>
                  <a:pt x="15573" y="3508"/>
                  <a:pt x="15585" y="3440"/>
                </a:cubicBezTo>
                <a:cubicBezTo>
                  <a:pt x="15585" y="3332"/>
                  <a:pt x="15701" y="3278"/>
                  <a:pt x="15736" y="3184"/>
                </a:cubicBezTo>
                <a:cubicBezTo>
                  <a:pt x="15794" y="3063"/>
                  <a:pt x="15923" y="2510"/>
                  <a:pt x="15900" y="2375"/>
                </a:cubicBezTo>
                <a:cubicBezTo>
                  <a:pt x="15876" y="2240"/>
                  <a:pt x="15713" y="2159"/>
                  <a:pt x="15678" y="2011"/>
                </a:cubicBezTo>
                <a:cubicBezTo>
                  <a:pt x="15666" y="1984"/>
                  <a:pt x="15666" y="1539"/>
                  <a:pt x="15655" y="1499"/>
                </a:cubicBezTo>
                <a:lnTo>
                  <a:pt x="15421" y="1175"/>
                </a:lnTo>
                <a:cubicBezTo>
                  <a:pt x="15445" y="1094"/>
                  <a:pt x="15550" y="1094"/>
                  <a:pt x="15620" y="1054"/>
                </a:cubicBezTo>
                <a:close/>
                <a:moveTo>
                  <a:pt x="19597" y="2267"/>
                </a:moveTo>
                <a:cubicBezTo>
                  <a:pt x="19690" y="2281"/>
                  <a:pt x="19947" y="2335"/>
                  <a:pt x="19970" y="2348"/>
                </a:cubicBezTo>
                <a:cubicBezTo>
                  <a:pt x="20098" y="2402"/>
                  <a:pt x="20192" y="2591"/>
                  <a:pt x="20331" y="2658"/>
                </a:cubicBezTo>
                <a:cubicBezTo>
                  <a:pt x="20565" y="2766"/>
                  <a:pt x="20868" y="2712"/>
                  <a:pt x="21067" y="2928"/>
                </a:cubicBezTo>
                <a:cubicBezTo>
                  <a:pt x="21171" y="3036"/>
                  <a:pt x="21264" y="3130"/>
                  <a:pt x="21358" y="3252"/>
                </a:cubicBezTo>
                <a:cubicBezTo>
                  <a:pt x="21393" y="3305"/>
                  <a:pt x="21370" y="3400"/>
                  <a:pt x="21416" y="3454"/>
                </a:cubicBezTo>
                <a:cubicBezTo>
                  <a:pt x="21451" y="3494"/>
                  <a:pt x="21533" y="3467"/>
                  <a:pt x="21556" y="3521"/>
                </a:cubicBezTo>
                <a:cubicBezTo>
                  <a:pt x="21580" y="3629"/>
                  <a:pt x="21568" y="3750"/>
                  <a:pt x="21521" y="3845"/>
                </a:cubicBezTo>
                <a:cubicBezTo>
                  <a:pt x="21498" y="3899"/>
                  <a:pt x="21381" y="3818"/>
                  <a:pt x="21370" y="3872"/>
                </a:cubicBezTo>
                <a:cubicBezTo>
                  <a:pt x="21358" y="3939"/>
                  <a:pt x="21463" y="3952"/>
                  <a:pt x="21498" y="4020"/>
                </a:cubicBezTo>
                <a:cubicBezTo>
                  <a:pt x="21509" y="4047"/>
                  <a:pt x="21498" y="4101"/>
                  <a:pt x="21509" y="4141"/>
                </a:cubicBezTo>
                <a:cubicBezTo>
                  <a:pt x="21509" y="4236"/>
                  <a:pt x="21544" y="4344"/>
                  <a:pt x="21521" y="4438"/>
                </a:cubicBezTo>
                <a:cubicBezTo>
                  <a:pt x="21416" y="4789"/>
                  <a:pt x="21043" y="4317"/>
                  <a:pt x="20903" y="4559"/>
                </a:cubicBezTo>
                <a:cubicBezTo>
                  <a:pt x="20763" y="4802"/>
                  <a:pt x="20973" y="5126"/>
                  <a:pt x="20903" y="5180"/>
                </a:cubicBezTo>
                <a:cubicBezTo>
                  <a:pt x="20775" y="5274"/>
                  <a:pt x="20565" y="5288"/>
                  <a:pt x="20553" y="5288"/>
                </a:cubicBezTo>
                <a:cubicBezTo>
                  <a:pt x="20530" y="5234"/>
                  <a:pt x="20600" y="5166"/>
                  <a:pt x="20588" y="5112"/>
                </a:cubicBezTo>
                <a:cubicBezTo>
                  <a:pt x="20576" y="5045"/>
                  <a:pt x="20553" y="4977"/>
                  <a:pt x="20507" y="4923"/>
                </a:cubicBezTo>
                <a:cubicBezTo>
                  <a:pt x="20471" y="4883"/>
                  <a:pt x="20401" y="4897"/>
                  <a:pt x="20366" y="4856"/>
                </a:cubicBezTo>
                <a:cubicBezTo>
                  <a:pt x="20192" y="4654"/>
                  <a:pt x="20168" y="4492"/>
                  <a:pt x="20075" y="4371"/>
                </a:cubicBezTo>
                <a:cubicBezTo>
                  <a:pt x="20040" y="4330"/>
                  <a:pt x="19853" y="4195"/>
                  <a:pt x="19819" y="4155"/>
                </a:cubicBezTo>
                <a:cubicBezTo>
                  <a:pt x="19772" y="4087"/>
                  <a:pt x="19807" y="3980"/>
                  <a:pt x="19772" y="3912"/>
                </a:cubicBezTo>
                <a:cubicBezTo>
                  <a:pt x="19597" y="3656"/>
                  <a:pt x="19317" y="3629"/>
                  <a:pt x="19119" y="3440"/>
                </a:cubicBezTo>
                <a:cubicBezTo>
                  <a:pt x="19083" y="3400"/>
                  <a:pt x="19270" y="3535"/>
                  <a:pt x="19247" y="3481"/>
                </a:cubicBezTo>
                <a:cubicBezTo>
                  <a:pt x="19224" y="3413"/>
                  <a:pt x="19083" y="3427"/>
                  <a:pt x="19083" y="3359"/>
                </a:cubicBezTo>
                <a:cubicBezTo>
                  <a:pt x="19083" y="3157"/>
                  <a:pt x="19445" y="2847"/>
                  <a:pt x="19492" y="2645"/>
                </a:cubicBezTo>
                <a:cubicBezTo>
                  <a:pt x="19504" y="2618"/>
                  <a:pt x="19422" y="2645"/>
                  <a:pt x="19422" y="2618"/>
                </a:cubicBezTo>
                <a:cubicBezTo>
                  <a:pt x="19410" y="2550"/>
                  <a:pt x="19457" y="2483"/>
                  <a:pt x="19468" y="2429"/>
                </a:cubicBezTo>
                <a:cubicBezTo>
                  <a:pt x="19480" y="2362"/>
                  <a:pt x="19480" y="2281"/>
                  <a:pt x="19515" y="2240"/>
                </a:cubicBezTo>
                <a:cubicBezTo>
                  <a:pt x="19538" y="2213"/>
                  <a:pt x="19632" y="2254"/>
                  <a:pt x="19597" y="2267"/>
                </a:cubicBezTo>
                <a:close/>
                <a:moveTo>
                  <a:pt x="353" y="20698"/>
                </a:moveTo>
                <a:cubicBezTo>
                  <a:pt x="271" y="20766"/>
                  <a:pt x="143" y="20739"/>
                  <a:pt x="96" y="20833"/>
                </a:cubicBezTo>
                <a:cubicBezTo>
                  <a:pt x="38" y="20927"/>
                  <a:pt x="189" y="21103"/>
                  <a:pt x="119" y="21184"/>
                </a:cubicBezTo>
                <a:cubicBezTo>
                  <a:pt x="96" y="21225"/>
                  <a:pt x="-20" y="21225"/>
                  <a:pt x="3" y="21265"/>
                </a:cubicBezTo>
                <a:lnTo>
                  <a:pt x="458" y="21507"/>
                </a:lnTo>
                <a:cubicBezTo>
                  <a:pt x="528" y="21507"/>
                  <a:pt x="1006" y="21089"/>
                  <a:pt x="854" y="20914"/>
                </a:cubicBezTo>
                <a:cubicBezTo>
                  <a:pt x="796" y="20847"/>
                  <a:pt x="644" y="20874"/>
                  <a:pt x="621" y="20780"/>
                </a:cubicBezTo>
                <a:cubicBezTo>
                  <a:pt x="598" y="20685"/>
                  <a:pt x="784" y="20590"/>
                  <a:pt x="749" y="20496"/>
                </a:cubicBezTo>
                <a:cubicBezTo>
                  <a:pt x="703" y="20375"/>
                  <a:pt x="423" y="20536"/>
                  <a:pt x="423" y="20415"/>
                </a:cubicBezTo>
                <a:cubicBezTo>
                  <a:pt x="434" y="20321"/>
                  <a:pt x="481" y="20240"/>
                  <a:pt x="493" y="20146"/>
                </a:cubicBezTo>
                <a:cubicBezTo>
                  <a:pt x="493" y="20119"/>
                  <a:pt x="469" y="20092"/>
                  <a:pt x="458" y="20065"/>
                </a:cubicBezTo>
                <a:cubicBezTo>
                  <a:pt x="434" y="20078"/>
                  <a:pt x="399" y="20092"/>
                  <a:pt x="353" y="20105"/>
                </a:cubicBezTo>
                <a:cubicBezTo>
                  <a:pt x="318" y="20186"/>
                  <a:pt x="259" y="20240"/>
                  <a:pt x="143" y="20281"/>
                </a:cubicBezTo>
                <a:cubicBezTo>
                  <a:pt x="26" y="20752"/>
                  <a:pt x="539" y="20536"/>
                  <a:pt x="353" y="20698"/>
                </a:cubicBezTo>
                <a:close/>
                <a:moveTo>
                  <a:pt x="8575" y="9939"/>
                </a:moveTo>
                <a:cubicBezTo>
                  <a:pt x="8599" y="10195"/>
                  <a:pt x="8680" y="10398"/>
                  <a:pt x="8505" y="10600"/>
                </a:cubicBezTo>
                <a:cubicBezTo>
                  <a:pt x="8470" y="10640"/>
                  <a:pt x="8424" y="10667"/>
                  <a:pt x="8400" y="10721"/>
                </a:cubicBezTo>
                <a:cubicBezTo>
                  <a:pt x="8342" y="10869"/>
                  <a:pt x="8353" y="11045"/>
                  <a:pt x="8307" y="11206"/>
                </a:cubicBezTo>
                <a:lnTo>
                  <a:pt x="8155" y="11597"/>
                </a:lnTo>
                <a:cubicBezTo>
                  <a:pt x="7852" y="11476"/>
                  <a:pt x="8307" y="10114"/>
                  <a:pt x="8575" y="9939"/>
                </a:cubicBezTo>
                <a:close/>
                <a:moveTo>
                  <a:pt x="7840" y="9130"/>
                </a:moveTo>
                <a:cubicBezTo>
                  <a:pt x="7852" y="9643"/>
                  <a:pt x="7852" y="9939"/>
                  <a:pt x="7502" y="10276"/>
                </a:cubicBezTo>
                <a:cubicBezTo>
                  <a:pt x="7420" y="10357"/>
                  <a:pt x="7374" y="10465"/>
                  <a:pt x="7281" y="10505"/>
                </a:cubicBezTo>
                <a:cubicBezTo>
                  <a:pt x="7199" y="10519"/>
                  <a:pt x="7117" y="10411"/>
                  <a:pt x="7036" y="10424"/>
                </a:cubicBezTo>
                <a:cubicBezTo>
                  <a:pt x="6907" y="10451"/>
                  <a:pt x="6861" y="11004"/>
                  <a:pt x="6616" y="10829"/>
                </a:cubicBezTo>
                <a:cubicBezTo>
                  <a:pt x="6546" y="10789"/>
                  <a:pt x="6744" y="10559"/>
                  <a:pt x="6744" y="10384"/>
                </a:cubicBezTo>
                <a:cubicBezTo>
                  <a:pt x="6744" y="10290"/>
                  <a:pt x="6476" y="9696"/>
                  <a:pt x="6814" y="9643"/>
                </a:cubicBezTo>
                <a:cubicBezTo>
                  <a:pt x="6896" y="9629"/>
                  <a:pt x="6977" y="9764"/>
                  <a:pt x="7047" y="9710"/>
                </a:cubicBezTo>
                <a:lnTo>
                  <a:pt x="7106" y="9211"/>
                </a:lnTo>
                <a:cubicBezTo>
                  <a:pt x="7292" y="8928"/>
                  <a:pt x="7630" y="9036"/>
                  <a:pt x="7840" y="913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39" name="AutoShape 7"/>
          <p:cNvSpPr>
            <a:spLocks/>
          </p:cNvSpPr>
          <p:nvPr/>
        </p:nvSpPr>
        <p:spPr bwMode="auto">
          <a:xfrm>
            <a:off x="19761200" y="6146800"/>
            <a:ext cx="633413" cy="339725"/>
          </a:xfrm>
          <a:custGeom>
            <a:avLst/>
            <a:gdLst>
              <a:gd name="T0" fmla="*/ 10800 w 21600"/>
              <a:gd name="T1" fmla="*/ 10431 h 20863"/>
              <a:gd name="T2" fmla="*/ 10800 w 21600"/>
              <a:gd name="T3" fmla="*/ 10431 h 20863"/>
              <a:gd name="T4" fmla="*/ 10800 w 21600"/>
              <a:gd name="T5" fmla="*/ 10431 h 20863"/>
              <a:gd name="T6" fmla="*/ 10800 w 21600"/>
              <a:gd name="T7" fmla="*/ 10431 h 20863"/>
            </a:gdLst>
            <a:ahLst/>
            <a:cxnLst>
              <a:cxn ang="0">
                <a:pos x="T0" y="T1"/>
              </a:cxn>
              <a:cxn ang="0">
                <a:pos x="T2" y="T3"/>
              </a:cxn>
              <a:cxn ang="0">
                <a:pos x="T4" y="T5"/>
              </a:cxn>
              <a:cxn ang="0">
                <a:pos x="T6" y="T7"/>
              </a:cxn>
            </a:cxnLst>
            <a:rect l="0" t="0" r="r" b="b"/>
            <a:pathLst>
              <a:path w="21600" h="20863">
                <a:moveTo>
                  <a:pt x="7591" y="646"/>
                </a:moveTo>
                <a:lnTo>
                  <a:pt x="7500" y="646"/>
                </a:lnTo>
                <a:cubicBezTo>
                  <a:pt x="7411" y="1130"/>
                  <a:pt x="7229" y="1783"/>
                  <a:pt x="7139" y="2267"/>
                </a:cubicBezTo>
                <a:cubicBezTo>
                  <a:pt x="7321" y="1783"/>
                  <a:pt x="7500" y="1130"/>
                  <a:pt x="7591" y="646"/>
                </a:cubicBezTo>
                <a:close/>
                <a:moveTo>
                  <a:pt x="21600" y="16237"/>
                </a:moveTo>
                <a:cubicBezTo>
                  <a:pt x="19611" y="11367"/>
                  <a:pt x="21507" y="6981"/>
                  <a:pt x="20966" y="5354"/>
                </a:cubicBezTo>
                <a:cubicBezTo>
                  <a:pt x="20696" y="4705"/>
                  <a:pt x="20333" y="4218"/>
                  <a:pt x="19970" y="3894"/>
                </a:cubicBezTo>
                <a:cubicBezTo>
                  <a:pt x="19790" y="3730"/>
                  <a:pt x="19520" y="4218"/>
                  <a:pt x="19430" y="4056"/>
                </a:cubicBezTo>
                <a:cubicBezTo>
                  <a:pt x="19068" y="3569"/>
                  <a:pt x="19248" y="2267"/>
                  <a:pt x="18888" y="2107"/>
                </a:cubicBezTo>
                <a:cubicBezTo>
                  <a:pt x="17621" y="1458"/>
                  <a:pt x="16358" y="3569"/>
                  <a:pt x="15003" y="3569"/>
                </a:cubicBezTo>
                <a:cubicBezTo>
                  <a:pt x="14822" y="3569"/>
                  <a:pt x="15090" y="3081"/>
                  <a:pt x="14911" y="2918"/>
                </a:cubicBezTo>
                <a:cubicBezTo>
                  <a:pt x="13736" y="2267"/>
                  <a:pt x="11929" y="2432"/>
                  <a:pt x="10843" y="1294"/>
                </a:cubicBezTo>
                <a:cubicBezTo>
                  <a:pt x="10573" y="968"/>
                  <a:pt x="10573" y="158"/>
                  <a:pt x="10302" y="0"/>
                </a:cubicBezTo>
                <a:cubicBezTo>
                  <a:pt x="10032" y="0"/>
                  <a:pt x="9941" y="646"/>
                  <a:pt x="9670" y="809"/>
                </a:cubicBezTo>
                <a:cubicBezTo>
                  <a:pt x="9760" y="1294"/>
                  <a:pt x="9760" y="1617"/>
                  <a:pt x="9670" y="1943"/>
                </a:cubicBezTo>
                <a:cubicBezTo>
                  <a:pt x="9580" y="2267"/>
                  <a:pt x="9127" y="1783"/>
                  <a:pt x="9127" y="2107"/>
                </a:cubicBezTo>
                <a:cubicBezTo>
                  <a:pt x="9038" y="3894"/>
                  <a:pt x="10302" y="5518"/>
                  <a:pt x="10032" y="7306"/>
                </a:cubicBezTo>
                <a:cubicBezTo>
                  <a:pt x="9760" y="9416"/>
                  <a:pt x="4969" y="9251"/>
                  <a:pt x="5151" y="8280"/>
                </a:cubicBezTo>
                <a:cubicBezTo>
                  <a:pt x="5241" y="7956"/>
                  <a:pt x="5331" y="7630"/>
                  <a:pt x="5422" y="7306"/>
                </a:cubicBezTo>
                <a:cubicBezTo>
                  <a:pt x="4427" y="9251"/>
                  <a:pt x="3343" y="8929"/>
                  <a:pt x="1896" y="9579"/>
                </a:cubicBezTo>
                <a:cubicBezTo>
                  <a:pt x="1715" y="9579"/>
                  <a:pt x="1445" y="9416"/>
                  <a:pt x="1445" y="9739"/>
                </a:cubicBezTo>
                <a:cubicBezTo>
                  <a:pt x="1355" y="11039"/>
                  <a:pt x="1715" y="12341"/>
                  <a:pt x="1715" y="13640"/>
                </a:cubicBezTo>
                <a:cubicBezTo>
                  <a:pt x="1715" y="15914"/>
                  <a:pt x="1084" y="18350"/>
                  <a:pt x="0" y="20300"/>
                </a:cubicBezTo>
                <a:cubicBezTo>
                  <a:pt x="5151" y="21599"/>
                  <a:pt x="17349" y="20786"/>
                  <a:pt x="21507" y="16401"/>
                </a:cubicBezTo>
                <a:cubicBezTo>
                  <a:pt x="21507" y="16401"/>
                  <a:pt x="21507" y="16401"/>
                  <a:pt x="21600" y="16237"/>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40" name="AutoShape 8"/>
          <p:cNvSpPr>
            <a:spLocks/>
          </p:cNvSpPr>
          <p:nvPr/>
        </p:nvSpPr>
        <p:spPr bwMode="auto">
          <a:xfrm>
            <a:off x="17435513" y="5473700"/>
            <a:ext cx="892175" cy="1076325"/>
          </a:xfrm>
          <a:custGeom>
            <a:avLst/>
            <a:gdLst>
              <a:gd name="T0" fmla="+- 0 10618 152"/>
              <a:gd name="T1" fmla="*/ T0 w 20933"/>
              <a:gd name="T2" fmla="*/ 10775 h 21551"/>
              <a:gd name="T3" fmla="+- 0 10618 152"/>
              <a:gd name="T4" fmla="*/ T3 w 20933"/>
              <a:gd name="T5" fmla="*/ 10775 h 21551"/>
              <a:gd name="T6" fmla="+- 0 10618 152"/>
              <a:gd name="T7" fmla="*/ T6 w 20933"/>
              <a:gd name="T8" fmla="*/ 10775 h 21551"/>
              <a:gd name="T9" fmla="+- 0 10618 152"/>
              <a:gd name="T10" fmla="*/ T9 w 20933"/>
              <a:gd name="T11" fmla="*/ 10775 h 21551"/>
            </a:gdLst>
            <a:ahLst/>
            <a:cxnLst>
              <a:cxn ang="0">
                <a:pos x="T1" y="T2"/>
              </a:cxn>
              <a:cxn ang="0">
                <a:pos x="T4" y="T5"/>
              </a:cxn>
              <a:cxn ang="0">
                <a:pos x="T7" y="T8"/>
              </a:cxn>
              <a:cxn ang="0">
                <a:pos x="T10" y="T11"/>
              </a:cxn>
            </a:cxnLst>
            <a:rect l="0" t="0" r="r" b="b"/>
            <a:pathLst>
              <a:path w="20933" h="21551">
                <a:moveTo>
                  <a:pt x="17091" y="20166"/>
                </a:moveTo>
                <a:lnTo>
                  <a:pt x="16532" y="20219"/>
                </a:lnTo>
                <a:cubicBezTo>
                  <a:pt x="16967" y="20326"/>
                  <a:pt x="17340" y="20485"/>
                  <a:pt x="17651" y="20750"/>
                </a:cubicBezTo>
                <a:lnTo>
                  <a:pt x="17714" y="20750"/>
                </a:lnTo>
                <a:cubicBezTo>
                  <a:pt x="17527" y="20538"/>
                  <a:pt x="17278" y="20378"/>
                  <a:pt x="17091" y="20166"/>
                </a:cubicBezTo>
                <a:close/>
                <a:moveTo>
                  <a:pt x="11364" y="2121"/>
                </a:moveTo>
                <a:cubicBezTo>
                  <a:pt x="11550" y="2706"/>
                  <a:pt x="10927" y="5572"/>
                  <a:pt x="9808" y="5253"/>
                </a:cubicBezTo>
                <a:cubicBezTo>
                  <a:pt x="9433" y="5147"/>
                  <a:pt x="9122" y="4776"/>
                  <a:pt x="8686" y="4776"/>
                </a:cubicBezTo>
                <a:cubicBezTo>
                  <a:pt x="9122" y="4299"/>
                  <a:pt x="7255" y="4669"/>
                  <a:pt x="6756" y="4776"/>
                </a:cubicBezTo>
                <a:cubicBezTo>
                  <a:pt x="6322" y="4882"/>
                  <a:pt x="5949" y="5200"/>
                  <a:pt x="5512" y="5253"/>
                </a:cubicBezTo>
                <a:cubicBezTo>
                  <a:pt x="5325" y="5253"/>
                  <a:pt x="5201" y="4989"/>
                  <a:pt x="5014" y="4989"/>
                </a:cubicBezTo>
                <a:cubicBezTo>
                  <a:pt x="4516" y="4935"/>
                  <a:pt x="4018" y="4989"/>
                  <a:pt x="3583" y="5094"/>
                </a:cubicBezTo>
                <a:cubicBezTo>
                  <a:pt x="3395" y="5147"/>
                  <a:pt x="3520" y="5467"/>
                  <a:pt x="3333" y="5572"/>
                </a:cubicBezTo>
                <a:cubicBezTo>
                  <a:pt x="2462" y="5890"/>
                  <a:pt x="3395" y="3767"/>
                  <a:pt x="2150" y="6580"/>
                </a:cubicBezTo>
                <a:cubicBezTo>
                  <a:pt x="2088" y="6633"/>
                  <a:pt x="2462" y="8119"/>
                  <a:pt x="2400" y="8119"/>
                </a:cubicBezTo>
                <a:cubicBezTo>
                  <a:pt x="345" y="8066"/>
                  <a:pt x="1465" y="4776"/>
                  <a:pt x="2649" y="4405"/>
                </a:cubicBezTo>
                <a:cubicBezTo>
                  <a:pt x="3707" y="3980"/>
                  <a:pt x="5201" y="4458"/>
                  <a:pt x="6259" y="4086"/>
                </a:cubicBezTo>
                <a:cubicBezTo>
                  <a:pt x="7691" y="3501"/>
                  <a:pt x="7380" y="1804"/>
                  <a:pt x="8686" y="1167"/>
                </a:cubicBezTo>
                <a:cubicBezTo>
                  <a:pt x="9122" y="1007"/>
                  <a:pt x="9683" y="1114"/>
                  <a:pt x="10119" y="955"/>
                </a:cubicBezTo>
                <a:cubicBezTo>
                  <a:pt x="10554" y="742"/>
                  <a:pt x="10802" y="0"/>
                  <a:pt x="11301" y="0"/>
                </a:cubicBezTo>
                <a:cubicBezTo>
                  <a:pt x="12234" y="0"/>
                  <a:pt x="10802" y="583"/>
                  <a:pt x="10741" y="1060"/>
                </a:cubicBezTo>
                <a:cubicBezTo>
                  <a:pt x="10616" y="1804"/>
                  <a:pt x="11052" y="1326"/>
                  <a:pt x="11364" y="2121"/>
                </a:cubicBezTo>
                <a:close/>
                <a:moveTo>
                  <a:pt x="470" y="12259"/>
                </a:moveTo>
                <a:cubicBezTo>
                  <a:pt x="470" y="12365"/>
                  <a:pt x="470" y="12524"/>
                  <a:pt x="470" y="12684"/>
                </a:cubicBezTo>
                <a:cubicBezTo>
                  <a:pt x="407" y="12365"/>
                  <a:pt x="407" y="12046"/>
                  <a:pt x="470" y="12259"/>
                </a:cubicBezTo>
                <a:close/>
                <a:moveTo>
                  <a:pt x="19270" y="20008"/>
                </a:moveTo>
                <a:lnTo>
                  <a:pt x="18958" y="20008"/>
                </a:lnTo>
                <a:cubicBezTo>
                  <a:pt x="18958" y="20061"/>
                  <a:pt x="18958" y="20114"/>
                  <a:pt x="18958" y="20114"/>
                </a:cubicBezTo>
                <a:cubicBezTo>
                  <a:pt x="19021" y="20219"/>
                  <a:pt x="18958" y="20272"/>
                  <a:pt x="18958" y="20326"/>
                </a:cubicBezTo>
                <a:cubicBezTo>
                  <a:pt x="18772" y="20433"/>
                  <a:pt x="18523" y="20591"/>
                  <a:pt x="18460" y="20697"/>
                </a:cubicBezTo>
                <a:cubicBezTo>
                  <a:pt x="18274" y="20804"/>
                  <a:pt x="18148" y="20909"/>
                  <a:pt x="18086" y="21070"/>
                </a:cubicBezTo>
                <a:lnTo>
                  <a:pt x="18025" y="21123"/>
                </a:lnTo>
                <a:cubicBezTo>
                  <a:pt x="18025" y="21175"/>
                  <a:pt x="18025" y="21175"/>
                  <a:pt x="18025" y="21175"/>
                </a:cubicBezTo>
                <a:cubicBezTo>
                  <a:pt x="18025" y="21175"/>
                  <a:pt x="18025" y="21123"/>
                  <a:pt x="18025" y="21070"/>
                </a:cubicBezTo>
                <a:cubicBezTo>
                  <a:pt x="17651" y="21070"/>
                  <a:pt x="17216" y="21016"/>
                  <a:pt x="17028" y="21070"/>
                </a:cubicBezTo>
                <a:cubicBezTo>
                  <a:pt x="16717" y="21123"/>
                  <a:pt x="16467" y="21599"/>
                  <a:pt x="16094" y="21546"/>
                </a:cubicBezTo>
                <a:cubicBezTo>
                  <a:pt x="15597" y="21494"/>
                  <a:pt x="15348" y="20962"/>
                  <a:pt x="14911" y="20750"/>
                </a:cubicBezTo>
                <a:cubicBezTo>
                  <a:pt x="14602" y="20591"/>
                  <a:pt x="14164" y="20485"/>
                  <a:pt x="13916" y="20272"/>
                </a:cubicBezTo>
                <a:cubicBezTo>
                  <a:pt x="13729" y="20166"/>
                  <a:pt x="14414" y="20061"/>
                  <a:pt x="15036" y="19106"/>
                </a:cubicBezTo>
                <a:cubicBezTo>
                  <a:pt x="15910" y="19742"/>
                  <a:pt x="17216" y="19902"/>
                  <a:pt x="17962" y="20433"/>
                </a:cubicBezTo>
                <a:cubicBezTo>
                  <a:pt x="18025" y="20485"/>
                  <a:pt x="18025" y="20485"/>
                  <a:pt x="18025" y="20485"/>
                </a:cubicBezTo>
                <a:cubicBezTo>
                  <a:pt x="17651" y="20008"/>
                  <a:pt x="16842" y="19635"/>
                  <a:pt x="17153" y="19211"/>
                </a:cubicBezTo>
                <a:cubicBezTo>
                  <a:pt x="17278" y="18999"/>
                  <a:pt x="17651" y="19106"/>
                  <a:pt x="17838" y="19052"/>
                </a:cubicBezTo>
                <a:cubicBezTo>
                  <a:pt x="18274" y="19423"/>
                  <a:pt x="19208" y="19370"/>
                  <a:pt x="19332" y="19848"/>
                </a:cubicBezTo>
                <a:cubicBezTo>
                  <a:pt x="19332" y="19902"/>
                  <a:pt x="19332" y="19955"/>
                  <a:pt x="19270" y="20008"/>
                </a:cubicBezTo>
                <a:close/>
                <a:moveTo>
                  <a:pt x="18025" y="11515"/>
                </a:moveTo>
                <a:lnTo>
                  <a:pt x="18025" y="11569"/>
                </a:lnTo>
                <a:cubicBezTo>
                  <a:pt x="18709" y="11144"/>
                  <a:pt x="19767" y="11356"/>
                  <a:pt x="20514" y="11463"/>
                </a:cubicBezTo>
                <a:cubicBezTo>
                  <a:pt x="20577" y="11569"/>
                  <a:pt x="20826" y="11675"/>
                  <a:pt x="20826" y="11781"/>
                </a:cubicBezTo>
                <a:cubicBezTo>
                  <a:pt x="20763" y="12100"/>
                  <a:pt x="20390" y="12311"/>
                  <a:pt x="20390" y="12629"/>
                </a:cubicBezTo>
                <a:cubicBezTo>
                  <a:pt x="20452" y="13692"/>
                  <a:pt x="21447" y="13639"/>
                  <a:pt x="20577" y="14489"/>
                </a:cubicBezTo>
                <a:cubicBezTo>
                  <a:pt x="20265" y="14753"/>
                  <a:pt x="19767" y="14806"/>
                  <a:pt x="19456" y="15072"/>
                </a:cubicBezTo>
                <a:cubicBezTo>
                  <a:pt x="18897" y="15602"/>
                  <a:pt x="19581" y="15762"/>
                  <a:pt x="20140" y="16028"/>
                </a:cubicBezTo>
                <a:lnTo>
                  <a:pt x="20514" y="16823"/>
                </a:lnTo>
                <a:cubicBezTo>
                  <a:pt x="20017" y="17194"/>
                  <a:pt x="18646" y="17035"/>
                  <a:pt x="18646" y="17512"/>
                </a:cubicBezTo>
                <a:cubicBezTo>
                  <a:pt x="18709" y="18097"/>
                  <a:pt x="20202" y="18894"/>
                  <a:pt x="18646" y="18946"/>
                </a:cubicBezTo>
                <a:cubicBezTo>
                  <a:pt x="18086" y="18946"/>
                  <a:pt x="17651" y="18628"/>
                  <a:pt x="17153" y="18416"/>
                </a:cubicBezTo>
                <a:cubicBezTo>
                  <a:pt x="17402" y="18521"/>
                  <a:pt x="17714" y="18628"/>
                  <a:pt x="17776" y="18468"/>
                </a:cubicBezTo>
                <a:cubicBezTo>
                  <a:pt x="17900" y="18097"/>
                  <a:pt x="17527" y="17672"/>
                  <a:pt x="17216" y="17354"/>
                </a:cubicBezTo>
                <a:cubicBezTo>
                  <a:pt x="17091" y="17248"/>
                  <a:pt x="17028" y="17567"/>
                  <a:pt x="16904" y="17567"/>
                </a:cubicBezTo>
                <a:cubicBezTo>
                  <a:pt x="16532" y="17567"/>
                  <a:pt x="16282" y="17302"/>
                  <a:pt x="15970" y="17248"/>
                </a:cubicBezTo>
                <a:cubicBezTo>
                  <a:pt x="15660" y="17194"/>
                  <a:pt x="15348" y="17406"/>
                  <a:pt x="15098" y="17354"/>
                </a:cubicBezTo>
                <a:cubicBezTo>
                  <a:pt x="14973" y="17354"/>
                  <a:pt x="14973" y="17194"/>
                  <a:pt x="14973" y="17142"/>
                </a:cubicBezTo>
                <a:cubicBezTo>
                  <a:pt x="15348" y="16292"/>
                  <a:pt x="14227" y="16504"/>
                  <a:pt x="14290" y="16346"/>
                </a:cubicBezTo>
                <a:cubicBezTo>
                  <a:pt x="14352" y="16133"/>
                  <a:pt x="14787" y="16186"/>
                  <a:pt x="14851" y="15973"/>
                </a:cubicBezTo>
                <a:cubicBezTo>
                  <a:pt x="15098" y="14435"/>
                  <a:pt x="14537" y="14859"/>
                  <a:pt x="13543" y="14117"/>
                </a:cubicBezTo>
                <a:cubicBezTo>
                  <a:pt x="13418" y="14011"/>
                  <a:pt x="13044" y="13744"/>
                  <a:pt x="13232" y="13692"/>
                </a:cubicBezTo>
                <a:cubicBezTo>
                  <a:pt x="13792" y="13428"/>
                  <a:pt x="16779" y="14011"/>
                  <a:pt x="16219" y="12365"/>
                </a:cubicBezTo>
                <a:cubicBezTo>
                  <a:pt x="16094" y="11993"/>
                  <a:pt x="15410" y="12100"/>
                  <a:pt x="15036" y="11888"/>
                </a:cubicBezTo>
                <a:cubicBezTo>
                  <a:pt x="14851" y="11781"/>
                  <a:pt x="15472" y="11993"/>
                  <a:pt x="15660" y="11993"/>
                </a:cubicBezTo>
                <a:cubicBezTo>
                  <a:pt x="15970" y="12100"/>
                  <a:pt x="16282" y="12205"/>
                  <a:pt x="16593" y="12205"/>
                </a:cubicBezTo>
                <a:cubicBezTo>
                  <a:pt x="17527" y="12205"/>
                  <a:pt x="19021" y="11835"/>
                  <a:pt x="18709" y="13480"/>
                </a:cubicBezTo>
                <a:cubicBezTo>
                  <a:pt x="18646" y="13744"/>
                  <a:pt x="17838" y="14011"/>
                  <a:pt x="18086" y="14169"/>
                </a:cubicBezTo>
                <a:cubicBezTo>
                  <a:pt x="19208" y="14965"/>
                  <a:pt x="18834" y="13056"/>
                  <a:pt x="18646" y="12311"/>
                </a:cubicBezTo>
                <a:cubicBezTo>
                  <a:pt x="18585" y="11993"/>
                  <a:pt x="17589" y="12259"/>
                  <a:pt x="17714" y="11993"/>
                </a:cubicBezTo>
                <a:cubicBezTo>
                  <a:pt x="17776" y="11781"/>
                  <a:pt x="17900" y="11675"/>
                  <a:pt x="18025" y="11515"/>
                </a:cubicBezTo>
                <a:close/>
                <a:moveTo>
                  <a:pt x="6259" y="20326"/>
                </a:moveTo>
                <a:cubicBezTo>
                  <a:pt x="5450" y="20219"/>
                  <a:pt x="4640" y="19848"/>
                  <a:pt x="3831" y="19742"/>
                </a:cubicBezTo>
                <a:cubicBezTo>
                  <a:pt x="3645" y="19742"/>
                  <a:pt x="2899" y="19796"/>
                  <a:pt x="2462" y="19742"/>
                </a:cubicBezTo>
                <a:cubicBezTo>
                  <a:pt x="2462" y="19478"/>
                  <a:pt x="2462" y="19211"/>
                  <a:pt x="2525" y="18894"/>
                </a:cubicBezTo>
                <a:cubicBezTo>
                  <a:pt x="2525" y="18628"/>
                  <a:pt x="3023" y="18309"/>
                  <a:pt x="2773" y="18097"/>
                </a:cubicBezTo>
                <a:cubicBezTo>
                  <a:pt x="3023" y="17832"/>
                  <a:pt x="2649" y="17406"/>
                  <a:pt x="2649" y="17035"/>
                </a:cubicBezTo>
                <a:cubicBezTo>
                  <a:pt x="2586" y="16717"/>
                  <a:pt x="2773" y="16239"/>
                  <a:pt x="2525" y="16028"/>
                </a:cubicBezTo>
                <a:cubicBezTo>
                  <a:pt x="1963" y="15550"/>
                  <a:pt x="345" y="16080"/>
                  <a:pt x="34" y="15125"/>
                </a:cubicBezTo>
                <a:cubicBezTo>
                  <a:pt x="-152" y="14540"/>
                  <a:pt x="470" y="13905"/>
                  <a:pt x="470" y="13214"/>
                </a:cubicBezTo>
                <a:cubicBezTo>
                  <a:pt x="532" y="13266"/>
                  <a:pt x="532" y="13266"/>
                  <a:pt x="595" y="13320"/>
                </a:cubicBezTo>
                <a:cubicBezTo>
                  <a:pt x="2525" y="14117"/>
                  <a:pt x="1279" y="11993"/>
                  <a:pt x="1154" y="11781"/>
                </a:cubicBezTo>
                <a:cubicBezTo>
                  <a:pt x="1093" y="11675"/>
                  <a:pt x="1030" y="11356"/>
                  <a:pt x="844" y="11463"/>
                </a:cubicBezTo>
                <a:cubicBezTo>
                  <a:pt x="532" y="11569"/>
                  <a:pt x="595" y="12046"/>
                  <a:pt x="283" y="12100"/>
                </a:cubicBezTo>
                <a:cubicBezTo>
                  <a:pt x="97" y="12153"/>
                  <a:pt x="220" y="11728"/>
                  <a:pt x="220" y="11569"/>
                </a:cubicBezTo>
                <a:cubicBezTo>
                  <a:pt x="283" y="11197"/>
                  <a:pt x="407" y="10827"/>
                  <a:pt x="407" y="10507"/>
                </a:cubicBezTo>
                <a:cubicBezTo>
                  <a:pt x="470" y="10189"/>
                  <a:pt x="97" y="9764"/>
                  <a:pt x="407" y="9553"/>
                </a:cubicBezTo>
                <a:cubicBezTo>
                  <a:pt x="470" y="9500"/>
                  <a:pt x="595" y="9446"/>
                  <a:pt x="656" y="9446"/>
                </a:cubicBezTo>
                <a:cubicBezTo>
                  <a:pt x="595" y="9340"/>
                  <a:pt x="345" y="7057"/>
                  <a:pt x="968" y="7270"/>
                </a:cubicBezTo>
                <a:cubicBezTo>
                  <a:pt x="1341" y="7376"/>
                  <a:pt x="1093" y="7907"/>
                  <a:pt x="1279" y="8172"/>
                </a:cubicBezTo>
                <a:cubicBezTo>
                  <a:pt x="1840" y="9286"/>
                  <a:pt x="4516" y="6528"/>
                  <a:pt x="4640" y="6528"/>
                </a:cubicBezTo>
                <a:cubicBezTo>
                  <a:pt x="5949" y="6208"/>
                  <a:pt x="4453" y="7960"/>
                  <a:pt x="4703" y="8225"/>
                </a:cubicBezTo>
                <a:cubicBezTo>
                  <a:pt x="4952" y="8491"/>
                  <a:pt x="5450" y="8279"/>
                  <a:pt x="5886" y="8172"/>
                </a:cubicBezTo>
                <a:cubicBezTo>
                  <a:pt x="5760" y="8172"/>
                  <a:pt x="5698" y="8172"/>
                  <a:pt x="5698" y="8119"/>
                </a:cubicBezTo>
                <a:cubicBezTo>
                  <a:pt x="5574" y="7854"/>
                  <a:pt x="5949" y="7535"/>
                  <a:pt x="5760" y="7323"/>
                </a:cubicBezTo>
                <a:cubicBezTo>
                  <a:pt x="5636" y="7164"/>
                  <a:pt x="5263" y="7589"/>
                  <a:pt x="5201" y="7429"/>
                </a:cubicBezTo>
                <a:cubicBezTo>
                  <a:pt x="5076" y="7216"/>
                  <a:pt x="5574" y="7057"/>
                  <a:pt x="5574" y="6846"/>
                </a:cubicBezTo>
                <a:cubicBezTo>
                  <a:pt x="5636" y="5625"/>
                  <a:pt x="4703" y="5997"/>
                  <a:pt x="5886" y="5253"/>
                </a:cubicBezTo>
                <a:cubicBezTo>
                  <a:pt x="6135" y="5041"/>
                  <a:pt x="6880" y="5094"/>
                  <a:pt x="7069" y="5253"/>
                </a:cubicBezTo>
                <a:cubicBezTo>
                  <a:pt x="7193" y="5360"/>
                  <a:pt x="6880" y="5838"/>
                  <a:pt x="7007" y="5731"/>
                </a:cubicBezTo>
                <a:cubicBezTo>
                  <a:pt x="7255" y="5519"/>
                  <a:pt x="7255" y="5041"/>
                  <a:pt x="7566" y="4882"/>
                </a:cubicBezTo>
                <a:cubicBezTo>
                  <a:pt x="7814" y="4776"/>
                  <a:pt x="8126" y="4882"/>
                  <a:pt x="8376" y="4882"/>
                </a:cubicBezTo>
                <a:cubicBezTo>
                  <a:pt x="8686" y="5041"/>
                  <a:pt x="10181" y="5360"/>
                  <a:pt x="10181" y="5360"/>
                </a:cubicBezTo>
                <a:cubicBezTo>
                  <a:pt x="10306" y="5678"/>
                  <a:pt x="9995" y="6050"/>
                  <a:pt x="10057" y="6421"/>
                </a:cubicBezTo>
                <a:cubicBezTo>
                  <a:pt x="10057" y="6687"/>
                  <a:pt x="10554" y="6952"/>
                  <a:pt x="10429" y="7216"/>
                </a:cubicBezTo>
                <a:cubicBezTo>
                  <a:pt x="10306" y="7429"/>
                  <a:pt x="9869" y="7164"/>
                  <a:pt x="9620" y="7216"/>
                </a:cubicBezTo>
                <a:cubicBezTo>
                  <a:pt x="9247" y="7270"/>
                  <a:pt x="10554" y="7482"/>
                  <a:pt x="10491" y="7801"/>
                </a:cubicBezTo>
                <a:cubicBezTo>
                  <a:pt x="10491" y="7907"/>
                  <a:pt x="10429" y="7960"/>
                  <a:pt x="10429" y="8013"/>
                </a:cubicBezTo>
                <a:cubicBezTo>
                  <a:pt x="10678" y="8066"/>
                  <a:pt x="10741" y="8544"/>
                  <a:pt x="11052" y="8596"/>
                </a:cubicBezTo>
                <a:cubicBezTo>
                  <a:pt x="11800" y="8756"/>
                  <a:pt x="12920" y="7854"/>
                  <a:pt x="13232" y="9074"/>
                </a:cubicBezTo>
                <a:cubicBezTo>
                  <a:pt x="13355" y="9500"/>
                  <a:pt x="11861" y="11622"/>
                  <a:pt x="11364" y="11411"/>
                </a:cubicBezTo>
                <a:cubicBezTo>
                  <a:pt x="10927" y="11197"/>
                  <a:pt x="10927" y="10507"/>
                  <a:pt x="10429" y="10348"/>
                </a:cubicBezTo>
                <a:cubicBezTo>
                  <a:pt x="9869" y="10189"/>
                  <a:pt x="9932" y="12950"/>
                  <a:pt x="9744" y="13266"/>
                </a:cubicBezTo>
                <a:cubicBezTo>
                  <a:pt x="9433" y="13956"/>
                  <a:pt x="8936" y="14435"/>
                  <a:pt x="8065" y="14435"/>
                </a:cubicBezTo>
                <a:cubicBezTo>
                  <a:pt x="7628" y="14435"/>
                  <a:pt x="6694" y="13851"/>
                  <a:pt x="6820" y="14223"/>
                </a:cubicBezTo>
                <a:cubicBezTo>
                  <a:pt x="7007" y="14594"/>
                  <a:pt x="8003" y="14382"/>
                  <a:pt x="8251" y="14806"/>
                </a:cubicBezTo>
                <a:cubicBezTo>
                  <a:pt x="8251" y="14859"/>
                  <a:pt x="8251" y="14912"/>
                  <a:pt x="8251" y="14965"/>
                </a:cubicBezTo>
                <a:cubicBezTo>
                  <a:pt x="8313" y="14965"/>
                  <a:pt x="8376" y="14965"/>
                  <a:pt x="8376" y="14965"/>
                </a:cubicBezTo>
                <a:cubicBezTo>
                  <a:pt x="8625" y="14965"/>
                  <a:pt x="8686" y="15337"/>
                  <a:pt x="8874" y="15337"/>
                </a:cubicBezTo>
                <a:cubicBezTo>
                  <a:pt x="9558" y="15177"/>
                  <a:pt x="10057" y="14275"/>
                  <a:pt x="10741" y="14489"/>
                </a:cubicBezTo>
                <a:cubicBezTo>
                  <a:pt x="11115" y="14647"/>
                  <a:pt x="11301" y="15125"/>
                  <a:pt x="11738" y="15177"/>
                </a:cubicBezTo>
                <a:cubicBezTo>
                  <a:pt x="11986" y="15231"/>
                  <a:pt x="12048" y="14859"/>
                  <a:pt x="12234" y="14753"/>
                </a:cubicBezTo>
                <a:cubicBezTo>
                  <a:pt x="13355" y="16717"/>
                  <a:pt x="11986" y="15018"/>
                  <a:pt x="12422" y="15762"/>
                </a:cubicBezTo>
                <a:cubicBezTo>
                  <a:pt x="12796" y="16346"/>
                  <a:pt x="13978" y="18787"/>
                  <a:pt x="11674" y="18575"/>
                </a:cubicBezTo>
                <a:cubicBezTo>
                  <a:pt x="11177" y="18521"/>
                  <a:pt x="10741" y="18202"/>
                  <a:pt x="10243" y="18097"/>
                </a:cubicBezTo>
                <a:cubicBezTo>
                  <a:pt x="10057" y="18097"/>
                  <a:pt x="9744" y="18362"/>
                  <a:pt x="9558" y="18202"/>
                </a:cubicBezTo>
                <a:cubicBezTo>
                  <a:pt x="9061" y="17884"/>
                  <a:pt x="10802" y="17991"/>
                  <a:pt x="9808" y="17512"/>
                </a:cubicBezTo>
                <a:cubicBezTo>
                  <a:pt x="8251" y="16823"/>
                  <a:pt x="9808" y="17991"/>
                  <a:pt x="9309" y="17991"/>
                </a:cubicBezTo>
                <a:cubicBezTo>
                  <a:pt x="9122" y="17991"/>
                  <a:pt x="8686" y="16399"/>
                  <a:pt x="8686" y="16346"/>
                </a:cubicBezTo>
                <a:cubicBezTo>
                  <a:pt x="8501" y="15973"/>
                  <a:pt x="7878" y="15762"/>
                  <a:pt x="7753" y="15337"/>
                </a:cubicBezTo>
                <a:cubicBezTo>
                  <a:pt x="7753" y="15283"/>
                  <a:pt x="7814" y="15283"/>
                  <a:pt x="7814" y="15283"/>
                </a:cubicBezTo>
                <a:cubicBezTo>
                  <a:pt x="7317" y="15444"/>
                  <a:pt x="6633" y="15550"/>
                  <a:pt x="6633" y="15602"/>
                </a:cubicBezTo>
                <a:cubicBezTo>
                  <a:pt x="6508" y="15815"/>
                  <a:pt x="7255" y="15602"/>
                  <a:pt x="7380" y="15815"/>
                </a:cubicBezTo>
                <a:cubicBezTo>
                  <a:pt x="7442" y="15973"/>
                  <a:pt x="7007" y="16028"/>
                  <a:pt x="7007" y="16186"/>
                </a:cubicBezTo>
                <a:cubicBezTo>
                  <a:pt x="6944" y="16504"/>
                  <a:pt x="7007" y="16823"/>
                  <a:pt x="7130" y="17089"/>
                </a:cubicBezTo>
                <a:cubicBezTo>
                  <a:pt x="7193" y="17248"/>
                  <a:pt x="7503" y="17302"/>
                  <a:pt x="7503" y="17460"/>
                </a:cubicBezTo>
                <a:cubicBezTo>
                  <a:pt x="7503" y="18044"/>
                  <a:pt x="6383" y="18257"/>
                  <a:pt x="6259" y="18840"/>
                </a:cubicBezTo>
                <a:cubicBezTo>
                  <a:pt x="6259" y="19052"/>
                  <a:pt x="6756" y="18733"/>
                  <a:pt x="6944" y="18840"/>
                </a:cubicBezTo>
                <a:cubicBezTo>
                  <a:pt x="7380" y="19106"/>
                  <a:pt x="7753" y="19478"/>
                  <a:pt x="7814" y="19902"/>
                </a:cubicBezTo>
                <a:cubicBezTo>
                  <a:pt x="7878" y="20114"/>
                  <a:pt x="7380" y="19478"/>
                  <a:pt x="7130" y="19530"/>
                </a:cubicBezTo>
                <a:cubicBezTo>
                  <a:pt x="6820" y="19635"/>
                  <a:pt x="6446" y="20114"/>
                  <a:pt x="6259" y="20326"/>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41" name="AutoShape 9"/>
          <p:cNvSpPr>
            <a:spLocks/>
          </p:cNvSpPr>
          <p:nvPr/>
        </p:nvSpPr>
        <p:spPr bwMode="auto">
          <a:xfrm>
            <a:off x="19951700" y="9334500"/>
            <a:ext cx="1163638" cy="1512888"/>
          </a:xfrm>
          <a:custGeom>
            <a:avLst/>
            <a:gdLst>
              <a:gd name="T0" fmla="*/ 10680 w 21360"/>
              <a:gd name="T1" fmla="+- 0 10949 298"/>
              <a:gd name="T2" fmla="*/ 10949 h 21302"/>
              <a:gd name="T3" fmla="*/ 10680 w 21360"/>
              <a:gd name="T4" fmla="+- 0 10949 298"/>
              <a:gd name="T5" fmla="*/ 10949 h 21302"/>
              <a:gd name="T6" fmla="*/ 10680 w 21360"/>
              <a:gd name="T7" fmla="+- 0 10949 298"/>
              <a:gd name="T8" fmla="*/ 10949 h 21302"/>
              <a:gd name="T9" fmla="*/ 10680 w 21360"/>
              <a:gd name="T10" fmla="+- 0 10949 298"/>
              <a:gd name="T11" fmla="*/ 10949 h 21302"/>
            </a:gdLst>
            <a:ahLst/>
            <a:cxnLst>
              <a:cxn ang="0">
                <a:pos x="T0" y="T2"/>
              </a:cxn>
              <a:cxn ang="0">
                <a:pos x="T3" y="T5"/>
              </a:cxn>
              <a:cxn ang="0">
                <a:pos x="T6" y="T8"/>
              </a:cxn>
              <a:cxn ang="0">
                <a:pos x="T9" y="T11"/>
              </a:cxn>
            </a:cxnLst>
            <a:rect l="0" t="0" r="r" b="b"/>
            <a:pathLst>
              <a:path w="21360" h="21302">
                <a:moveTo>
                  <a:pt x="778" y="18503"/>
                </a:moveTo>
                <a:lnTo>
                  <a:pt x="875" y="18765"/>
                </a:lnTo>
                <a:cubicBezTo>
                  <a:pt x="1118" y="18802"/>
                  <a:pt x="1314" y="18802"/>
                  <a:pt x="1556" y="18802"/>
                </a:cubicBezTo>
                <a:cubicBezTo>
                  <a:pt x="1459" y="18876"/>
                  <a:pt x="1362" y="18951"/>
                  <a:pt x="1410" y="19063"/>
                </a:cubicBezTo>
                <a:cubicBezTo>
                  <a:pt x="2092" y="20219"/>
                  <a:pt x="2237" y="19138"/>
                  <a:pt x="2918" y="19398"/>
                </a:cubicBezTo>
                <a:cubicBezTo>
                  <a:pt x="3064" y="19473"/>
                  <a:pt x="2967" y="19622"/>
                  <a:pt x="3064" y="19734"/>
                </a:cubicBezTo>
                <a:cubicBezTo>
                  <a:pt x="3454" y="20107"/>
                  <a:pt x="3940" y="20034"/>
                  <a:pt x="4280" y="20443"/>
                </a:cubicBezTo>
                <a:cubicBezTo>
                  <a:pt x="4377" y="20555"/>
                  <a:pt x="4280" y="20779"/>
                  <a:pt x="4428" y="20890"/>
                </a:cubicBezTo>
                <a:cubicBezTo>
                  <a:pt x="4719" y="21115"/>
                  <a:pt x="5107" y="21226"/>
                  <a:pt x="5497" y="21301"/>
                </a:cubicBezTo>
                <a:cubicBezTo>
                  <a:pt x="5497" y="21040"/>
                  <a:pt x="5497" y="20779"/>
                  <a:pt x="5497" y="20555"/>
                </a:cubicBezTo>
                <a:cubicBezTo>
                  <a:pt x="5497" y="20405"/>
                  <a:pt x="5593" y="20219"/>
                  <a:pt x="5497" y="20069"/>
                </a:cubicBezTo>
                <a:cubicBezTo>
                  <a:pt x="5351" y="19884"/>
                  <a:pt x="4913" y="19884"/>
                  <a:pt x="4864" y="19697"/>
                </a:cubicBezTo>
                <a:cubicBezTo>
                  <a:pt x="4864" y="19659"/>
                  <a:pt x="6421" y="17235"/>
                  <a:pt x="6568" y="17160"/>
                </a:cubicBezTo>
                <a:cubicBezTo>
                  <a:pt x="6616" y="17123"/>
                  <a:pt x="6860" y="18056"/>
                  <a:pt x="7248" y="18093"/>
                </a:cubicBezTo>
                <a:lnTo>
                  <a:pt x="8269" y="17459"/>
                </a:lnTo>
                <a:cubicBezTo>
                  <a:pt x="9048" y="17459"/>
                  <a:pt x="8902" y="18391"/>
                  <a:pt x="9341" y="18578"/>
                </a:cubicBezTo>
                <a:cubicBezTo>
                  <a:pt x="9485" y="18652"/>
                  <a:pt x="9632" y="18503"/>
                  <a:pt x="9827" y="18541"/>
                </a:cubicBezTo>
                <a:cubicBezTo>
                  <a:pt x="10166" y="18615"/>
                  <a:pt x="10508" y="18727"/>
                  <a:pt x="10751" y="18915"/>
                </a:cubicBezTo>
                <a:cubicBezTo>
                  <a:pt x="11384" y="19435"/>
                  <a:pt x="11286" y="19996"/>
                  <a:pt x="11139" y="20517"/>
                </a:cubicBezTo>
                <a:lnTo>
                  <a:pt x="11286" y="20517"/>
                </a:lnTo>
                <a:cubicBezTo>
                  <a:pt x="12502" y="21152"/>
                  <a:pt x="11822" y="19585"/>
                  <a:pt x="12113" y="19435"/>
                </a:cubicBezTo>
                <a:cubicBezTo>
                  <a:pt x="12649" y="19175"/>
                  <a:pt x="13231" y="18839"/>
                  <a:pt x="13865" y="18802"/>
                </a:cubicBezTo>
                <a:cubicBezTo>
                  <a:pt x="14107" y="18802"/>
                  <a:pt x="14545" y="19249"/>
                  <a:pt x="14642" y="19063"/>
                </a:cubicBezTo>
                <a:cubicBezTo>
                  <a:pt x="14692" y="18915"/>
                  <a:pt x="14496" y="18765"/>
                  <a:pt x="14545" y="18652"/>
                </a:cubicBezTo>
                <a:cubicBezTo>
                  <a:pt x="14984" y="17832"/>
                  <a:pt x="15372" y="18317"/>
                  <a:pt x="16297" y="18205"/>
                </a:cubicBezTo>
                <a:cubicBezTo>
                  <a:pt x="17074" y="18093"/>
                  <a:pt x="18632" y="16936"/>
                  <a:pt x="19264" y="17385"/>
                </a:cubicBezTo>
                <a:cubicBezTo>
                  <a:pt x="19507" y="17049"/>
                  <a:pt x="20188" y="16973"/>
                  <a:pt x="19946" y="16489"/>
                </a:cubicBezTo>
                <a:cubicBezTo>
                  <a:pt x="19897" y="16339"/>
                  <a:pt x="19751" y="16265"/>
                  <a:pt x="19604" y="16190"/>
                </a:cubicBezTo>
                <a:cubicBezTo>
                  <a:pt x="19507" y="16153"/>
                  <a:pt x="19362" y="16227"/>
                  <a:pt x="19313" y="16153"/>
                </a:cubicBezTo>
                <a:cubicBezTo>
                  <a:pt x="19264" y="15966"/>
                  <a:pt x="19313" y="15780"/>
                  <a:pt x="19313" y="15593"/>
                </a:cubicBezTo>
                <a:cubicBezTo>
                  <a:pt x="19264" y="15369"/>
                  <a:pt x="18924" y="15145"/>
                  <a:pt x="19069" y="14959"/>
                </a:cubicBezTo>
                <a:cubicBezTo>
                  <a:pt x="20481" y="13168"/>
                  <a:pt x="18874" y="15369"/>
                  <a:pt x="20431" y="14436"/>
                </a:cubicBezTo>
                <a:cubicBezTo>
                  <a:pt x="20578" y="14325"/>
                  <a:pt x="21599" y="12945"/>
                  <a:pt x="21307" y="12721"/>
                </a:cubicBezTo>
                <a:cubicBezTo>
                  <a:pt x="20918" y="12497"/>
                  <a:pt x="19069" y="11825"/>
                  <a:pt x="18972" y="11751"/>
                </a:cubicBezTo>
                <a:cubicBezTo>
                  <a:pt x="18388" y="11377"/>
                  <a:pt x="17464" y="9811"/>
                  <a:pt x="17804" y="9252"/>
                </a:cubicBezTo>
                <a:cubicBezTo>
                  <a:pt x="17951" y="8991"/>
                  <a:pt x="18486" y="9028"/>
                  <a:pt x="18680" y="8804"/>
                </a:cubicBezTo>
                <a:cubicBezTo>
                  <a:pt x="18827" y="8543"/>
                  <a:pt x="18632" y="8207"/>
                  <a:pt x="18779" y="7946"/>
                </a:cubicBezTo>
                <a:cubicBezTo>
                  <a:pt x="18097" y="7722"/>
                  <a:pt x="17464" y="7387"/>
                  <a:pt x="17561" y="6864"/>
                </a:cubicBezTo>
                <a:cubicBezTo>
                  <a:pt x="17611" y="6528"/>
                  <a:pt x="19215" y="6491"/>
                  <a:pt x="18728" y="6304"/>
                </a:cubicBezTo>
                <a:cubicBezTo>
                  <a:pt x="13573" y="4327"/>
                  <a:pt x="18194" y="6118"/>
                  <a:pt x="16102" y="7051"/>
                </a:cubicBezTo>
                <a:cubicBezTo>
                  <a:pt x="15761" y="7237"/>
                  <a:pt x="15567" y="6565"/>
                  <a:pt x="15227" y="6454"/>
                </a:cubicBezTo>
                <a:cubicBezTo>
                  <a:pt x="14984" y="6342"/>
                  <a:pt x="14642" y="6454"/>
                  <a:pt x="14399" y="6454"/>
                </a:cubicBezTo>
                <a:cubicBezTo>
                  <a:pt x="14107" y="6454"/>
                  <a:pt x="13816" y="6565"/>
                  <a:pt x="13524" y="6491"/>
                </a:cubicBezTo>
                <a:cubicBezTo>
                  <a:pt x="13378" y="6416"/>
                  <a:pt x="13474" y="6230"/>
                  <a:pt x="13378" y="6081"/>
                </a:cubicBezTo>
                <a:cubicBezTo>
                  <a:pt x="13134" y="5708"/>
                  <a:pt x="11042" y="6304"/>
                  <a:pt x="12211" y="5671"/>
                </a:cubicBezTo>
                <a:cubicBezTo>
                  <a:pt x="12502" y="5522"/>
                  <a:pt x="13231" y="5372"/>
                  <a:pt x="12988" y="5223"/>
                </a:cubicBezTo>
                <a:cubicBezTo>
                  <a:pt x="12745" y="5111"/>
                  <a:pt x="12259" y="5223"/>
                  <a:pt x="12162" y="4999"/>
                </a:cubicBezTo>
                <a:cubicBezTo>
                  <a:pt x="12113" y="4775"/>
                  <a:pt x="13134" y="4365"/>
                  <a:pt x="12454" y="4066"/>
                </a:cubicBezTo>
                <a:cubicBezTo>
                  <a:pt x="11528" y="3655"/>
                  <a:pt x="9681" y="3841"/>
                  <a:pt x="9048" y="2984"/>
                </a:cubicBezTo>
                <a:cubicBezTo>
                  <a:pt x="8902" y="2797"/>
                  <a:pt x="8902" y="1903"/>
                  <a:pt x="8902" y="1680"/>
                </a:cubicBezTo>
                <a:cubicBezTo>
                  <a:pt x="8902" y="1642"/>
                  <a:pt x="8902" y="1604"/>
                  <a:pt x="8902" y="1604"/>
                </a:cubicBezTo>
                <a:cubicBezTo>
                  <a:pt x="8756" y="1642"/>
                  <a:pt x="8659" y="1865"/>
                  <a:pt x="8561" y="1791"/>
                </a:cubicBezTo>
                <a:cubicBezTo>
                  <a:pt x="8221" y="1642"/>
                  <a:pt x="8173" y="1231"/>
                  <a:pt x="7881" y="1045"/>
                </a:cubicBezTo>
                <a:cubicBezTo>
                  <a:pt x="7589" y="895"/>
                  <a:pt x="7151" y="933"/>
                  <a:pt x="6860" y="745"/>
                </a:cubicBezTo>
                <a:cubicBezTo>
                  <a:pt x="6568" y="633"/>
                  <a:pt x="6421" y="373"/>
                  <a:pt x="6226" y="187"/>
                </a:cubicBezTo>
                <a:cubicBezTo>
                  <a:pt x="5983" y="187"/>
                  <a:pt x="5740" y="0"/>
                  <a:pt x="5497" y="0"/>
                </a:cubicBezTo>
                <a:cubicBezTo>
                  <a:pt x="5449" y="0"/>
                  <a:pt x="4182" y="298"/>
                  <a:pt x="4135" y="298"/>
                </a:cubicBezTo>
                <a:cubicBezTo>
                  <a:pt x="3308" y="262"/>
                  <a:pt x="4232" y="-298"/>
                  <a:pt x="3113" y="262"/>
                </a:cubicBezTo>
                <a:cubicBezTo>
                  <a:pt x="2578" y="484"/>
                  <a:pt x="2285" y="933"/>
                  <a:pt x="1847" y="1194"/>
                </a:cubicBezTo>
                <a:cubicBezTo>
                  <a:pt x="1410" y="1456"/>
                  <a:pt x="1216" y="1082"/>
                  <a:pt x="1070" y="1194"/>
                </a:cubicBezTo>
                <a:cubicBezTo>
                  <a:pt x="437" y="1753"/>
                  <a:pt x="389" y="1791"/>
                  <a:pt x="0" y="1791"/>
                </a:cubicBezTo>
                <a:lnTo>
                  <a:pt x="49" y="1865"/>
                </a:lnTo>
                <a:cubicBezTo>
                  <a:pt x="875" y="2760"/>
                  <a:pt x="680" y="2537"/>
                  <a:pt x="583" y="3395"/>
                </a:cubicBezTo>
                <a:cubicBezTo>
                  <a:pt x="583" y="3768"/>
                  <a:pt x="1605" y="3284"/>
                  <a:pt x="1556" y="3693"/>
                </a:cubicBezTo>
                <a:cubicBezTo>
                  <a:pt x="1508" y="3917"/>
                  <a:pt x="1167" y="3693"/>
                  <a:pt x="1118" y="3730"/>
                </a:cubicBezTo>
                <a:cubicBezTo>
                  <a:pt x="826" y="3955"/>
                  <a:pt x="1314" y="4029"/>
                  <a:pt x="1314" y="4141"/>
                </a:cubicBezTo>
                <a:cubicBezTo>
                  <a:pt x="1314" y="4178"/>
                  <a:pt x="875" y="4253"/>
                  <a:pt x="1118" y="4402"/>
                </a:cubicBezTo>
                <a:cubicBezTo>
                  <a:pt x="1703" y="4700"/>
                  <a:pt x="2481" y="4850"/>
                  <a:pt x="3161" y="4850"/>
                </a:cubicBezTo>
                <a:cubicBezTo>
                  <a:pt x="3308" y="5596"/>
                  <a:pt x="2092" y="4850"/>
                  <a:pt x="2042" y="5037"/>
                </a:cubicBezTo>
                <a:cubicBezTo>
                  <a:pt x="1994" y="5522"/>
                  <a:pt x="1556" y="5708"/>
                  <a:pt x="2188" y="6192"/>
                </a:cubicBezTo>
                <a:cubicBezTo>
                  <a:pt x="2237" y="6230"/>
                  <a:pt x="2237" y="6304"/>
                  <a:pt x="2188" y="6342"/>
                </a:cubicBezTo>
                <a:cubicBezTo>
                  <a:pt x="1994" y="6603"/>
                  <a:pt x="1265" y="6416"/>
                  <a:pt x="1703" y="6789"/>
                </a:cubicBezTo>
                <a:cubicBezTo>
                  <a:pt x="2188" y="6678"/>
                  <a:pt x="2578" y="6454"/>
                  <a:pt x="3113" y="6491"/>
                </a:cubicBezTo>
                <a:cubicBezTo>
                  <a:pt x="3113" y="7646"/>
                  <a:pt x="2237" y="8430"/>
                  <a:pt x="2384" y="9140"/>
                </a:cubicBezTo>
                <a:cubicBezTo>
                  <a:pt x="2578" y="9961"/>
                  <a:pt x="2870" y="9364"/>
                  <a:pt x="3551" y="9588"/>
                </a:cubicBezTo>
                <a:cubicBezTo>
                  <a:pt x="3988" y="9736"/>
                  <a:pt x="4086" y="10222"/>
                  <a:pt x="4525" y="10409"/>
                </a:cubicBezTo>
                <a:cubicBezTo>
                  <a:pt x="4670" y="10445"/>
                  <a:pt x="5156" y="10334"/>
                  <a:pt x="5010" y="10669"/>
                </a:cubicBezTo>
                <a:cubicBezTo>
                  <a:pt x="4719" y="11415"/>
                  <a:pt x="3503" y="10595"/>
                  <a:pt x="3259" y="10856"/>
                </a:cubicBezTo>
                <a:cubicBezTo>
                  <a:pt x="3259" y="10856"/>
                  <a:pt x="5449" y="12422"/>
                  <a:pt x="4864" y="12908"/>
                </a:cubicBezTo>
                <a:cubicBezTo>
                  <a:pt x="4670" y="13019"/>
                  <a:pt x="4428" y="12646"/>
                  <a:pt x="4182" y="12721"/>
                </a:cubicBezTo>
                <a:cubicBezTo>
                  <a:pt x="3891" y="12795"/>
                  <a:pt x="3843" y="13094"/>
                  <a:pt x="3648" y="13281"/>
                </a:cubicBezTo>
                <a:cubicBezTo>
                  <a:pt x="3308" y="13355"/>
                  <a:pt x="2384" y="13206"/>
                  <a:pt x="2335" y="13393"/>
                </a:cubicBezTo>
                <a:cubicBezTo>
                  <a:pt x="2188" y="13915"/>
                  <a:pt x="3406" y="13952"/>
                  <a:pt x="3016" y="14735"/>
                </a:cubicBezTo>
                <a:lnTo>
                  <a:pt x="2821" y="14735"/>
                </a:lnTo>
                <a:lnTo>
                  <a:pt x="3016" y="14735"/>
                </a:lnTo>
                <a:cubicBezTo>
                  <a:pt x="2529" y="14474"/>
                  <a:pt x="2529" y="14214"/>
                  <a:pt x="1994" y="14250"/>
                </a:cubicBezTo>
                <a:lnTo>
                  <a:pt x="2092" y="14138"/>
                </a:lnTo>
                <a:lnTo>
                  <a:pt x="1994" y="14250"/>
                </a:lnTo>
                <a:cubicBezTo>
                  <a:pt x="1314" y="14847"/>
                  <a:pt x="1410" y="15706"/>
                  <a:pt x="1216" y="15892"/>
                </a:cubicBezTo>
                <a:cubicBezTo>
                  <a:pt x="826" y="16265"/>
                  <a:pt x="680" y="15706"/>
                  <a:pt x="535" y="16265"/>
                </a:cubicBezTo>
                <a:cubicBezTo>
                  <a:pt x="292" y="17347"/>
                  <a:pt x="1800" y="17385"/>
                  <a:pt x="680" y="18205"/>
                </a:cubicBezTo>
                <a:lnTo>
                  <a:pt x="923" y="18167"/>
                </a:lnTo>
                <a:lnTo>
                  <a:pt x="972" y="18765"/>
                </a:lnTo>
                <a:cubicBezTo>
                  <a:pt x="923" y="18652"/>
                  <a:pt x="875" y="18578"/>
                  <a:pt x="778" y="18503"/>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42" name="AutoShape 10"/>
          <p:cNvSpPr>
            <a:spLocks/>
          </p:cNvSpPr>
          <p:nvPr/>
        </p:nvSpPr>
        <p:spPr bwMode="auto">
          <a:xfrm>
            <a:off x="18669000" y="9307513"/>
            <a:ext cx="1455738" cy="1355725"/>
          </a:xfrm>
          <a:custGeom>
            <a:avLst/>
            <a:gdLst>
              <a:gd name="T0" fmla="*/ 10746 w 21492"/>
              <a:gd name="T1" fmla="+- 0 10817 35"/>
              <a:gd name="T2" fmla="*/ 10817 h 21565"/>
              <a:gd name="T3" fmla="*/ 10746 w 21492"/>
              <a:gd name="T4" fmla="+- 0 10817 35"/>
              <a:gd name="T5" fmla="*/ 10817 h 21565"/>
              <a:gd name="T6" fmla="*/ 10746 w 21492"/>
              <a:gd name="T7" fmla="+- 0 10817 35"/>
              <a:gd name="T8" fmla="*/ 10817 h 21565"/>
              <a:gd name="T9" fmla="*/ 10746 w 21492"/>
              <a:gd name="T10" fmla="+- 0 10817 35"/>
              <a:gd name="T11" fmla="*/ 10817 h 21565"/>
            </a:gdLst>
            <a:ahLst/>
            <a:cxnLst>
              <a:cxn ang="0">
                <a:pos x="T0" y="T2"/>
              </a:cxn>
              <a:cxn ang="0">
                <a:pos x="T3" y="T5"/>
              </a:cxn>
              <a:cxn ang="0">
                <a:pos x="T6" y="T8"/>
              </a:cxn>
              <a:cxn ang="0">
                <a:pos x="T9" y="T11"/>
              </a:cxn>
            </a:cxnLst>
            <a:rect l="0" t="0" r="r" b="b"/>
            <a:pathLst>
              <a:path w="21492" h="21565">
                <a:moveTo>
                  <a:pt x="20308" y="8021"/>
                </a:moveTo>
                <a:cubicBezTo>
                  <a:pt x="19956" y="7600"/>
                  <a:pt x="20543" y="7810"/>
                  <a:pt x="20699" y="7516"/>
                </a:cubicBezTo>
                <a:cubicBezTo>
                  <a:pt x="20738" y="7473"/>
                  <a:pt x="20738" y="7389"/>
                  <a:pt x="20699" y="7346"/>
                </a:cubicBezTo>
                <a:cubicBezTo>
                  <a:pt x="20191" y="6799"/>
                  <a:pt x="20543" y="6588"/>
                  <a:pt x="20581" y="6039"/>
                </a:cubicBezTo>
                <a:cubicBezTo>
                  <a:pt x="20622" y="5828"/>
                  <a:pt x="21600" y="6672"/>
                  <a:pt x="21482" y="5828"/>
                </a:cubicBezTo>
                <a:cubicBezTo>
                  <a:pt x="20934" y="5828"/>
                  <a:pt x="20308" y="5659"/>
                  <a:pt x="19838" y="5322"/>
                </a:cubicBezTo>
                <a:cubicBezTo>
                  <a:pt x="19643" y="5153"/>
                  <a:pt x="19995" y="5068"/>
                  <a:pt x="19995" y="5027"/>
                </a:cubicBezTo>
                <a:cubicBezTo>
                  <a:pt x="19995" y="4900"/>
                  <a:pt x="19603" y="4816"/>
                  <a:pt x="19838" y="4561"/>
                </a:cubicBezTo>
                <a:cubicBezTo>
                  <a:pt x="19877" y="4519"/>
                  <a:pt x="20151" y="4773"/>
                  <a:pt x="20191" y="4519"/>
                </a:cubicBezTo>
                <a:cubicBezTo>
                  <a:pt x="20230" y="4057"/>
                  <a:pt x="19408" y="4604"/>
                  <a:pt x="19408" y="4182"/>
                </a:cubicBezTo>
                <a:cubicBezTo>
                  <a:pt x="19486" y="3213"/>
                  <a:pt x="19643" y="3465"/>
                  <a:pt x="18978" y="2452"/>
                </a:cubicBezTo>
                <a:lnTo>
                  <a:pt x="18938" y="2369"/>
                </a:lnTo>
                <a:cubicBezTo>
                  <a:pt x="18821" y="2411"/>
                  <a:pt x="18703" y="2411"/>
                  <a:pt x="18508" y="2452"/>
                </a:cubicBezTo>
                <a:cubicBezTo>
                  <a:pt x="18234" y="2452"/>
                  <a:pt x="18195" y="3044"/>
                  <a:pt x="18117" y="3128"/>
                </a:cubicBezTo>
                <a:cubicBezTo>
                  <a:pt x="17608" y="3592"/>
                  <a:pt x="15886" y="3634"/>
                  <a:pt x="15338" y="3382"/>
                </a:cubicBezTo>
                <a:cubicBezTo>
                  <a:pt x="15065" y="3254"/>
                  <a:pt x="14829" y="2958"/>
                  <a:pt x="14516" y="2833"/>
                </a:cubicBezTo>
                <a:cubicBezTo>
                  <a:pt x="14438" y="2790"/>
                  <a:pt x="13655" y="2917"/>
                  <a:pt x="13538" y="2747"/>
                </a:cubicBezTo>
                <a:cubicBezTo>
                  <a:pt x="12716" y="1609"/>
                  <a:pt x="11817" y="1104"/>
                  <a:pt x="10760" y="174"/>
                </a:cubicBezTo>
                <a:cubicBezTo>
                  <a:pt x="10486" y="133"/>
                  <a:pt x="9821" y="-35"/>
                  <a:pt x="9665" y="6"/>
                </a:cubicBezTo>
                <a:cubicBezTo>
                  <a:pt x="9234" y="90"/>
                  <a:pt x="9821" y="680"/>
                  <a:pt x="9586" y="849"/>
                </a:cubicBezTo>
                <a:cubicBezTo>
                  <a:pt x="9390" y="934"/>
                  <a:pt x="9156" y="808"/>
                  <a:pt x="8960" y="891"/>
                </a:cubicBezTo>
                <a:cubicBezTo>
                  <a:pt x="8882" y="934"/>
                  <a:pt x="9000" y="1104"/>
                  <a:pt x="8921" y="1186"/>
                </a:cubicBezTo>
                <a:cubicBezTo>
                  <a:pt x="8530" y="1526"/>
                  <a:pt x="7904" y="1567"/>
                  <a:pt x="7512" y="1947"/>
                </a:cubicBezTo>
                <a:cubicBezTo>
                  <a:pt x="7043" y="2411"/>
                  <a:pt x="8373" y="3592"/>
                  <a:pt x="7786" y="4057"/>
                </a:cubicBezTo>
                <a:cubicBezTo>
                  <a:pt x="6417" y="5110"/>
                  <a:pt x="7277" y="3338"/>
                  <a:pt x="6377" y="4730"/>
                </a:cubicBezTo>
                <a:cubicBezTo>
                  <a:pt x="6260" y="4900"/>
                  <a:pt x="6729" y="4941"/>
                  <a:pt x="6807" y="5153"/>
                </a:cubicBezTo>
                <a:cubicBezTo>
                  <a:pt x="6886" y="5322"/>
                  <a:pt x="6417" y="5280"/>
                  <a:pt x="6417" y="5449"/>
                </a:cubicBezTo>
                <a:cubicBezTo>
                  <a:pt x="6417" y="5532"/>
                  <a:pt x="6807" y="6082"/>
                  <a:pt x="6651" y="6292"/>
                </a:cubicBezTo>
                <a:cubicBezTo>
                  <a:pt x="6221" y="6757"/>
                  <a:pt x="5595" y="6039"/>
                  <a:pt x="5204" y="6039"/>
                </a:cubicBezTo>
                <a:cubicBezTo>
                  <a:pt x="4617" y="6039"/>
                  <a:pt x="5751" y="6630"/>
                  <a:pt x="4773" y="6334"/>
                </a:cubicBezTo>
                <a:cubicBezTo>
                  <a:pt x="4499" y="6250"/>
                  <a:pt x="4147" y="5786"/>
                  <a:pt x="4029" y="5532"/>
                </a:cubicBezTo>
                <a:cubicBezTo>
                  <a:pt x="3951" y="5449"/>
                  <a:pt x="3873" y="5195"/>
                  <a:pt x="3834" y="5280"/>
                </a:cubicBezTo>
                <a:cubicBezTo>
                  <a:pt x="3677" y="5532"/>
                  <a:pt x="3717" y="5828"/>
                  <a:pt x="3560" y="6039"/>
                </a:cubicBezTo>
                <a:cubicBezTo>
                  <a:pt x="3052" y="6757"/>
                  <a:pt x="2347" y="6039"/>
                  <a:pt x="1760" y="6250"/>
                </a:cubicBezTo>
                <a:cubicBezTo>
                  <a:pt x="1682" y="6292"/>
                  <a:pt x="1838" y="6460"/>
                  <a:pt x="1760" y="6546"/>
                </a:cubicBezTo>
                <a:cubicBezTo>
                  <a:pt x="1408" y="6757"/>
                  <a:pt x="704" y="6714"/>
                  <a:pt x="351" y="6546"/>
                </a:cubicBezTo>
                <a:cubicBezTo>
                  <a:pt x="234" y="6546"/>
                  <a:pt x="0" y="6418"/>
                  <a:pt x="0" y="6546"/>
                </a:cubicBezTo>
                <a:cubicBezTo>
                  <a:pt x="38" y="6883"/>
                  <a:pt x="313" y="7135"/>
                  <a:pt x="430" y="7431"/>
                </a:cubicBezTo>
                <a:cubicBezTo>
                  <a:pt x="430" y="7473"/>
                  <a:pt x="351" y="7473"/>
                  <a:pt x="351" y="7516"/>
                </a:cubicBezTo>
                <a:cubicBezTo>
                  <a:pt x="390" y="7852"/>
                  <a:pt x="313" y="8191"/>
                  <a:pt x="469" y="8444"/>
                </a:cubicBezTo>
                <a:cubicBezTo>
                  <a:pt x="469" y="8444"/>
                  <a:pt x="508" y="8444"/>
                  <a:pt x="508" y="8485"/>
                </a:cubicBezTo>
                <a:cubicBezTo>
                  <a:pt x="351" y="8738"/>
                  <a:pt x="978" y="9034"/>
                  <a:pt x="1173" y="9330"/>
                </a:cubicBezTo>
                <a:cubicBezTo>
                  <a:pt x="1329" y="9583"/>
                  <a:pt x="1447" y="10680"/>
                  <a:pt x="1643" y="10427"/>
                </a:cubicBezTo>
                <a:cubicBezTo>
                  <a:pt x="1838" y="10174"/>
                  <a:pt x="1956" y="9836"/>
                  <a:pt x="2112" y="9541"/>
                </a:cubicBezTo>
                <a:cubicBezTo>
                  <a:pt x="2151" y="9414"/>
                  <a:pt x="2191" y="9288"/>
                  <a:pt x="2191" y="9159"/>
                </a:cubicBezTo>
                <a:cubicBezTo>
                  <a:pt x="2191" y="9118"/>
                  <a:pt x="2073" y="9159"/>
                  <a:pt x="2073" y="9076"/>
                </a:cubicBezTo>
                <a:cubicBezTo>
                  <a:pt x="2073" y="9034"/>
                  <a:pt x="2073" y="8866"/>
                  <a:pt x="2112" y="8907"/>
                </a:cubicBezTo>
                <a:cubicBezTo>
                  <a:pt x="2268" y="8951"/>
                  <a:pt x="2151" y="9920"/>
                  <a:pt x="2581" y="9159"/>
                </a:cubicBezTo>
                <a:cubicBezTo>
                  <a:pt x="2660" y="8951"/>
                  <a:pt x="2660" y="8738"/>
                  <a:pt x="2660" y="8485"/>
                </a:cubicBezTo>
                <a:cubicBezTo>
                  <a:pt x="2660" y="8444"/>
                  <a:pt x="2581" y="8402"/>
                  <a:pt x="2581" y="8317"/>
                </a:cubicBezTo>
                <a:cubicBezTo>
                  <a:pt x="2581" y="8274"/>
                  <a:pt x="2621" y="8444"/>
                  <a:pt x="2660" y="8402"/>
                </a:cubicBezTo>
                <a:cubicBezTo>
                  <a:pt x="2973" y="8233"/>
                  <a:pt x="2700" y="7093"/>
                  <a:pt x="3052" y="7093"/>
                </a:cubicBezTo>
                <a:cubicBezTo>
                  <a:pt x="4186" y="7010"/>
                  <a:pt x="3794" y="7473"/>
                  <a:pt x="4499" y="8106"/>
                </a:cubicBezTo>
                <a:cubicBezTo>
                  <a:pt x="4656" y="8233"/>
                  <a:pt x="4891" y="8106"/>
                  <a:pt x="5008" y="8233"/>
                </a:cubicBezTo>
                <a:cubicBezTo>
                  <a:pt x="5712" y="9118"/>
                  <a:pt x="4891" y="10215"/>
                  <a:pt x="5673" y="11144"/>
                </a:cubicBezTo>
                <a:cubicBezTo>
                  <a:pt x="5908" y="11439"/>
                  <a:pt x="6573" y="12071"/>
                  <a:pt x="6847" y="12282"/>
                </a:cubicBezTo>
                <a:cubicBezTo>
                  <a:pt x="7160" y="12452"/>
                  <a:pt x="8139" y="12620"/>
                  <a:pt x="7826" y="12747"/>
                </a:cubicBezTo>
                <a:cubicBezTo>
                  <a:pt x="7277" y="12915"/>
                  <a:pt x="6260" y="11692"/>
                  <a:pt x="6417" y="13295"/>
                </a:cubicBezTo>
                <a:cubicBezTo>
                  <a:pt x="6456" y="13801"/>
                  <a:pt x="8256" y="14898"/>
                  <a:pt x="8530" y="15278"/>
                </a:cubicBezTo>
                <a:cubicBezTo>
                  <a:pt x="8608" y="15319"/>
                  <a:pt x="8216" y="15151"/>
                  <a:pt x="8295" y="15194"/>
                </a:cubicBezTo>
                <a:cubicBezTo>
                  <a:pt x="8530" y="15363"/>
                  <a:pt x="9547" y="15700"/>
                  <a:pt x="9586" y="15827"/>
                </a:cubicBezTo>
                <a:cubicBezTo>
                  <a:pt x="9665" y="16122"/>
                  <a:pt x="9430" y="16585"/>
                  <a:pt x="9626" y="16838"/>
                </a:cubicBezTo>
                <a:cubicBezTo>
                  <a:pt x="9743" y="16924"/>
                  <a:pt x="10955" y="16459"/>
                  <a:pt x="10995" y="16418"/>
                </a:cubicBezTo>
                <a:cubicBezTo>
                  <a:pt x="11777" y="16248"/>
                  <a:pt x="11229" y="16585"/>
                  <a:pt x="12208" y="16966"/>
                </a:cubicBezTo>
                <a:cubicBezTo>
                  <a:pt x="12521" y="17050"/>
                  <a:pt x="12874" y="16924"/>
                  <a:pt x="13186" y="17050"/>
                </a:cubicBezTo>
                <a:cubicBezTo>
                  <a:pt x="13617" y="17219"/>
                  <a:pt x="13891" y="17978"/>
                  <a:pt x="14360" y="18231"/>
                </a:cubicBezTo>
                <a:cubicBezTo>
                  <a:pt x="14909" y="18484"/>
                  <a:pt x="15260" y="18653"/>
                  <a:pt x="15417" y="18821"/>
                </a:cubicBezTo>
                <a:cubicBezTo>
                  <a:pt x="15417" y="18864"/>
                  <a:pt x="15456" y="18821"/>
                  <a:pt x="15456" y="18821"/>
                </a:cubicBezTo>
                <a:cubicBezTo>
                  <a:pt x="15534" y="18821"/>
                  <a:pt x="15612" y="18738"/>
                  <a:pt x="15651" y="18821"/>
                </a:cubicBezTo>
                <a:cubicBezTo>
                  <a:pt x="15808" y="19118"/>
                  <a:pt x="15573" y="19118"/>
                  <a:pt x="15925" y="19285"/>
                </a:cubicBezTo>
                <a:cubicBezTo>
                  <a:pt x="16042" y="19159"/>
                  <a:pt x="16317" y="19159"/>
                  <a:pt x="16356" y="18990"/>
                </a:cubicBezTo>
                <a:cubicBezTo>
                  <a:pt x="16552" y="18443"/>
                  <a:pt x="14869" y="17725"/>
                  <a:pt x="14712" y="17430"/>
                </a:cubicBezTo>
                <a:cubicBezTo>
                  <a:pt x="14556" y="17177"/>
                  <a:pt x="14674" y="16798"/>
                  <a:pt x="14516" y="16543"/>
                </a:cubicBezTo>
                <a:cubicBezTo>
                  <a:pt x="14399" y="16375"/>
                  <a:pt x="14125" y="16418"/>
                  <a:pt x="13930" y="16333"/>
                </a:cubicBezTo>
                <a:cubicBezTo>
                  <a:pt x="13107" y="15784"/>
                  <a:pt x="12599" y="14772"/>
                  <a:pt x="11895" y="14139"/>
                </a:cubicBezTo>
                <a:cubicBezTo>
                  <a:pt x="11660" y="13970"/>
                  <a:pt x="10760" y="13000"/>
                  <a:pt x="10486" y="12874"/>
                </a:cubicBezTo>
                <a:cubicBezTo>
                  <a:pt x="10369" y="12831"/>
                  <a:pt x="10212" y="13000"/>
                  <a:pt x="10095" y="12915"/>
                </a:cubicBezTo>
                <a:cubicBezTo>
                  <a:pt x="9898" y="12704"/>
                  <a:pt x="10369" y="12240"/>
                  <a:pt x="10369" y="12156"/>
                </a:cubicBezTo>
                <a:cubicBezTo>
                  <a:pt x="10329" y="11987"/>
                  <a:pt x="10134" y="11946"/>
                  <a:pt x="10017" y="11818"/>
                </a:cubicBezTo>
                <a:cubicBezTo>
                  <a:pt x="9703" y="11312"/>
                  <a:pt x="9586" y="10637"/>
                  <a:pt x="9156" y="10215"/>
                </a:cubicBezTo>
                <a:cubicBezTo>
                  <a:pt x="9000" y="10005"/>
                  <a:pt x="8686" y="10005"/>
                  <a:pt x="8490" y="9836"/>
                </a:cubicBezTo>
                <a:cubicBezTo>
                  <a:pt x="8334" y="9709"/>
                  <a:pt x="8060" y="7262"/>
                  <a:pt x="8921" y="7304"/>
                </a:cubicBezTo>
                <a:cubicBezTo>
                  <a:pt x="9312" y="7304"/>
                  <a:pt x="9978" y="8233"/>
                  <a:pt x="10329" y="8444"/>
                </a:cubicBezTo>
                <a:lnTo>
                  <a:pt x="10642" y="8402"/>
                </a:lnTo>
                <a:lnTo>
                  <a:pt x="10329" y="8444"/>
                </a:lnTo>
                <a:cubicBezTo>
                  <a:pt x="10799" y="8402"/>
                  <a:pt x="10721" y="7600"/>
                  <a:pt x="10955" y="7262"/>
                </a:cubicBezTo>
                <a:cubicBezTo>
                  <a:pt x="11386" y="6714"/>
                  <a:pt x="11582" y="7389"/>
                  <a:pt x="12129" y="7262"/>
                </a:cubicBezTo>
                <a:cubicBezTo>
                  <a:pt x="12286" y="7220"/>
                  <a:pt x="12286" y="6883"/>
                  <a:pt x="12443" y="6757"/>
                </a:cubicBezTo>
                <a:cubicBezTo>
                  <a:pt x="12443" y="6757"/>
                  <a:pt x="12677" y="7010"/>
                  <a:pt x="13343" y="7220"/>
                </a:cubicBezTo>
                <a:cubicBezTo>
                  <a:pt x="13421" y="7262"/>
                  <a:pt x="13538" y="7304"/>
                  <a:pt x="13655" y="7262"/>
                </a:cubicBezTo>
                <a:cubicBezTo>
                  <a:pt x="13734" y="7262"/>
                  <a:pt x="13773" y="7093"/>
                  <a:pt x="13891" y="7052"/>
                </a:cubicBezTo>
                <a:cubicBezTo>
                  <a:pt x="14360" y="7010"/>
                  <a:pt x="15417" y="7642"/>
                  <a:pt x="15925" y="7558"/>
                </a:cubicBezTo>
                <a:cubicBezTo>
                  <a:pt x="16042" y="7558"/>
                  <a:pt x="16160" y="7473"/>
                  <a:pt x="16199" y="7346"/>
                </a:cubicBezTo>
                <a:cubicBezTo>
                  <a:pt x="16317" y="7262"/>
                  <a:pt x="16278" y="6967"/>
                  <a:pt x="16434" y="6967"/>
                </a:cubicBezTo>
                <a:cubicBezTo>
                  <a:pt x="16668" y="6924"/>
                  <a:pt x="16825" y="7179"/>
                  <a:pt x="17060" y="7262"/>
                </a:cubicBezTo>
                <a:cubicBezTo>
                  <a:pt x="17490" y="7389"/>
                  <a:pt x="16981" y="7052"/>
                  <a:pt x="17216" y="6967"/>
                </a:cubicBezTo>
                <a:cubicBezTo>
                  <a:pt x="17451" y="6883"/>
                  <a:pt x="17725" y="6883"/>
                  <a:pt x="17960" y="6967"/>
                </a:cubicBezTo>
                <a:cubicBezTo>
                  <a:pt x="18117" y="7010"/>
                  <a:pt x="18234" y="7262"/>
                  <a:pt x="18390" y="7262"/>
                </a:cubicBezTo>
                <a:cubicBezTo>
                  <a:pt x="18508" y="7262"/>
                  <a:pt x="18390" y="6967"/>
                  <a:pt x="18508" y="6967"/>
                </a:cubicBezTo>
                <a:cubicBezTo>
                  <a:pt x="19408" y="7010"/>
                  <a:pt x="19173" y="8064"/>
                  <a:pt x="19603" y="8149"/>
                </a:cubicBezTo>
                <a:cubicBezTo>
                  <a:pt x="19877" y="8191"/>
                  <a:pt x="20112" y="8106"/>
                  <a:pt x="20308" y="8021"/>
                </a:cubicBezTo>
                <a:close/>
                <a:moveTo>
                  <a:pt x="19643" y="21564"/>
                </a:moveTo>
                <a:lnTo>
                  <a:pt x="19565" y="21269"/>
                </a:lnTo>
                <a:cubicBezTo>
                  <a:pt x="19094" y="20424"/>
                  <a:pt x="18351" y="20721"/>
                  <a:pt x="17490" y="20004"/>
                </a:cubicBezTo>
                <a:cubicBezTo>
                  <a:pt x="17255" y="19791"/>
                  <a:pt x="17177" y="19413"/>
                  <a:pt x="16903" y="19328"/>
                </a:cubicBezTo>
                <a:cubicBezTo>
                  <a:pt x="16747" y="19244"/>
                  <a:pt x="16552" y="19413"/>
                  <a:pt x="16356" y="19455"/>
                </a:cubicBezTo>
                <a:cubicBezTo>
                  <a:pt x="16434" y="19497"/>
                  <a:pt x="16473" y="19497"/>
                  <a:pt x="16552" y="19538"/>
                </a:cubicBezTo>
                <a:cubicBezTo>
                  <a:pt x="16630" y="19581"/>
                  <a:pt x="16708" y="19834"/>
                  <a:pt x="16630" y="19834"/>
                </a:cubicBezTo>
                <a:cubicBezTo>
                  <a:pt x="16003" y="19791"/>
                  <a:pt x="15534" y="19159"/>
                  <a:pt x="14909" y="19075"/>
                </a:cubicBezTo>
                <a:cubicBezTo>
                  <a:pt x="14634" y="19033"/>
                  <a:pt x="14321" y="19118"/>
                  <a:pt x="14046" y="19075"/>
                </a:cubicBezTo>
                <a:cubicBezTo>
                  <a:pt x="13968" y="19075"/>
                  <a:pt x="13891" y="18864"/>
                  <a:pt x="13851" y="18906"/>
                </a:cubicBezTo>
                <a:cubicBezTo>
                  <a:pt x="13773" y="18949"/>
                  <a:pt x="13773" y="19159"/>
                  <a:pt x="13851" y="19202"/>
                </a:cubicBezTo>
                <a:cubicBezTo>
                  <a:pt x="14086" y="19285"/>
                  <a:pt x="14360" y="19159"/>
                  <a:pt x="14634" y="19202"/>
                </a:cubicBezTo>
                <a:cubicBezTo>
                  <a:pt x="14869" y="19244"/>
                  <a:pt x="15142" y="19328"/>
                  <a:pt x="15417" y="19497"/>
                </a:cubicBezTo>
                <a:cubicBezTo>
                  <a:pt x="15495" y="19538"/>
                  <a:pt x="15456" y="19708"/>
                  <a:pt x="15534" y="19750"/>
                </a:cubicBezTo>
                <a:cubicBezTo>
                  <a:pt x="16864" y="20510"/>
                  <a:pt x="16591" y="19285"/>
                  <a:pt x="18664" y="21058"/>
                </a:cubicBezTo>
                <a:cubicBezTo>
                  <a:pt x="18938" y="21269"/>
                  <a:pt x="19290" y="21479"/>
                  <a:pt x="19643" y="21564"/>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43" name="AutoShape 11"/>
          <p:cNvSpPr>
            <a:spLocks/>
          </p:cNvSpPr>
          <p:nvPr/>
        </p:nvSpPr>
        <p:spPr bwMode="auto">
          <a:xfrm>
            <a:off x="20561300" y="10552113"/>
            <a:ext cx="652463" cy="569912"/>
          </a:xfrm>
          <a:custGeom>
            <a:avLst/>
            <a:gdLst>
              <a:gd name="T0" fmla="+- 0 10808 81"/>
              <a:gd name="T1" fmla="*/ T0 w 21455"/>
              <a:gd name="T2" fmla="+- 0 11148 885"/>
              <a:gd name="T3" fmla="*/ 11148 h 20527"/>
              <a:gd name="T4" fmla="+- 0 10808 81"/>
              <a:gd name="T5" fmla="*/ T4 w 21455"/>
              <a:gd name="T6" fmla="+- 0 11148 885"/>
              <a:gd name="T7" fmla="*/ 11148 h 20527"/>
              <a:gd name="T8" fmla="+- 0 10808 81"/>
              <a:gd name="T9" fmla="*/ T8 w 21455"/>
              <a:gd name="T10" fmla="+- 0 11148 885"/>
              <a:gd name="T11" fmla="*/ 11148 h 20527"/>
              <a:gd name="T12" fmla="+- 0 10808 81"/>
              <a:gd name="T13" fmla="*/ T12 w 21455"/>
              <a:gd name="T14" fmla="+- 0 11148 885"/>
              <a:gd name="T15" fmla="*/ 11148 h 20527"/>
            </a:gdLst>
            <a:ahLst/>
            <a:cxnLst>
              <a:cxn ang="0">
                <a:pos x="T1" y="T3"/>
              </a:cxn>
              <a:cxn ang="0">
                <a:pos x="T5" y="T7"/>
              </a:cxn>
              <a:cxn ang="0">
                <a:pos x="T9" y="T11"/>
              </a:cxn>
              <a:cxn ang="0">
                <a:pos x="T13" y="T15"/>
              </a:cxn>
            </a:cxnLst>
            <a:rect l="0" t="0" r="r" b="b"/>
            <a:pathLst>
              <a:path w="21455" h="20527">
                <a:moveTo>
                  <a:pt x="266" y="8289"/>
                </a:moveTo>
                <a:cubicBezTo>
                  <a:pt x="180" y="8959"/>
                  <a:pt x="92" y="9629"/>
                  <a:pt x="180" y="10202"/>
                </a:cubicBezTo>
                <a:cubicBezTo>
                  <a:pt x="180" y="10870"/>
                  <a:pt x="703" y="11444"/>
                  <a:pt x="703" y="12017"/>
                </a:cubicBezTo>
                <a:cubicBezTo>
                  <a:pt x="616" y="12305"/>
                  <a:pt x="-81" y="12305"/>
                  <a:pt x="7" y="12592"/>
                </a:cubicBezTo>
                <a:cubicBezTo>
                  <a:pt x="92" y="13261"/>
                  <a:pt x="962" y="13640"/>
                  <a:pt x="1050" y="14313"/>
                </a:cubicBezTo>
                <a:cubicBezTo>
                  <a:pt x="1139" y="14598"/>
                  <a:pt x="616" y="14884"/>
                  <a:pt x="616" y="15170"/>
                </a:cubicBezTo>
                <a:cubicBezTo>
                  <a:pt x="616" y="15937"/>
                  <a:pt x="2879" y="19473"/>
                  <a:pt x="3229" y="20047"/>
                </a:cubicBezTo>
                <a:cubicBezTo>
                  <a:pt x="3751" y="20714"/>
                  <a:pt x="4099" y="19665"/>
                  <a:pt x="4361" y="19665"/>
                </a:cubicBezTo>
                <a:cubicBezTo>
                  <a:pt x="4710" y="19568"/>
                  <a:pt x="5145" y="19665"/>
                  <a:pt x="5405" y="19855"/>
                </a:cubicBezTo>
                <a:cubicBezTo>
                  <a:pt x="5580" y="20047"/>
                  <a:pt x="5319" y="20523"/>
                  <a:pt x="5494" y="20523"/>
                </a:cubicBezTo>
                <a:cubicBezTo>
                  <a:pt x="6102" y="20619"/>
                  <a:pt x="11937" y="18612"/>
                  <a:pt x="12287" y="18323"/>
                </a:cubicBezTo>
                <a:cubicBezTo>
                  <a:pt x="13244" y="17177"/>
                  <a:pt x="12549" y="15648"/>
                  <a:pt x="14289" y="14981"/>
                </a:cubicBezTo>
                <a:cubicBezTo>
                  <a:pt x="14900" y="14694"/>
                  <a:pt x="18294" y="15170"/>
                  <a:pt x="18819" y="14789"/>
                </a:cubicBezTo>
                <a:cubicBezTo>
                  <a:pt x="19079" y="14598"/>
                  <a:pt x="18993" y="14024"/>
                  <a:pt x="19254" y="13833"/>
                </a:cubicBezTo>
                <a:cubicBezTo>
                  <a:pt x="19428" y="13737"/>
                  <a:pt x="19690" y="14313"/>
                  <a:pt x="19863" y="14117"/>
                </a:cubicBezTo>
                <a:cubicBezTo>
                  <a:pt x="20910" y="13356"/>
                  <a:pt x="18558" y="11826"/>
                  <a:pt x="21345" y="11253"/>
                </a:cubicBezTo>
                <a:lnTo>
                  <a:pt x="21431" y="11253"/>
                </a:lnTo>
                <a:cubicBezTo>
                  <a:pt x="21518" y="10010"/>
                  <a:pt x="21345" y="5995"/>
                  <a:pt x="21258" y="5995"/>
                </a:cubicBezTo>
                <a:cubicBezTo>
                  <a:pt x="20648" y="5328"/>
                  <a:pt x="19690" y="3416"/>
                  <a:pt x="18905" y="2842"/>
                </a:cubicBezTo>
                <a:cubicBezTo>
                  <a:pt x="18470" y="2556"/>
                  <a:pt x="17861" y="2842"/>
                  <a:pt x="17338" y="2556"/>
                </a:cubicBezTo>
                <a:cubicBezTo>
                  <a:pt x="17165" y="2459"/>
                  <a:pt x="14812" y="454"/>
                  <a:pt x="14812" y="263"/>
                </a:cubicBezTo>
                <a:cubicBezTo>
                  <a:pt x="13680" y="-885"/>
                  <a:pt x="10891" y="2078"/>
                  <a:pt x="9500" y="2365"/>
                </a:cubicBezTo>
                <a:cubicBezTo>
                  <a:pt x="7844" y="2652"/>
                  <a:pt x="7149" y="1410"/>
                  <a:pt x="6363" y="3510"/>
                </a:cubicBezTo>
                <a:cubicBezTo>
                  <a:pt x="6276" y="3799"/>
                  <a:pt x="6626" y="4184"/>
                  <a:pt x="6537" y="4564"/>
                </a:cubicBezTo>
                <a:cubicBezTo>
                  <a:pt x="6363" y="5039"/>
                  <a:pt x="5580" y="3894"/>
                  <a:pt x="5145" y="3894"/>
                </a:cubicBezTo>
                <a:cubicBezTo>
                  <a:pt x="4011" y="3989"/>
                  <a:pt x="2968" y="4849"/>
                  <a:pt x="2009" y="5517"/>
                </a:cubicBezTo>
                <a:cubicBezTo>
                  <a:pt x="1487" y="5901"/>
                  <a:pt x="2706" y="9915"/>
                  <a:pt x="528" y="8289"/>
                </a:cubicBezTo>
                <a:cubicBezTo>
                  <a:pt x="528" y="8289"/>
                  <a:pt x="266" y="8289"/>
                  <a:pt x="266" y="8289"/>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44" name="AutoShape 12"/>
          <p:cNvSpPr>
            <a:spLocks/>
          </p:cNvSpPr>
          <p:nvPr/>
        </p:nvSpPr>
        <p:spPr bwMode="auto">
          <a:xfrm>
            <a:off x="18630900" y="9194800"/>
            <a:ext cx="768350" cy="536575"/>
          </a:xfrm>
          <a:custGeom>
            <a:avLst/>
            <a:gdLst>
              <a:gd name="T0" fmla="+- 0 10869 138"/>
              <a:gd name="T1" fmla="*/ T0 w 21462"/>
              <a:gd name="T2" fmla="*/ 10714 h 21429"/>
              <a:gd name="T3" fmla="+- 0 10869 138"/>
              <a:gd name="T4" fmla="*/ T3 w 21462"/>
              <a:gd name="T5" fmla="*/ 10714 h 21429"/>
              <a:gd name="T6" fmla="+- 0 10869 138"/>
              <a:gd name="T7" fmla="*/ T6 w 21462"/>
              <a:gd name="T8" fmla="*/ 10714 h 21429"/>
              <a:gd name="T9" fmla="+- 0 10869 138"/>
              <a:gd name="T10" fmla="*/ T9 w 21462"/>
              <a:gd name="T11" fmla="*/ 10714 h 21429"/>
            </a:gdLst>
            <a:ahLst/>
            <a:cxnLst>
              <a:cxn ang="0">
                <a:pos x="T1" y="T2"/>
              </a:cxn>
              <a:cxn ang="0">
                <a:pos x="T4" y="T5"/>
              </a:cxn>
              <a:cxn ang="0">
                <a:pos x="T7" y="T8"/>
              </a:cxn>
              <a:cxn ang="0">
                <a:pos x="T10" y="T11"/>
              </a:cxn>
            </a:cxnLst>
            <a:rect l="0" t="0" r="r" b="b"/>
            <a:pathLst>
              <a:path w="21462" h="21429">
                <a:moveTo>
                  <a:pt x="21462" y="5081"/>
                </a:moveTo>
                <a:cubicBezTo>
                  <a:pt x="20943" y="4977"/>
                  <a:pt x="19686" y="4555"/>
                  <a:pt x="19390" y="4658"/>
                </a:cubicBezTo>
                <a:cubicBezTo>
                  <a:pt x="18576" y="4871"/>
                  <a:pt x="19686" y="6351"/>
                  <a:pt x="19242" y="6775"/>
                </a:cubicBezTo>
                <a:cubicBezTo>
                  <a:pt x="18872" y="6989"/>
                  <a:pt x="18429" y="6671"/>
                  <a:pt x="18059" y="6880"/>
                </a:cubicBezTo>
                <a:cubicBezTo>
                  <a:pt x="17912" y="6989"/>
                  <a:pt x="18133" y="7414"/>
                  <a:pt x="17985" y="7620"/>
                </a:cubicBezTo>
                <a:cubicBezTo>
                  <a:pt x="17245" y="8473"/>
                  <a:pt x="16063" y="8575"/>
                  <a:pt x="15322" y="9529"/>
                </a:cubicBezTo>
                <a:cubicBezTo>
                  <a:pt x="14434" y="10694"/>
                  <a:pt x="16948" y="13657"/>
                  <a:pt x="15839" y="14824"/>
                </a:cubicBezTo>
                <a:cubicBezTo>
                  <a:pt x="13250" y="17467"/>
                  <a:pt x="14877" y="13022"/>
                  <a:pt x="13176" y="16513"/>
                </a:cubicBezTo>
                <a:cubicBezTo>
                  <a:pt x="12955" y="16940"/>
                  <a:pt x="13841" y="17043"/>
                  <a:pt x="13989" y="17576"/>
                </a:cubicBezTo>
                <a:cubicBezTo>
                  <a:pt x="14138" y="17999"/>
                  <a:pt x="13250" y="17893"/>
                  <a:pt x="13250" y="18317"/>
                </a:cubicBezTo>
                <a:cubicBezTo>
                  <a:pt x="13250" y="18527"/>
                  <a:pt x="13989" y="19905"/>
                  <a:pt x="13694" y="20433"/>
                </a:cubicBezTo>
                <a:cubicBezTo>
                  <a:pt x="12881" y="21600"/>
                  <a:pt x="11697" y="19799"/>
                  <a:pt x="10957" y="19799"/>
                </a:cubicBezTo>
                <a:cubicBezTo>
                  <a:pt x="9848" y="19799"/>
                  <a:pt x="11992" y="21281"/>
                  <a:pt x="10144" y="20539"/>
                </a:cubicBezTo>
                <a:cubicBezTo>
                  <a:pt x="9625" y="20327"/>
                  <a:pt x="8960" y="19163"/>
                  <a:pt x="8737" y="18527"/>
                </a:cubicBezTo>
                <a:cubicBezTo>
                  <a:pt x="8590" y="18317"/>
                  <a:pt x="8441" y="17680"/>
                  <a:pt x="8368" y="17893"/>
                </a:cubicBezTo>
                <a:cubicBezTo>
                  <a:pt x="8072" y="18527"/>
                  <a:pt x="8146" y="19268"/>
                  <a:pt x="7849" y="19799"/>
                </a:cubicBezTo>
                <a:cubicBezTo>
                  <a:pt x="6889" y="21600"/>
                  <a:pt x="5556" y="19799"/>
                  <a:pt x="4448" y="20327"/>
                </a:cubicBezTo>
                <a:cubicBezTo>
                  <a:pt x="4299" y="20433"/>
                  <a:pt x="4595" y="20856"/>
                  <a:pt x="4448" y="21070"/>
                </a:cubicBezTo>
                <a:cubicBezTo>
                  <a:pt x="3781" y="21600"/>
                  <a:pt x="2450" y="21493"/>
                  <a:pt x="1783" y="21070"/>
                </a:cubicBezTo>
                <a:cubicBezTo>
                  <a:pt x="1783" y="21070"/>
                  <a:pt x="1783" y="20962"/>
                  <a:pt x="1857" y="20962"/>
                </a:cubicBezTo>
                <a:cubicBezTo>
                  <a:pt x="2228" y="20433"/>
                  <a:pt x="2672" y="19905"/>
                  <a:pt x="2819" y="19376"/>
                </a:cubicBezTo>
                <a:cubicBezTo>
                  <a:pt x="5408" y="19586"/>
                  <a:pt x="2450" y="17043"/>
                  <a:pt x="1711" y="16407"/>
                </a:cubicBezTo>
                <a:cubicBezTo>
                  <a:pt x="1192" y="15985"/>
                  <a:pt x="2006" y="14613"/>
                  <a:pt x="1857" y="14081"/>
                </a:cubicBezTo>
                <a:cubicBezTo>
                  <a:pt x="1711" y="13552"/>
                  <a:pt x="527" y="15034"/>
                  <a:pt x="822" y="13657"/>
                </a:cubicBezTo>
                <a:cubicBezTo>
                  <a:pt x="1044" y="12706"/>
                  <a:pt x="2450" y="11858"/>
                  <a:pt x="1932" y="11223"/>
                </a:cubicBezTo>
                <a:cubicBezTo>
                  <a:pt x="1562" y="10797"/>
                  <a:pt x="-138" y="11011"/>
                  <a:pt x="9" y="9740"/>
                </a:cubicBezTo>
                <a:cubicBezTo>
                  <a:pt x="155" y="8046"/>
                  <a:pt x="2006" y="8473"/>
                  <a:pt x="2153" y="6351"/>
                </a:cubicBezTo>
                <a:cubicBezTo>
                  <a:pt x="2080" y="6351"/>
                  <a:pt x="2080" y="6351"/>
                  <a:pt x="2006" y="6351"/>
                </a:cubicBezTo>
                <a:cubicBezTo>
                  <a:pt x="2450" y="6459"/>
                  <a:pt x="2894" y="6565"/>
                  <a:pt x="3412" y="6671"/>
                </a:cubicBezTo>
                <a:cubicBezTo>
                  <a:pt x="4004" y="6775"/>
                  <a:pt x="4595" y="7414"/>
                  <a:pt x="5187" y="7517"/>
                </a:cubicBezTo>
                <a:cubicBezTo>
                  <a:pt x="5778" y="7620"/>
                  <a:pt x="6370" y="6989"/>
                  <a:pt x="6962" y="7094"/>
                </a:cubicBezTo>
                <a:cubicBezTo>
                  <a:pt x="7332" y="7200"/>
                  <a:pt x="7553" y="7942"/>
                  <a:pt x="7923" y="7942"/>
                </a:cubicBezTo>
                <a:cubicBezTo>
                  <a:pt x="8072" y="8046"/>
                  <a:pt x="7997" y="7414"/>
                  <a:pt x="8146" y="7303"/>
                </a:cubicBezTo>
                <a:cubicBezTo>
                  <a:pt x="8516" y="6775"/>
                  <a:pt x="9109" y="6565"/>
                  <a:pt x="9477" y="5929"/>
                </a:cubicBezTo>
                <a:cubicBezTo>
                  <a:pt x="9773" y="5611"/>
                  <a:pt x="9551" y="4871"/>
                  <a:pt x="9773" y="4555"/>
                </a:cubicBezTo>
                <a:cubicBezTo>
                  <a:pt x="11178" y="2965"/>
                  <a:pt x="12658" y="4977"/>
                  <a:pt x="13989" y="4128"/>
                </a:cubicBezTo>
                <a:cubicBezTo>
                  <a:pt x="14434" y="3812"/>
                  <a:pt x="14509" y="2858"/>
                  <a:pt x="14951" y="2648"/>
                </a:cubicBezTo>
                <a:cubicBezTo>
                  <a:pt x="15026" y="2540"/>
                  <a:pt x="17468" y="3068"/>
                  <a:pt x="17541" y="2965"/>
                </a:cubicBezTo>
                <a:cubicBezTo>
                  <a:pt x="17763" y="2858"/>
                  <a:pt x="17318" y="2435"/>
                  <a:pt x="17245" y="2118"/>
                </a:cubicBezTo>
                <a:cubicBezTo>
                  <a:pt x="17022" y="422"/>
                  <a:pt x="17912" y="0"/>
                  <a:pt x="19020" y="0"/>
                </a:cubicBezTo>
                <a:cubicBezTo>
                  <a:pt x="19317" y="0"/>
                  <a:pt x="19909" y="3282"/>
                  <a:pt x="21462" y="5081"/>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45" name="AutoShape 13"/>
          <p:cNvSpPr>
            <a:spLocks/>
          </p:cNvSpPr>
          <p:nvPr/>
        </p:nvSpPr>
        <p:spPr bwMode="auto">
          <a:xfrm>
            <a:off x="19238913" y="9728200"/>
            <a:ext cx="995362" cy="930275"/>
          </a:xfrm>
          <a:custGeom>
            <a:avLst/>
            <a:gdLst>
              <a:gd name="T0" fmla="+- 0 10750 370"/>
              <a:gd name="T1" fmla="*/ T0 w 20761"/>
              <a:gd name="T2" fmla="+- 0 10831 62"/>
              <a:gd name="T3" fmla="*/ 10831 h 21538"/>
              <a:gd name="T4" fmla="+- 0 10750 370"/>
              <a:gd name="T5" fmla="*/ T4 w 20761"/>
              <a:gd name="T6" fmla="+- 0 10831 62"/>
              <a:gd name="T7" fmla="*/ 10831 h 21538"/>
              <a:gd name="T8" fmla="+- 0 10750 370"/>
              <a:gd name="T9" fmla="*/ T8 w 20761"/>
              <a:gd name="T10" fmla="+- 0 10831 62"/>
              <a:gd name="T11" fmla="*/ 10831 h 21538"/>
              <a:gd name="T12" fmla="+- 0 10750 370"/>
              <a:gd name="T13" fmla="*/ T12 w 20761"/>
              <a:gd name="T14" fmla="+- 0 10831 62"/>
              <a:gd name="T15" fmla="*/ 10831 h 21538"/>
            </a:gdLst>
            <a:ahLst/>
            <a:cxnLst>
              <a:cxn ang="0">
                <a:pos x="T1" y="T3"/>
              </a:cxn>
              <a:cxn ang="0">
                <a:pos x="T5" y="T7"/>
              </a:cxn>
              <a:cxn ang="0">
                <a:pos x="T9" y="T11"/>
              </a:cxn>
              <a:cxn ang="0">
                <a:pos x="T13" y="T15"/>
              </a:cxn>
            </a:cxnLst>
            <a:rect l="0" t="0" r="r" b="b"/>
            <a:pathLst>
              <a:path w="20761" h="21538">
                <a:moveTo>
                  <a:pt x="18459" y="14910"/>
                </a:moveTo>
                <a:cubicBezTo>
                  <a:pt x="17906" y="14480"/>
                  <a:pt x="17906" y="14051"/>
                  <a:pt x="17296" y="14112"/>
                </a:cubicBezTo>
                <a:lnTo>
                  <a:pt x="17408" y="13928"/>
                </a:lnTo>
                <a:lnTo>
                  <a:pt x="17296" y="14112"/>
                </a:lnTo>
                <a:cubicBezTo>
                  <a:pt x="16522" y="15093"/>
                  <a:pt x="16632" y="16505"/>
                  <a:pt x="16411" y="16811"/>
                </a:cubicBezTo>
                <a:cubicBezTo>
                  <a:pt x="15966" y="17426"/>
                  <a:pt x="15801" y="16505"/>
                  <a:pt x="15635" y="17426"/>
                </a:cubicBezTo>
                <a:cubicBezTo>
                  <a:pt x="15358" y="19206"/>
                  <a:pt x="17075" y="19267"/>
                  <a:pt x="15801" y="20616"/>
                </a:cubicBezTo>
                <a:lnTo>
                  <a:pt x="16077" y="20555"/>
                </a:lnTo>
                <a:lnTo>
                  <a:pt x="16133" y="21538"/>
                </a:lnTo>
                <a:cubicBezTo>
                  <a:pt x="15470" y="19757"/>
                  <a:pt x="14361" y="20372"/>
                  <a:pt x="12976" y="19267"/>
                </a:cubicBezTo>
                <a:cubicBezTo>
                  <a:pt x="12643" y="18958"/>
                  <a:pt x="12533" y="18408"/>
                  <a:pt x="12146" y="18284"/>
                </a:cubicBezTo>
                <a:cubicBezTo>
                  <a:pt x="11869" y="18162"/>
                  <a:pt x="11537" y="18530"/>
                  <a:pt x="11205" y="18530"/>
                </a:cubicBezTo>
                <a:cubicBezTo>
                  <a:pt x="11038" y="18530"/>
                  <a:pt x="10650" y="18470"/>
                  <a:pt x="10706" y="18284"/>
                </a:cubicBezTo>
                <a:cubicBezTo>
                  <a:pt x="10816" y="18038"/>
                  <a:pt x="11316" y="18101"/>
                  <a:pt x="11370" y="17793"/>
                </a:cubicBezTo>
                <a:cubicBezTo>
                  <a:pt x="11648" y="16998"/>
                  <a:pt x="9266" y="15952"/>
                  <a:pt x="9044" y="15524"/>
                </a:cubicBezTo>
                <a:cubicBezTo>
                  <a:pt x="8823" y="15156"/>
                  <a:pt x="8990" y="14604"/>
                  <a:pt x="8767" y="14234"/>
                </a:cubicBezTo>
                <a:cubicBezTo>
                  <a:pt x="8602" y="13990"/>
                  <a:pt x="8213" y="14051"/>
                  <a:pt x="7937" y="13928"/>
                </a:cubicBezTo>
                <a:cubicBezTo>
                  <a:pt x="6773" y="13130"/>
                  <a:pt x="6053" y="11658"/>
                  <a:pt x="5056" y="10738"/>
                </a:cubicBezTo>
                <a:cubicBezTo>
                  <a:pt x="4724" y="10491"/>
                  <a:pt x="3451" y="9080"/>
                  <a:pt x="3063" y="8897"/>
                </a:cubicBezTo>
                <a:cubicBezTo>
                  <a:pt x="2897" y="8834"/>
                  <a:pt x="2675" y="9080"/>
                  <a:pt x="2509" y="8957"/>
                </a:cubicBezTo>
                <a:cubicBezTo>
                  <a:pt x="2231" y="8650"/>
                  <a:pt x="2897" y="7975"/>
                  <a:pt x="2897" y="7853"/>
                </a:cubicBezTo>
                <a:cubicBezTo>
                  <a:pt x="2840" y="7607"/>
                  <a:pt x="2564" y="7547"/>
                  <a:pt x="2398" y="7362"/>
                </a:cubicBezTo>
                <a:cubicBezTo>
                  <a:pt x="1955" y="6626"/>
                  <a:pt x="1789" y="5644"/>
                  <a:pt x="1180" y="5030"/>
                </a:cubicBezTo>
                <a:cubicBezTo>
                  <a:pt x="959" y="4724"/>
                  <a:pt x="515" y="4724"/>
                  <a:pt x="238" y="4478"/>
                </a:cubicBezTo>
                <a:cubicBezTo>
                  <a:pt x="17" y="4294"/>
                  <a:pt x="-370" y="735"/>
                  <a:pt x="848" y="796"/>
                </a:cubicBezTo>
                <a:cubicBezTo>
                  <a:pt x="1401" y="796"/>
                  <a:pt x="2344" y="2146"/>
                  <a:pt x="2840" y="2453"/>
                </a:cubicBezTo>
                <a:lnTo>
                  <a:pt x="3284" y="2393"/>
                </a:lnTo>
                <a:lnTo>
                  <a:pt x="2840" y="2453"/>
                </a:lnTo>
                <a:cubicBezTo>
                  <a:pt x="3506" y="2393"/>
                  <a:pt x="3395" y="1225"/>
                  <a:pt x="3726" y="735"/>
                </a:cubicBezTo>
                <a:cubicBezTo>
                  <a:pt x="4337" y="-62"/>
                  <a:pt x="4614" y="919"/>
                  <a:pt x="5388" y="735"/>
                </a:cubicBezTo>
                <a:cubicBezTo>
                  <a:pt x="5611" y="674"/>
                  <a:pt x="5611" y="183"/>
                  <a:pt x="5833" y="-1"/>
                </a:cubicBezTo>
                <a:cubicBezTo>
                  <a:pt x="5833" y="-1"/>
                  <a:pt x="6164" y="367"/>
                  <a:pt x="7106" y="674"/>
                </a:cubicBezTo>
                <a:cubicBezTo>
                  <a:pt x="7216" y="735"/>
                  <a:pt x="7382" y="796"/>
                  <a:pt x="7549" y="735"/>
                </a:cubicBezTo>
                <a:cubicBezTo>
                  <a:pt x="7660" y="735"/>
                  <a:pt x="7716" y="489"/>
                  <a:pt x="7882" y="429"/>
                </a:cubicBezTo>
                <a:cubicBezTo>
                  <a:pt x="8545" y="367"/>
                  <a:pt x="10042" y="1287"/>
                  <a:pt x="10761" y="1165"/>
                </a:cubicBezTo>
                <a:cubicBezTo>
                  <a:pt x="10927" y="1165"/>
                  <a:pt x="11093" y="1041"/>
                  <a:pt x="11149" y="857"/>
                </a:cubicBezTo>
                <a:cubicBezTo>
                  <a:pt x="11316" y="735"/>
                  <a:pt x="11260" y="306"/>
                  <a:pt x="11481" y="306"/>
                </a:cubicBezTo>
                <a:cubicBezTo>
                  <a:pt x="11813" y="243"/>
                  <a:pt x="12034" y="614"/>
                  <a:pt x="12368" y="735"/>
                </a:cubicBezTo>
                <a:cubicBezTo>
                  <a:pt x="12976" y="919"/>
                  <a:pt x="12256" y="429"/>
                  <a:pt x="12589" y="306"/>
                </a:cubicBezTo>
                <a:cubicBezTo>
                  <a:pt x="12921" y="183"/>
                  <a:pt x="13308" y="183"/>
                  <a:pt x="13641" y="306"/>
                </a:cubicBezTo>
                <a:cubicBezTo>
                  <a:pt x="13863" y="367"/>
                  <a:pt x="14028" y="735"/>
                  <a:pt x="14250" y="735"/>
                </a:cubicBezTo>
                <a:cubicBezTo>
                  <a:pt x="14417" y="735"/>
                  <a:pt x="14250" y="306"/>
                  <a:pt x="14417" y="306"/>
                </a:cubicBezTo>
                <a:cubicBezTo>
                  <a:pt x="15691" y="367"/>
                  <a:pt x="15358" y="1901"/>
                  <a:pt x="15966" y="2024"/>
                </a:cubicBezTo>
                <a:cubicBezTo>
                  <a:pt x="17019" y="2146"/>
                  <a:pt x="17573" y="1287"/>
                  <a:pt x="18571" y="1348"/>
                </a:cubicBezTo>
                <a:cubicBezTo>
                  <a:pt x="18571" y="3249"/>
                  <a:pt x="17573" y="4538"/>
                  <a:pt x="17740" y="5705"/>
                </a:cubicBezTo>
                <a:cubicBezTo>
                  <a:pt x="17961" y="7055"/>
                  <a:pt x="18294" y="6074"/>
                  <a:pt x="19069" y="6443"/>
                </a:cubicBezTo>
                <a:cubicBezTo>
                  <a:pt x="19567" y="6686"/>
                  <a:pt x="19678" y="7486"/>
                  <a:pt x="20178" y="7792"/>
                </a:cubicBezTo>
                <a:cubicBezTo>
                  <a:pt x="20343" y="7853"/>
                  <a:pt x="20897" y="7669"/>
                  <a:pt x="20730" y="8221"/>
                </a:cubicBezTo>
                <a:cubicBezTo>
                  <a:pt x="20399" y="9448"/>
                  <a:pt x="19015" y="8098"/>
                  <a:pt x="18736" y="8528"/>
                </a:cubicBezTo>
                <a:cubicBezTo>
                  <a:pt x="18736" y="8528"/>
                  <a:pt x="21229" y="11105"/>
                  <a:pt x="20564" y="11904"/>
                </a:cubicBezTo>
                <a:cubicBezTo>
                  <a:pt x="20343" y="12087"/>
                  <a:pt x="20067" y="11473"/>
                  <a:pt x="19788" y="11596"/>
                </a:cubicBezTo>
                <a:cubicBezTo>
                  <a:pt x="19456" y="11718"/>
                  <a:pt x="19401" y="12210"/>
                  <a:pt x="19180" y="12517"/>
                </a:cubicBezTo>
                <a:cubicBezTo>
                  <a:pt x="18792" y="12640"/>
                  <a:pt x="17740" y="12394"/>
                  <a:pt x="17685" y="12701"/>
                </a:cubicBezTo>
                <a:cubicBezTo>
                  <a:pt x="17518" y="13560"/>
                  <a:pt x="18904" y="13621"/>
                  <a:pt x="18459" y="14910"/>
                </a:cubicBezTo>
                <a:lnTo>
                  <a:pt x="18238" y="14910"/>
                </a:lnTo>
                <a:cubicBezTo>
                  <a:pt x="18238" y="14910"/>
                  <a:pt x="18459" y="14910"/>
                  <a:pt x="18459" y="1491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46" name="AutoShape 14"/>
          <p:cNvSpPr>
            <a:spLocks/>
          </p:cNvSpPr>
          <p:nvPr/>
        </p:nvSpPr>
        <p:spPr bwMode="auto">
          <a:xfrm>
            <a:off x="16370300" y="6945313"/>
            <a:ext cx="874713" cy="941387"/>
          </a:xfrm>
          <a:custGeom>
            <a:avLst/>
            <a:gdLst>
              <a:gd name="T0" fmla="*/ 10740 w 21480"/>
              <a:gd name="T1" fmla="+- 0 10706 158"/>
              <a:gd name="T2" fmla="*/ 10706 h 21097"/>
              <a:gd name="T3" fmla="*/ 10740 w 21480"/>
              <a:gd name="T4" fmla="+- 0 10706 158"/>
              <a:gd name="T5" fmla="*/ 10706 h 21097"/>
              <a:gd name="T6" fmla="*/ 10740 w 21480"/>
              <a:gd name="T7" fmla="+- 0 10706 158"/>
              <a:gd name="T8" fmla="*/ 10706 h 21097"/>
              <a:gd name="T9" fmla="*/ 10740 w 21480"/>
              <a:gd name="T10" fmla="+- 0 10706 158"/>
              <a:gd name="T11" fmla="*/ 10706 h 21097"/>
            </a:gdLst>
            <a:ahLst/>
            <a:cxnLst>
              <a:cxn ang="0">
                <a:pos x="T0" y="T2"/>
              </a:cxn>
              <a:cxn ang="0">
                <a:pos x="T3" y="T5"/>
              </a:cxn>
              <a:cxn ang="0">
                <a:pos x="T6" y="T8"/>
              </a:cxn>
              <a:cxn ang="0">
                <a:pos x="T9" y="T11"/>
              </a:cxn>
            </a:cxnLst>
            <a:rect l="0" t="0" r="r" b="b"/>
            <a:pathLst>
              <a:path w="21480" h="21097">
                <a:moveTo>
                  <a:pt x="129" y="15314"/>
                </a:moveTo>
                <a:cubicBezTo>
                  <a:pt x="0" y="16861"/>
                  <a:pt x="1366" y="15849"/>
                  <a:pt x="2341" y="16265"/>
                </a:cubicBezTo>
                <a:cubicBezTo>
                  <a:pt x="2472" y="16325"/>
                  <a:pt x="2210" y="16563"/>
                  <a:pt x="2341" y="16683"/>
                </a:cubicBezTo>
                <a:cubicBezTo>
                  <a:pt x="3121" y="17158"/>
                  <a:pt x="3773" y="16325"/>
                  <a:pt x="4293" y="15909"/>
                </a:cubicBezTo>
                <a:cubicBezTo>
                  <a:pt x="3967" y="15611"/>
                  <a:pt x="3577" y="15374"/>
                  <a:pt x="3447" y="15314"/>
                </a:cubicBezTo>
                <a:cubicBezTo>
                  <a:pt x="3121" y="15255"/>
                  <a:pt x="3057" y="15787"/>
                  <a:pt x="2732" y="15787"/>
                </a:cubicBezTo>
                <a:cubicBezTo>
                  <a:pt x="1626" y="15787"/>
                  <a:pt x="2341" y="15195"/>
                  <a:pt x="1040" y="15016"/>
                </a:cubicBezTo>
                <a:cubicBezTo>
                  <a:pt x="714" y="14958"/>
                  <a:pt x="390" y="14958"/>
                  <a:pt x="0" y="15076"/>
                </a:cubicBezTo>
                <a:cubicBezTo>
                  <a:pt x="0" y="15076"/>
                  <a:pt x="129" y="15314"/>
                  <a:pt x="129" y="15314"/>
                </a:cubicBezTo>
                <a:close/>
                <a:moveTo>
                  <a:pt x="11514" y="2698"/>
                </a:moveTo>
                <a:cubicBezTo>
                  <a:pt x="10994" y="2876"/>
                  <a:pt x="10473" y="2996"/>
                  <a:pt x="10344" y="3413"/>
                </a:cubicBezTo>
                <a:cubicBezTo>
                  <a:pt x="10344" y="3473"/>
                  <a:pt x="10344" y="3473"/>
                  <a:pt x="10344" y="3473"/>
                </a:cubicBezTo>
                <a:cubicBezTo>
                  <a:pt x="9694" y="5553"/>
                  <a:pt x="12556" y="4601"/>
                  <a:pt x="11514" y="5316"/>
                </a:cubicBezTo>
                <a:cubicBezTo>
                  <a:pt x="11059" y="5614"/>
                  <a:pt x="10344" y="5495"/>
                  <a:pt x="10084" y="5911"/>
                </a:cubicBezTo>
                <a:cubicBezTo>
                  <a:pt x="9758" y="6327"/>
                  <a:pt x="10603" y="7101"/>
                  <a:pt x="10213" y="7458"/>
                </a:cubicBezTo>
                <a:cubicBezTo>
                  <a:pt x="10084" y="7638"/>
                  <a:pt x="9433" y="7638"/>
                  <a:pt x="9563" y="7815"/>
                </a:cubicBezTo>
                <a:lnTo>
                  <a:pt x="12100" y="8887"/>
                </a:lnTo>
                <a:cubicBezTo>
                  <a:pt x="12490" y="8887"/>
                  <a:pt x="15158" y="7041"/>
                  <a:pt x="14311" y="6269"/>
                </a:cubicBezTo>
                <a:cubicBezTo>
                  <a:pt x="13987" y="5972"/>
                  <a:pt x="13141" y="6089"/>
                  <a:pt x="13010" y="5674"/>
                </a:cubicBezTo>
                <a:cubicBezTo>
                  <a:pt x="12881" y="5257"/>
                  <a:pt x="13922" y="4839"/>
                  <a:pt x="13726" y="4424"/>
                </a:cubicBezTo>
                <a:cubicBezTo>
                  <a:pt x="13466" y="3888"/>
                  <a:pt x="11906" y="4601"/>
                  <a:pt x="11906" y="4067"/>
                </a:cubicBezTo>
                <a:cubicBezTo>
                  <a:pt x="11970" y="3650"/>
                  <a:pt x="12230" y="3294"/>
                  <a:pt x="12295" y="2876"/>
                </a:cubicBezTo>
                <a:cubicBezTo>
                  <a:pt x="12295" y="2758"/>
                  <a:pt x="12165" y="2638"/>
                  <a:pt x="12100" y="2520"/>
                </a:cubicBezTo>
                <a:cubicBezTo>
                  <a:pt x="11970" y="2579"/>
                  <a:pt x="11775" y="2638"/>
                  <a:pt x="11514" y="2698"/>
                </a:cubicBezTo>
                <a:close/>
                <a:moveTo>
                  <a:pt x="5204" y="15787"/>
                </a:moveTo>
                <a:cubicBezTo>
                  <a:pt x="5399" y="15849"/>
                  <a:pt x="5529" y="15909"/>
                  <a:pt x="5724" y="15849"/>
                </a:cubicBezTo>
                <a:cubicBezTo>
                  <a:pt x="6180" y="15849"/>
                  <a:pt x="4943" y="14480"/>
                  <a:pt x="6505" y="14896"/>
                </a:cubicBezTo>
                <a:cubicBezTo>
                  <a:pt x="6635" y="14896"/>
                  <a:pt x="6375" y="15195"/>
                  <a:pt x="6440" y="15255"/>
                </a:cubicBezTo>
                <a:cubicBezTo>
                  <a:pt x="7221" y="15849"/>
                  <a:pt x="7415" y="14422"/>
                  <a:pt x="8001" y="14836"/>
                </a:cubicBezTo>
                <a:cubicBezTo>
                  <a:pt x="8197" y="15016"/>
                  <a:pt x="7480" y="15374"/>
                  <a:pt x="7676" y="15491"/>
                </a:cubicBezTo>
                <a:cubicBezTo>
                  <a:pt x="9172" y="16206"/>
                  <a:pt x="7871" y="15314"/>
                  <a:pt x="9042" y="15076"/>
                </a:cubicBezTo>
                <a:cubicBezTo>
                  <a:pt x="9237" y="15016"/>
                  <a:pt x="9563" y="16740"/>
                  <a:pt x="10017" y="16801"/>
                </a:cubicBezTo>
                <a:cubicBezTo>
                  <a:pt x="11059" y="16981"/>
                  <a:pt x="12425" y="16921"/>
                  <a:pt x="13271" y="17932"/>
                </a:cubicBezTo>
                <a:cubicBezTo>
                  <a:pt x="13337" y="18051"/>
                  <a:pt x="13010" y="18169"/>
                  <a:pt x="12946" y="18289"/>
                </a:cubicBezTo>
                <a:cubicBezTo>
                  <a:pt x="12815" y="18645"/>
                  <a:pt x="12490" y="18943"/>
                  <a:pt x="12425" y="19301"/>
                </a:cubicBezTo>
                <a:cubicBezTo>
                  <a:pt x="12425" y="19420"/>
                  <a:pt x="12750" y="19360"/>
                  <a:pt x="12686" y="19478"/>
                </a:cubicBezTo>
                <a:cubicBezTo>
                  <a:pt x="12621" y="19656"/>
                  <a:pt x="12295" y="19717"/>
                  <a:pt x="12230" y="19956"/>
                </a:cubicBezTo>
                <a:cubicBezTo>
                  <a:pt x="11775" y="21442"/>
                  <a:pt x="12881" y="21027"/>
                  <a:pt x="13922" y="21084"/>
                </a:cubicBezTo>
                <a:lnTo>
                  <a:pt x="13987" y="21084"/>
                </a:lnTo>
                <a:cubicBezTo>
                  <a:pt x="13857" y="20907"/>
                  <a:pt x="13792" y="20727"/>
                  <a:pt x="13792" y="20669"/>
                </a:cubicBezTo>
                <a:cubicBezTo>
                  <a:pt x="13857" y="20431"/>
                  <a:pt x="14311" y="20431"/>
                  <a:pt x="14376" y="20193"/>
                </a:cubicBezTo>
                <a:cubicBezTo>
                  <a:pt x="14572" y="19181"/>
                  <a:pt x="12686" y="18824"/>
                  <a:pt x="13271" y="18705"/>
                </a:cubicBezTo>
                <a:cubicBezTo>
                  <a:pt x="13466" y="18645"/>
                  <a:pt x="13597" y="18884"/>
                  <a:pt x="13726" y="18884"/>
                </a:cubicBezTo>
                <a:lnTo>
                  <a:pt x="14962" y="17872"/>
                </a:lnTo>
                <a:cubicBezTo>
                  <a:pt x="15027" y="17575"/>
                  <a:pt x="14183" y="17932"/>
                  <a:pt x="14441" y="17457"/>
                </a:cubicBezTo>
                <a:cubicBezTo>
                  <a:pt x="14638" y="17038"/>
                  <a:pt x="15093" y="16740"/>
                  <a:pt x="15288" y="16325"/>
                </a:cubicBezTo>
                <a:cubicBezTo>
                  <a:pt x="15873" y="15016"/>
                  <a:pt x="14441" y="14063"/>
                  <a:pt x="14051" y="13409"/>
                </a:cubicBezTo>
                <a:cubicBezTo>
                  <a:pt x="13987" y="13291"/>
                  <a:pt x="14117" y="13112"/>
                  <a:pt x="14183" y="12993"/>
                </a:cubicBezTo>
                <a:cubicBezTo>
                  <a:pt x="14183" y="12874"/>
                  <a:pt x="14051" y="12695"/>
                  <a:pt x="14183" y="12636"/>
                </a:cubicBezTo>
                <a:cubicBezTo>
                  <a:pt x="14506" y="12458"/>
                  <a:pt x="14898" y="12636"/>
                  <a:pt x="15288" y="12516"/>
                </a:cubicBezTo>
                <a:cubicBezTo>
                  <a:pt x="15418" y="12458"/>
                  <a:pt x="15158" y="12101"/>
                  <a:pt x="15288" y="12160"/>
                </a:cubicBezTo>
                <a:cubicBezTo>
                  <a:pt x="15678" y="12278"/>
                  <a:pt x="15938" y="12695"/>
                  <a:pt x="16395" y="12695"/>
                </a:cubicBezTo>
                <a:cubicBezTo>
                  <a:pt x="16849" y="12754"/>
                  <a:pt x="18605" y="12218"/>
                  <a:pt x="18802" y="11802"/>
                </a:cubicBezTo>
                <a:cubicBezTo>
                  <a:pt x="18995" y="11386"/>
                  <a:pt x="17564" y="11327"/>
                  <a:pt x="18152" y="10969"/>
                </a:cubicBezTo>
                <a:cubicBezTo>
                  <a:pt x="19192" y="10315"/>
                  <a:pt x="20427" y="10077"/>
                  <a:pt x="20167" y="8589"/>
                </a:cubicBezTo>
                <a:cubicBezTo>
                  <a:pt x="20103" y="7756"/>
                  <a:pt x="17696" y="8112"/>
                  <a:pt x="18280" y="7221"/>
                </a:cubicBezTo>
                <a:cubicBezTo>
                  <a:pt x="18346" y="7041"/>
                  <a:pt x="18671" y="7221"/>
                  <a:pt x="18671" y="7101"/>
                </a:cubicBezTo>
                <a:cubicBezTo>
                  <a:pt x="18737" y="6924"/>
                  <a:pt x="18410" y="6745"/>
                  <a:pt x="18476" y="6566"/>
                </a:cubicBezTo>
                <a:cubicBezTo>
                  <a:pt x="18476" y="6446"/>
                  <a:pt x="18671" y="6446"/>
                  <a:pt x="18802" y="6446"/>
                </a:cubicBezTo>
                <a:cubicBezTo>
                  <a:pt x="19256" y="6446"/>
                  <a:pt x="19647" y="6625"/>
                  <a:pt x="20103" y="6625"/>
                </a:cubicBezTo>
                <a:cubicBezTo>
                  <a:pt x="20622" y="6625"/>
                  <a:pt x="20167" y="5674"/>
                  <a:pt x="20362" y="5198"/>
                </a:cubicBezTo>
                <a:cubicBezTo>
                  <a:pt x="20492" y="4782"/>
                  <a:pt x="21600" y="2876"/>
                  <a:pt x="21468" y="1864"/>
                </a:cubicBezTo>
                <a:cubicBezTo>
                  <a:pt x="20167" y="2460"/>
                  <a:pt x="20037" y="258"/>
                  <a:pt x="18930" y="21"/>
                </a:cubicBezTo>
                <a:cubicBezTo>
                  <a:pt x="17955" y="-158"/>
                  <a:pt x="12815" y="854"/>
                  <a:pt x="12230" y="1686"/>
                </a:cubicBezTo>
                <a:cubicBezTo>
                  <a:pt x="11906" y="2044"/>
                  <a:pt x="11775" y="2400"/>
                  <a:pt x="11514" y="2698"/>
                </a:cubicBezTo>
                <a:cubicBezTo>
                  <a:pt x="11318" y="3056"/>
                  <a:pt x="10994" y="3294"/>
                  <a:pt x="10344" y="3473"/>
                </a:cubicBezTo>
                <a:lnTo>
                  <a:pt x="10278" y="3473"/>
                </a:lnTo>
                <a:cubicBezTo>
                  <a:pt x="9823" y="3590"/>
                  <a:pt x="9302" y="3413"/>
                  <a:pt x="8847" y="3413"/>
                </a:cubicBezTo>
                <a:cubicBezTo>
                  <a:pt x="8652" y="3413"/>
                  <a:pt x="8457" y="3294"/>
                  <a:pt x="8392" y="3354"/>
                </a:cubicBezTo>
                <a:cubicBezTo>
                  <a:pt x="7546" y="4304"/>
                  <a:pt x="7805" y="6210"/>
                  <a:pt x="7415" y="7221"/>
                </a:cubicBezTo>
                <a:cubicBezTo>
                  <a:pt x="7026" y="8112"/>
                  <a:pt x="6244" y="9126"/>
                  <a:pt x="5529" y="9838"/>
                </a:cubicBezTo>
                <a:cubicBezTo>
                  <a:pt x="5268" y="10137"/>
                  <a:pt x="5074" y="10495"/>
                  <a:pt x="4748" y="10671"/>
                </a:cubicBezTo>
                <a:cubicBezTo>
                  <a:pt x="4553" y="10791"/>
                  <a:pt x="4098" y="10551"/>
                  <a:pt x="4033" y="10791"/>
                </a:cubicBezTo>
                <a:cubicBezTo>
                  <a:pt x="3903" y="11148"/>
                  <a:pt x="4489" y="11624"/>
                  <a:pt x="4293" y="11981"/>
                </a:cubicBezTo>
                <a:cubicBezTo>
                  <a:pt x="3642" y="12934"/>
                  <a:pt x="1626" y="12458"/>
                  <a:pt x="2081" y="12695"/>
                </a:cubicBezTo>
                <a:cubicBezTo>
                  <a:pt x="2602" y="12993"/>
                  <a:pt x="2992" y="13409"/>
                  <a:pt x="3577" y="13648"/>
                </a:cubicBezTo>
                <a:cubicBezTo>
                  <a:pt x="3837" y="13708"/>
                  <a:pt x="4098" y="13350"/>
                  <a:pt x="4293" y="13409"/>
                </a:cubicBezTo>
                <a:cubicBezTo>
                  <a:pt x="4553" y="13468"/>
                  <a:pt x="5008" y="13826"/>
                  <a:pt x="4813" y="14004"/>
                </a:cubicBezTo>
                <a:cubicBezTo>
                  <a:pt x="4489" y="14182"/>
                  <a:pt x="3642" y="13528"/>
                  <a:pt x="3642" y="13886"/>
                </a:cubicBezTo>
                <a:cubicBezTo>
                  <a:pt x="3706" y="14422"/>
                  <a:pt x="5399" y="14361"/>
                  <a:pt x="5074" y="14779"/>
                </a:cubicBezTo>
                <a:cubicBezTo>
                  <a:pt x="4098" y="15969"/>
                  <a:pt x="3187" y="13766"/>
                  <a:pt x="2798" y="13708"/>
                </a:cubicBezTo>
                <a:cubicBezTo>
                  <a:pt x="1560" y="13409"/>
                  <a:pt x="390" y="13589"/>
                  <a:pt x="585" y="14004"/>
                </a:cubicBezTo>
                <a:cubicBezTo>
                  <a:pt x="585" y="14063"/>
                  <a:pt x="2602" y="15314"/>
                  <a:pt x="2992" y="15255"/>
                </a:cubicBezTo>
                <a:cubicBezTo>
                  <a:pt x="3121" y="15255"/>
                  <a:pt x="3057" y="15016"/>
                  <a:pt x="3187" y="14896"/>
                </a:cubicBezTo>
                <a:cubicBezTo>
                  <a:pt x="3447" y="14720"/>
                  <a:pt x="3706" y="15135"/>
                  <a:pt x="3967" y="15195"/>
                </a:cubicBezTo>
                <a:cubicBezTo>
                  <a:pt x="4228" y="15314"/>
                  <a:pt x="4618" y="15076"/>
                  <a:pt x="4878" y="15314"/>
                </a:cubicBezTo>
                <a:cubicBezTo>
                  <a:pt x="5008" y="15432"/>
                  <a:pt x="5139" y="15611"/>
                  <a:pt x="5204" y="15787"/>
                </a:cubicBezTo>
                <a:close/>
              </a:path>
            </a:pathLst>
          </a:custGeom>
          <a:solidFill>
            <a:schemeClr val="bg2">
              <a:lumMod val="50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47" name="AutoShape 15"/>
          <p:cNvSpPr>
            <a:spLocks/>
          </p:cNvSpPr>
          <p:nvPr/>
        </p:nvSpPr>
        <p:spPr bwMode="auto">
          <a:xfrm>
            <a:off x="17691100" y="9131300"/>
            <a:ext cx="23813" cy="60325"/>
          </a:xfrm>
          <a:custGeom>
            <a:avLst/>
            <a:gdLst>
              <a:gd name="T0" fmla="+- 0 11650 1701"/>
              <a:gd name="T1" fmla="*/ T0 w 19899"/>
              <a:gd name="T2" fmla="*/ 10800 h 21600"/>
              <a:gd name="T3" fmla="+- 0 11650 1701"/>
              <a:gd name="T4" fmla="*/ T3 w 19899"/>
              <a:gd name="T5" fmla="*/ 10800 h 21600"/>
              <a:gd name="T6" fmla="+- 0 11650 1701"/>
              <a:gd name="T7" fmla="*/ T6 w 19899"/>
              <a:gd name="T8" fmla="*/ 10800 h 21600"/>
              <a:gd name="T9" fmla="+- 0 11650 1701"/>
              <a:gd name="T10" fmla="*/ T9 w 19899"/>
              <a:gd name="T11" fmla="*/ 10800 h 21600"/>
            </a:gdLst>
            <a:ahLst/>
            <a:cxnLst>
              <a:cxn ang="0">
                <a:pos x="T1" y="T2"/>
              </a:cxn>
              <a:cxn ang="0">
                <a:pos x="T4" y="T5"/>
              </a:cxn>
              <a:cxn ang="0">
                <a:pos x="T7" y="T8"/>
              </a:cxn>
              <a:cxn ang="0">
                <a:pos x="T10" y="T11"/>
              </a:cxn>
            </a:cxnLst>
            <a:rect l="0" t="0" r="r" b="b"/>
            <a:pathLst>
              <a:path w="19899" h="21600">
                <a:moveTo>
                  <a:pt x="9068" y="0"/>
                </a:moveTo>
                <a:lnTo>
                  <a:pt x="19898" y="10343"/>
                </a:lnTo>
                <a:lnTo>
                  <a:pt x="19898" y="21600"/>
                </a:lnTo>
                <a:cubicBezTo>
                  <a:pt x="9068" y="21600"/>
                  <a:pt x="2590" y="20669"/>
                  <a:pt x="414" y="20669"/>
                </a:cubicBezTo>
                <a:cubicBezTo>
                  <a:pt x="-1701" y="19728"/>
                  <a:pt x="4756" y="10343"/>
                  <a:pt x="9068" y="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49" name="AutoShape 17"/>
          <p:cNvSpPr>
            <a:spLocks/>
          </p:cNvSpPr>
          <p:nvPr/>
        </p:nvSpPr>
        <p:spPr bwMode="auto">
          <a:xfrm>
            <a:off x="16852900" y="8077200"/>
            <a:ext cx="182563" cy="249238"/>
          </a:xfrm>
          <a:custGeom>
            <a:avLst/>
            <a:gdLst>
              <a:gd name="T0" fmla="+- 0 9735 727"/>
              <a:gd name="T1" fmla="*/ T0 w 18016"/>
              <a:gd name="T2" fmla="+- 0 12067 2705"/>
              <a:gd name="T3" fmla="*/ 12067 h 18725"/>
              <a:gd name="T4" fmla="+- 0 9735 727"/>
              <a:gd name="T5" fmla="*/ T4 w 18016"/>
              <a:gd name="T6" fmla="+- 0 12067 2705"/>
              <a:gd name="T7" fmla="*/ 12067 h 18725"/>
              <a:gd name="T8" fmla="+- 0 9735 727"/>
              <a:gd name="T9" fmla="*/ T8 w 18016"/>
              <a:gd name="T10" fmla="+- 0 12067 2705"/>
              <a:gd name="T11" fmla="*/ 12067 h 18725"/>
              <a:gd name="T12" fmla="+- 0 9735 727"/>
              <a:gd name="T13" fmla="*/ T12 w 18016"/>
              <a:gd name="T14" fmla="+- 0 12067 2705"/>
              <a:gd name="T15" fmla="*/ 12067 h 18725"/>
            </a:gdLst>
            <a:ahLst/>
            <a:cxnLst>
              <a:cxn ang="0">
                <a:pos x="T1" y="T3"/>
              </a:cxn>
              <a:cxn ang="0">
                <a:pos x="T5" y="T7"/>
              </a:cxn>
              <a:cxn ang="0">
                <a:pos x="T9" y="T11"/>
              </a:cxn>
              <a:cxn ang="0">
                <a:pos x="T13" y="T15"/>
              </a:cxn>
            </a:cxnLst>
            <a:rect l="0" t="0" r="r" b="b"/>
            <a:pathLst>
              <a:path w="18016" h="18725">
                <a:moveTo>
                  <a:pt x="13328" y="18692"/>
                </a:moveTo>
                <a:cubicBezTo>
                  <a:pt x="12024" y="18297"/>
                  <a:pt x="10465" y="17700"/>
                  <a:pt x="8906" y="17700"/>
                </a:cubicBezTo>
                <a:cubicBezTo>
                  <a:pt x="7602" y="17700"/>
                  <a:pt x="6300" y="18692"/>
                  <a:pt x="4738" y="18692"/>
                </a:cubicBezTo>
                <a:cubicBezTo>
                  <a:pt x="4479" y="18894"/>
                  <a:pt x="4738" y="18101"/>
                  <a:pt x="4479" y="17903"/>
                </a:cubicBezTo>
                <a:cubicBezTo>
                  <a:pt x="3437" y="17506"/>
                  <a:pt x="2397" y="17108"/>
                  <a:pt x="1095" y="16711"/>
                </a:cubicBezTo>
                <a:lnTo>
                  <a:pt x="1355" y="15918"/>
                </a:lnTo>
                <a:cubicBezTo>
                  <a:pt x="7081" y="16316"/>
                  <a:pt x="-727" y="8590"/>
                  <a:pt x="55" y="6803"/>
                </a:cubicBezTo>
                <a:cubicBezTo>
                  <a:pt x="1095" y="4624"/>
                  <a:pt x="6300" y="-2705"/>
                  <a:pt x="9166" y="1055"/>
                </a:cubicBezTo>
                <a:cubicBezTo>
                  <a:pt x="8906" y="2048"/>
                  <a:pt x="8642" y="3040"/>
                  <a:pt x="9166" y="4624"/>
                </a:cubicBezTo>
                <a:cubicBezTo>
                  <a:pt x="10465" y="8782"/>
                  <a:pt x="16708" y="9179"/>
                  <a:pt x="17234" y="9776"/>
                </a:cubicBezTo>
                <a:cubicBezTo>
                  <a:pt x="20872" y="13142"/>
                  <a:pt x="10465" y="14730"/>
                  <a:pt x="13328" y="18692"/>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50" name="AutoShape 18"/>
          <p:cNvSpPr>
            <a:spLocks/>
          </p:cNvSpPr>
          <p:nvPr/>
        </p:nvSpPr>
        <p:spPr bwMode="auto">
          <a:xfrm>
            <a:off x="17018000" y="10299700"/>
            <a:ext cx="79375" cy="714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1" y="21600"/>
                </a:moveTo>
                <a:cubicBezTo>
                  <a:pt x="16561" y="21600"/>
                  <a:pt x="21600" y="15993"/>
                  <a:pt x="21600" y="10395"/>
                </a:cubicBezTo>
                <a:cubicBezTo>
                  <a:pt x="21600" y="4806"/>
                  <a:pt x="16561" y="0"/>
                  <a:pt x="10801" y="0"/>
                </a:cubicBezTo>
                <a:cubicBezTo>
                  <a:pt x="5049" y="0"/>
                  <a:pt x="0" y="4806"/>
                  <a:pt x="0" y="10395"/>
                </a:cubicBezTo>
                <a:cubicBezTo>
                  <a:pt x="0" y="15993"/>
                  <a:pt x="5049" y="21600"/>
                  <a:pt x="10801" y="21600"/>
                </a:cubicBezTo>
                <a:cubicBezTo>
                  <a:pt x="16561" y="21600"/>
                  <a:pt x="5049" y="21600"/>
                  <a:pt x="10801" y="2160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51" name="AutoShape 19"/>
          <p:cNvSpPr>
            <a:spLocks/>
          </p:cNvSpPr>
          <p:nvPr/>
        </p:nvSpPr>
        <p:spPr bwMode="auto">
          <a:xfrm>
            <a:off x="18415000" y="10247313"/>
            <a:ext cx="25400" cy="38100"/>
          </a:xfrm>
          <a:custGeom>
            <a:avLst/>
            <a:gdLst>
              <a:gd name="T0" fmla="*/ 8202 w 16404"/>
              <a:gd name="T1" fmla="+- 0 9522 4634"/>
              <a:gd name="T2" fmla="*/ 9522 h 9776"/>
              <a:gd name="T3" fmla="*/ 8202 w 16404"/>
              <a:gd name="T4" fmla="+- 0 9522 4634"/>
              <a:gd name="T5" fmla="*/ 9522 h 9776"/>
              <a:gd name="T6" fmla="*/ 8202 w 16404"/>
              <a:gd name="T7" fmla="+- 0 9522 4634"/>
              <a:gd name="T8" fmla="*/ 9522 h 9776"/>
              <a:gd name="T9" fmla="*/ 8202 w 16404"/>
              <a:gd name="T10" fmla="+- 0 9522 4634"/>
              <a:gd name="T11" fmla="*/ 9522 h 9776"/>
            </a:gdLst>
            <a:ahLst/>
            <a:cxnLst>
              <a:cxn ang="0">
                <a:pos x="T0" y="T2"/>
              </a:cxn>
              <a:cxn ang="0">
                <a:pos x="T3" y="T5"/>
              </a:cxn>
              <a:cxn ang="0">
                <a:pos x="T6" y="T8"/>
              </a:cxn>
              <a:cxn ang="0">
                <a:pos x="T9" y="T11"/>
              </a:cxn>
            </a:cxnLst>
            <a:rect l="0" t="0" r="r" b="b"/>
            <a:pathLst>
              <a:path w="16404" h="9776">
                <a:moveTo>
                  <a:pt x="0" y="7210"/>
                </a:moveTo>
                <a:cubicBezTo>
                  <a:pt x="3312" y="5101"/>
                  <a:pt x="3312" y="2332"/>
                  <a:pt x="8304" y="932"/>
                </a:cubicBezTo>
                <a:cubicBezTo>
                  <a:pt x="21599" y="-4634"/>
                  <a:pt x="18318" y="16965"/>
                  <a:pt x="0" y="721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52" name="AutoShape 20"/>
          <p:cNvSpPr>
            <a:spLocks/>
          </p:cNvSpPr>
          <p:nvPr/>
        </p:nvSpPr>
        <p:spPr bwMode="auto">
          <a:xfrm>
            <a:off x="15621000" y="10591800"/>
            <a:ext cx="84138" cy="71438"/>
          </a:xfrm>
          <a:custGeom>
            <a:avLst/>
            <a:gdLst>
              <a:gd name="T0" fmla="+- 0 13520 7180"/>
              <a:gd name="T1" fmla="*/ T0 w 12681"/>
              <a:gd name="T2" fmla="+- 0 8464 998"/>
              <a:gd name="T3" fmla="*/ 8464 h 14932"/>
              <a:gd name="T4" fmla="+- 0 13520 7180"/>
              <a:gd name="T5" fmla="*/ T4 w 12681"/>
              <a:gd name="T6" fmla="+- 0 8464 998"/>
              <a:gd name="T7" fmla="*/ 8464 h 14932"/>
              <a:gd name="T8" fmla="+- 0 13520 7180"/>
              <a:gd name="T9" fmla="*/ T8 w 12681"/>
              <a:gd name="T10" fmla="+- 0 8464 998"/>
              <a:gd name="T11" fmla="*/ 8464 h 14932"/>
              <a:gd name="T12" fmla="+- 0 13520 7180"/>
              <a:gd name="T13" fmla="*/ T12 w 12681"/>
              <a:gd name="T14" fmla="+- 0 8464 998"/>
              <a:gd name="T15" fmla="*/ 8464 h 14932"/>
            </a:gdLst>
            <a:ahLst/>
            <a:cxnLst>
              <a:cxn ang="0">
                <a:pos x="T1" y="T3"/>
              </a:cxn>
              <a:cxn ang="0">
                <a:pos x="T5" y="T7"/>
              </a:cxn>
              <a:cxn ang="0">
                <a:pos x="T9" y="T11"/>
              </a:cxn>
              <a:cxn ang="0">
                <a:pos x="T13" y="T15"/>
              </a:cxn>
            </a:cxnLst>
            <a:rect l="0" t="0" r="r" b="b"/>
            <a:pathLst>
              <a:path w="12681" h="14932">
                <a:moveTo>
                  <a:pt x="10490" y="13397"/>
                </a:moveTo>
                <a:cubicBezTo>
                  <a:pt x="-7180" y="20602"/>
                  <a:pt x="2641" y="114"/>
                  <a:pt x="3419" y="114"/>
                </a:cubicBezTo>
                <a:cubicBezTo>
                  <a:pt x="13632" y="-998"/>
                  <a:pt x="14419" y="6210"/>
                  <a:pt x="10490" y="13397"/>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53" name="AutoShape 21"/>
          <p:cNvSpPr>
            <a:spLocks/>
          </p:cNvSpPr>
          <p:nvPr/>
        </p:nvSpPr>
        <p:spPr bwMode="auto">
          <a:xfrm>
            <a:off x="20193000" y="4445000"/>
            <a:ext cx="887413" cy="728663"/>
          </a:xfrm>
          <a:custGeom>
            <a:avLst/>
            <a:gdLst>
              <a:gd name="T0" fmla="+- 0 11080 620"/>
              <a:gd name="T1" fmla="*/ T0 w 20921"/>
              <a:gd name="T2" fmla="*/ 10762 h 21524"/>
              <a:gd name="T3" fmla="+- 0 11080 620"/>
              <a:gd name="T4" fmla="*/ T3 w 20921"/>
              <a:gd name="T5" fmla="*/ 10762 h 21524"/>
              <a:gd name="T6" fmla="+- 0 11080 620"/>
              <a:gd name="T7" fmla="*/ T6 w 20921"/>
              <a:gd name="T8" fmla="*/ 10762 h 21524"/>
              <a:gd name="T9" fmla="+- 0 11080 620"/>
              <a:gd name="T10" fmla="*/ T9 w 20921"/>
              <a:gd name="T11" fmla="*/ 10762 h 21524"/>
            </a:gdLst>
            <a:ahLst/>
            <a:cxnLst>
              <a:cxn ang="0">
                <a:pos x="T1" y="T2"/>
              </a:cxn>
              <a:cxn ang="0">
                <a:pos x="T4" y="T5"/>
              </a:cxn>
              <a:cxn ang="0">
                <a:pos x="T7" y="T8"/>
              </a:cxn>
              <a:cxn ang="0">
                <a:pos x="T10" y="T11"/>
              </a:cxn>
            </a:cxnLst>
            <a:rect l="0" t="0" r="r" b="b"/>
            <a:pathLst>
              <a:path w="20921" h="21524">
                <a:moveTo>
                  <a:pt x="6060" y="20739"/>
                </a:moveTo>
                <a:cubicBezTo>
                  <a:pt x="6559" y="20582"/>
                  <a:pt x="8494" y="18313"/>
                  <a:pt x="9056" y="17765"/>
                </a:cubicBezTo>
                <a:cubicBezTo>
                  <a:pt x="9429" y="17452"/>
                  <a:pt x="10118" y="18939"/>
                  <a:pt x="9929" y="17922"/>
                </a:cubicBezTo>
                <a:cubicBezTo>
                  <a:pt x="9929" y="17844"/>
                  <a:pt x="9868" y="17844"/>
                  <a:pt x="9868" y="17765"/>
                </a:cubicBezTo>
                <a:cubicBezTo>
                  <a:pt x="9868" y="17608"/>
                  <a:pt x="9742" y="17373"/>
                  <a:pt x="9868" y="17373"/>
                </a:cubicBezTo>
                <a:cubicBezTo>
                  <a:pt x="10429" y="17373"/>
                  <a:pt x="11116" y="18547"/>
                  <a:pt x="11490" y="18704"/>
                </a:cubicBezTo>
                <a:cubicBezTo>
                  <a:pt x="11678" y="18783"/>
                  <a:pt x="11865" y="18313"/>
                  <a:pt x="12051" y="18313"/>
                </a:cubicBezTo>
                <a:cubicBezTo>
                  <a:pt x="12240" y="18391"/>
                  <a:pt x="12178" y="18860"/>
                  <a:pt x="12364" y="18939"/>
                </a:cubicBezTo>
                <a:cubicBezTo>
                  <a:pt x="12739" y="19096"/>
                  <a:pt x="13113" y="18626"/>
                  <a:pt x="13489" y="18783"/>
                </a:cubicBezTo>
                <a:cubicBezTo>
                  <a:pt x="13676" y="18860"/>
                  <a:pt x="13426" y="19330"/>
                  <a:pt x="13551" y="19487"/>
                </a:cubicBezTo>
                <a:cubicBezTo>
                  <a:pt x="13800" y="19956"/>
                  <a:pt x="15797" y="21599"/>
                  <a:pt x="16235" y="21521"/>
                </a:cubicBezTo>
                <a:cubicBezTo>
                  <a:pt x="16298" y="21521"/>
                  <a:pt x="17483" y="19877"/>
                  <a:pt x="17483" y="19877"/>
                </a:cubicBezTo>
                <a:cubicBezTo>
                  <a:pt x="17733" y="19800"/>
                  <a:pt x="19604" y="20660"/>
                  <a:pt x="19669" y="20269"/>
                </a:cubicBezTo>
                <a:cubicBezTo>
                  <a:pt x="19794" y="19877"/>
                  <a:pt x="19357" y="18783"/>
                  <a:pt x="19543" y="18547"/>
                </a:cubicBezTo>
                <a:cubicBezTo>
                  <a:pt x="19669" y="18391"/>
                  <a:pt x="19981" y="18391"/>
                  <a:pt x="20044" y="18156"/>
                </a:cubicBezTo>
                <a:cubicBezTo>
                  <a:pt x="20104" y="18000"/>
                  <a:pt x="19857" y="17922"/>
                  <a:pt x="19857" y="17687"/>
                </a:cubicBezTo>
                <a:cubicBezTo>
                  <a:pt x="19794" y="17531"/>
                  <a:pt x="19794" y="17295"/>
                  <a:pt x="19857" y="17139"/>
                </a:cubicBezTo>
                <a:cubicBezTo>
                  <a:pt x="20605" y="16357"/>
                  <a:pt x="20667" y="17217"/>
                  <a:pt x="20915" y="16277"/>
                </a:cubicBezTo>
                <a:cubicBezTo>
                  <a:pt x="20979" y="16043"/>
                  <a:pt x="20417" y="16200"/>
                  <a:pt x="20230" y="15964"/>
                </a:cubicBezTo>
                <a:cubicBezTo>
                  <a:pt x="19794" y="15419"/>
                  <a:pt x="20044" y="15025"/>
                  <a:pt x="19919" y="14478"/>
                </a:cubicBezTo>
                <a:cubicBezTo>
                  <a:pt x="19857" y="14244"/>
                  <a:pt x="18858" y="13539"/>
                  <a:pt x="18668" y="13305"/>
                </a:cubicBezTo>
                <a:cubicBezTo>
                  <a:pt x="18170" y="12208"/>
                  <a:pt x="18732" y="12678"/>
                  <a:pt x="18732" y="11661"/>
                </a:cubicBezTo>
                <a:cubicBezTo>
                  <a:pt x="18732" y="10253"/>
                  <a:pt x="17483" y="8765"/>
                  <a:pt x="17296" y="7358"/>
                </a:cubicBezTo>
                <a:cubicBezTo>
                  <a:pt x="17233" y="6496"/>
                  <a:pt x="17983" y="5870"/>
                  <a:pt x="18170" y="5244"/>
                </a:cubicBezTo>
                <a:lnTo>
                  <a:pt x="18233" y="3288"/>
                </a:lnTo>
                <a:cubicBezTo>
                  <a:pt x="18233" y="2897"/>
                  <a:pt x="17983" y="2427"/>
                  <a:pt x="18170" y="2114"/>
                </a:cubicBezTo>
                <a:cubicBezTo>
                  <a:pt x="18794" y="471"/>
                  <a:pt x="19857" y="1175"/>
                  <a:pt x="18357" y="0"/>
                </a:cubicBezTo>
                <a:cubicBezTo>
                  <a:pt x="18294" y="314"/>
                  <a:pt x="18170" y="627"/>
                  <a:pt x="17733" y="939"/>
                </a:cubicBezTo>
                <a:cubicBezTo>
                  <a:pt x="17170" y="1409"/>
                  <a:pt x="11303" y="1489"/>
                  <a:pt x="10304" y="1332"/>
                </a:cubicBezTo>
                <a:cubicBezTo>
                  <a:pt x="10118" y="1332"/>
                  <a:pt x="9992" y="939"/>
                  <a:pt x="9742" y="1018"/>
                </a:cubicBezTo>
                <a:cubicBezTo>
                  <a:pt x="8557" y="1332"/>
                  <a:pt x="11240" y="2192"/>
                  <a:pt x="9242" y="1879"/>
                </a:cubicBezTo>
                <a:cubicBezTo>
                  <a:pt x="8931" y="1799"/>
                  <a:pt x="8869" y="939"/>
                  <a:pt x="8557" y="1018"/>
                </a:cubicBezTo>
                <a:cubicBezTo>
                  <a:pt x="8306" y="1096"/>
                  <a:pt x="8743" y="1723"/>
                  <a:pt x="8618" y="2035"/>
                </a:cubicBezTo>
                <a:cubicBezTo>
                  <a:pt x="8431" y="2505"/>
                  <a:pt x="8057" y="2974"/>
                  <a:pt x="7681" y="3209"/>
                </a:cubicBezTo>
                <a:cubicBezTo>
                  <a:pt x="7058" y="3600"/>
                  <a:pt x="6371" y="3756"/>
                  <a:pt x="5685" y="3600"/>
                </a:cubicBezTo>
                <a:cubicBezTo>
                  <a:pt x="5435" y="3522"/>
                  <a:pt x="5248" y="2897"/>
                  <a:pt x="5060" y="3052"/>
                </a:cubicBezTo>
                <a:cubicBezTo>
                  <a:pt x="4748" y="3288"/>
                  <a:pt x="5498" y="4148"/>
                  <a:pt x="5185" y="4226"/>
                </a:cubicBezTo>
                <a:cubicBezTo>
                  <a:pt x="4561" y="4461"/>
                  <a:pt x="2688" y="4540"/>
                  <a:pt x="2314" y="5713"/>
                </a:cubicBezTo>
                <a:cubicBezTo>
                  <a:pt x="2188" y="6104"/>
                  <a:pt x="2876" y="6496"/>
                  <a:pt x="2688" y="6809"/>
                </a:cubicBezTo>
                <a:cubicBezTo>
                  <a:pt x="2376" y="7436"/>
                  <a:pt x="504" y="7279"/>
                  <a:pt x="255" y="7983"/>
                </a:cubicBezTo>
                <a:cubicBezTo>
                  <a:pt x="-620" y="10958"/>
                  <a:pt x="1002" y="9078"/>
                  <a:pt x="1376" y="10331"/>
                </a:cubicBezTo>
                <a:cubicBezTo>
                  <a:pt x="1565" y="11034"/>
                  <a:pt x="627" y="11895"/>
                  <a:pt x="877" y="12600"/>
                </a:cubicBezTo>
                <a:cubicBezTo>
                  <a:pt x="1127" y="13461"/>
                  <a:pt x="2126" y="14321"/>
                  <a:pt x="2251" y="14635"/>
                </a:cubicBezTo>
                <a:cubicBezTo>
                  <a:pt x="2626" y="15338"/>
                  <a:pt x="2001" y="16122"/>
                  <a:pt x="2814" y="16669"/>
                </a:cubicBezTo>
                <a:cubicBezTo>
                  <a:pt x="3126" y="16826"/>
                  <a:pt x="3499" y="16434"/>
                  <a:pt x="3812" y="16591"/>
                </a:cubicBezTo>
                <a:cubicBezTo>
                  <a:pt x="4124" y="16669"/>
                  <a:pt x="4311" y="17452"/>
                  <a:pt x="4625" y="17217"/>
                </a:cubicBezTo>
                <a:cubicBezTo>
                  <a:pt x="5060" y="16904"/>
                  <a:pt x="5060" y="13931"/>
                  <a:pt x="6371" y="15887"/>
                </a:cubicBezTo>
                <a:cubicBezTo>
                  <a:pt x="6496" y="16122"/>
                  <a:pt x="6060" y="16357"/>
                  <a:pt x="6060" y="16669"/>
                </a:cubicBezTo>
                <a:cubicBezTo>
                  <a:pt x="6060" y="17295"/>
                  <a:pt x="6308" y="17922"/>
                  <a:pt x="6308" y="18547"/>
                </a:cubicBezTo>
                <a:cubicBezTo>
                  <a:pt x="6308" y="20112"/>
                  <a:pt x="5809" y="19251"/>
                  <a:pt x="5935" y="20660"/>
                </a:cubicBezTo>
                <a:cubicBezTo>
                  <a:pt x="5935" y="20660"/>
                  <a:pt x="6060" y="20739"/>
                  <a:pt x="6060" y="20739"/>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54" name="AutoShape 22"/>
          <p:cNvSpPr>
            <a:spLocks/>
          </p:cNvSpPr>
          <p:nvPr/>
        </p:nvSpPr>
        <p:spPr bwMode="auto">
          <a:xfrm>
            <a:off x="20218400" y="10553700"/>
            <a:ext cx="530225" cy="1020763"/>
          </a:xfrm>
          <a:custGeom>
            <a:avLst/>
            <a:gdLst>
              <a:gd name="T0" fmla="*/ 10664 w 21328"/>
              <a:gd name="T1" fmla="+- 0 10634 53"/>
              <a:gd name="T2" fmla="*/ 10634 h 21163"/>
              <a:gd name="T3" fmla="*/ 10664 w 21328"/>
              <a:gd name="T4" fmla="+- 0 10634 53"/>
              <a:gd name="T5" fmla="*/ 10634 h 21163"/>
              <a:gd name="T6" fmla="*/ 10664 w 21328"/>
              <a:gd name="T7" fmla="+- 0 10634 53"/>
              <a:gd name="T8" fmla="*/ 10634 h 21163"/>
              <a:gd name="T9" fmla="*/ 10664 w 21328"/>
              <a:gd name="T10" fmla="+- 0 10634 53"/>
              <a:gd name="T11" fmla="*/ 10634 h 21163"/>
            </a:gdLst>
            <a:ahLst/>
            <a:cxnLst>
              <a:cxn ang="0">
                <a:pos x="T0" y="T2"/>
              </a:cxn>
              <a:cxn ang="0">
                <a:pos x="T3" y="T5"/>
              </a:cxn>
              <a:cxn ang="0">
                <a:pos x="T6" y="T8"/>
              </a:cxn>
              <a:cxn ang="0">
                <a:pos x="T9" y="T11"/>
              </a:cxn>
            </a:cxnLst>
            <a:rect l="0" t="0" r="r" b="b"/>
            <a:pathLst>
              <a:path w="21328" h="21163">
                <a:moveTo>
                  <a:pt x="20112" y="11983"/>
                </a:moveTo>
                <a:cubicBezTo>
                  <a:pt x="20112" y="12698"/>
                  <a:pt x="21600" y="12917"/>
                  <a:pt x="21283" y="13578"/>
                </a:cubicBezTo>
                <a:cubicBezTo>
                  <a:pt x="20217" y="15665"/>
                  <a:pt x="19581" y="13852"/>
                  <a:pt x="18833" y="15335"/>
                </a:cubicBezTo>
                <a:cubicBezTo>
                  <a:pt x="18833" y="15335"/>
                  <a:pt x="18196" y="17534"/>
                  <a:pt x="18196" y="17588"/>
                </a:cubicBezTo>
                <a:cubicBezTo>
                  <a:pt x="17983" y="17756"/>
                  <a:pt x="14683" y="18304"/>
                  <a:pt x="14576" y="18688"/>
                </a:cubicBezTo>
                <a:lnTo>
                  <a:pt x="15962" y="19789"/>
                </a:lnTo>
                <a:cubicBezTo>
                  <a:pt x="16281" y="20283"/>
                  <a:pt x="14792" y="19789"/>
                  <a:pt x="14792" y="20118"/>
                </a:cubicBezTo>
                <a:cubicBezTo>
                  <a:pt x="14896" y="21546"/>
                  <a:pt x="13725" y="20777"/>
                  <a:pt x="11915" y="20942"/>
                </a:cubicBezTo>
                <a:cubicBezTo>
                  <a:pt x="11808" y="20942"/>
                  <a:pt x="12023" y="20996"/>
                  <a:pt x="11915" y="21052"/>
                </a:cubicBezTo>
                <a:cubicBezTo>
                  <a:pt x="11808" y="21107"/>
                  <a:pt x="11808" y="21107"/>
                  <a:pt x="11706" y="21162"/>
                </a:cubicBezTo>
                <a:cubicBezTo>
                  <a:pt x="11596" y="21107"/>
                  <a:pt x="11596" y="21052"/>
                  <a:pt x="11491" y="20942"/>
                </a:cubicBezTo>
                <a:cubicBezTo>
                  <a:pt x="11491" y="20832"/>
                  <a:pt x="11491" y="20721"/>
                  <a:pt x="11491" y="20614"/>
                </a:cubicBezTo>
                <a:cubicBezTo>
                  <a:pt x="11491" y="20283"/>
                  <a:pt x="11808" y="20009"/>
                  <a:pt x="11596" y="19733"/>
                </a:cubicBezTo>
                <a:cubicBezTo>
                  <a:pt x="11385" y="19569"/>
                  <a:pt x="10747" y="19733"/>
                  <a:pt x="10536" y="19569"/>
                </a:cubicBezTo>
                <a:cubicBezTo>
                  <a:pt x="10003" y="19349"/>
                  <a:pt x="10107" y="18909"/>
                  <a:pt x="9683" y="18688"/>
                </a:cubicBezTo>
                <a:cubicBezTo>
                  <a:pt x="8939" y="18195"/>
                  <a:pt x="2129" y="17260"/>
                  <a:pt x="2874" y="16380"/>
                </a:cubicBezTo>
                <a:cubicBezTo>
                  <a:pt x="3193" y="15995"/>
                  <a:pt x="4683" y="16436"/>
                  <a:pt x="5001" y="16106"/>
                </a:cubicBezTo>
                <a:cubicBezTo>
                  <a:pt x="5105" y="15995"/>
                  <a:pt x="2979" y="15280"/>
                  <a:pt x="2661" y="14676"/>
                </a:cubicBezTo>
                <a:cubicBezTo>
                  <a:pt x="2552" y="14512"/>
                  <a:pt x="3085" y="14458"/>
                  <a:pt x="3085" y="14294"/>
                </a:cubicBezTo>
                <a:cubicBezTo>
                  <a:pt x="3193" y="14073"/>
                  <a:pt x="3085" y="13797"/>
                  <a:pt x="3193" y="13578"/>
                </a:cubicBezTo>
                <a:cubicBezTo>
                  <a:pt x="3193" y="13304"/>
                  <a:pt x="2874" y="13027"/>
                  <a:pt x="3193" y="12863"/>
                </a:cubicBezTo>
                <a:cubicBezTo>
                  <a:pt x="3405" y="12642"/>
                  <a:pt x="4255" y="12807"/>
                  <a:pt x="4576" y="12642"/>
                </a:cubicBezTo>
                <a:cubicBezTo>
                  <a:pt x="4787" y="12478"/>
                  <a:pt x="4576" y="12038"/>
                  <a:pt x="4255" y="12038"/>
                </a:cubicBezTo>
                <a:cubicBezTo>
                  <a:pt x="3832" y="12093"/>
                  <a:pt x="4152" y="12533"/>
                  <a:pt x="3832" y="12698"/>
                </a:cubicBezTo>
                <a:cubicBezTo>
                  <a:pt x="3193" y="12973"/>
                  <a:pt x="3832" y="10830"/>
                  <a:pt x="3937" y="10279"/>
                </a:cubicBezTo>
                <a:cubicBezTo>
                  <a:pt x="4152" y="9620"/>
                  <a:pt x="2339" y="9950"/>
                  <a:pt x="2339" y="9290"/>
                </a:cubicBezTo>
                <a:cubicBezTo>
                  <a:pt x="2339" y="8796"/>
                  <a:pt x="2235" y="8299"/>
                  <a:pt x="2767" y="7916"/>
                </a:cubicBezTo>
                <a:cubicBezTo>
                  <a:pt x="3085" y="7697"/>
                  <a:pt x="4043" y="7916"/>
                  <a:pt x="4470" y="7697"/>
                </a:cubicBezTo>
                <a:cubicBezTo>
                  <a:pt x="4683" y="7586"/>
                  <a:pt x="3937" y="7532"/>
                  <a:pt x="3832" y="7367"/>
                </a:cubicBezTo>
                <a:cubicBezTo>
                  <a:pt x="3726" y="6982"/>
                  <a:pt x="4470" y="6432"/>
                  <a:pt x="3937" y="6156"/>
                </a:cubicBezTo>
                <a:cubicBezTo>
                  <a:pt x="3299" y="5828"/>
                  <a:pt x="2235" y="6212"/>
                  <a:pt x="1384" y="6103"/>
                </a:cubicBezTo>
                <a:cubicBezTo>
                  <a:pt x="1384" y="5718"/>
                  <a:pt x="1384" y="5333"/>
                  <a:pt x="1384" y="5003"/>
                </a:cubicBezTo>
                <a:cubicBezTo>
                  <a:pt x="1384" y="4783"/>
                  <a:pt x="1595" y="4508"/>
                  <a:pt x="1384" y="4287"/>
                </a:cubicBezTo>
                <a:cubicBezTo>
                  <a:pt x="1064" y="4014"/>
                  <a:pt x="107" y="4014"/>
                  <a:pt x="0" y="3740"/>
                </a:cubicBezTo>
                <a:cubicBezTo>
                  <a:pt x="0" y="3683"/>
                  <a:pt x="3405" y="112"/>
                  <a:pt x="3726" y="1"/>
                </a:cubicBezTo>
                <a:cubicBezTo>
                  <a:pt x="3832" y="-53"/>
                  <a:pt x="4365" y="1321"/>
                  <a:pt x="5214" y="1376"/>
                </a:cubicBezTo>
                <a:lnTo>
                  <a:pt x="7448" y="442"/>
                </a:lnTo>
                <a:cubicBezTo>
                  <a:pt x="9152" y="442"/>
                  <a:pt x="8833" y="1815"/>
                  <a:pt x="9791" y="2091"/>
                </a:cubicBezTo>
                <a:cubicBezTo>
                  <a:pt x="10107" y="2199"/>
                  <a:pt x="10429" y="1980"/>
                  <a:pt x="10854" y="2035"/>
                </a:cubicBezTo>
                <a:cubicBezTo>
                  <a:pt x="11596" y="2145"/>
                  <a:pt x="12344" y="2310"/>
                  <a:pt x="12876" y="2587"/>
                </a:cubicBezTo>
                <a:cubicBezTo>
                  <a:pt x="14896" y="3740"/>
                  <a:pt x="13409" y="4893"/>
                  <a:pt x="13620" y="6047"/>
                </a:cubicBezTo>
                <a:cubicBezTo>
                  <a:pt x="13620" y="6432"/>
                  <a:pt x="14260" y="6762"/>
                  <a:pt x="14260" y="7092"/>
                </a:cubicBezTo>
                <a:cubicBezTo>
                  <a:pt x="14153" y="7257"/>
                  <a:pt x="13301" y="7257"/>
                  <a:pt x="13409" y="7422"/>
                </a:cubicBezTo>
                <a:cubicBezTo>
                  <a:pt x="13513" y="7807"/>
                  <a:pt x="14576" y="8025"/>
                  <a:pt x="14683" y="8412"/>
                </a:cubicBezTo>
                <a:cubicBezTo>
                  <a:pt x="14792" y="8576"/>
                  <a:pt x="14153" y="8740"/>
                  <a:pt x="14153" y="8905"/>
                </a:cubicBezTo>
                <a:cubicBezTo>
                  <a:pt x="14153" y="9346"/>
                  <a:pt x="16917" y="11380"/>
                  <a:pt x="17345" y="11709"/>
                </a:cubicBezTo>
                <a:cubicBezTo>
                  <a:pt x="17983" y="12093"/>
                  <a:pt x="18409" y="11490"/>
                  <a:pt x="18728" y="11490"/>
                </a:cubicBezTo>
                <a:cubicBezTo>
                  <a:pt x="19154" y="11434"/>
                  <a:pt x="19686" y="11490"/>
                  <a:pt x="20003" y="11599"/>
                </a:cubicBezTo>
                <a:cubicBezTo>
                  <a:pt x="20217" y="11709"/>
                  <a:pt x="19898" y="11983"/>
                  <a:pt x="20112" y="11983"/>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55" name="AutoShape 23"/>
          <p:cNvSpPr>
            <a:spLocks/>
          </p:cNvSpPr>
          <p:nvPr/>
        </p:nvSpPr>
        <p:spPr bwMode="auto">
          <a:xfrm>
            <a:off x="20915313" y="9688513"/>
            <a:ext cx="1555750" cy="1184275"/>
          </a:xfrm>
          <a:custGeom>
            <a:avLst/>
            <a:gdLst>
              <a:gd name="T0" fmla="+- 0 10857 200"/>
              <a:gd name="T1" fmla="*/ T0 w 21314"/>
              <a:gd name="T2" fmla="+- 0 11057 514"/>
              <a:gd name="T3" fmla="*/ 11057 h 21086"/>
              <a:gd name="T4" fmla="+- 0 10857 200"/>
              <a:gd name="T5" fmla="*/ T4 w 21314"/>
              <a:gd name="T6" fmla="+- 0 11057 514"/>
              <a:gd name="T7" fmla="*/ 11057 h 21086"/>
              <a:gd name="T8" fmla="+- 0 10857 200"/>
              <a:gd name="T9" fmla="*/ T8 w 21314"/>
              <a:gd name="T10" fmla="+- 0 11057 514"/>
              <a:gd name="T11" fmla="*/ 11057 h 21086"/>
              <a:gd name="T12" fmla="+- 0 10857 200"/>
              <a:gd name="T13" fmla="*/ T12 w 21314"/>
              <a:gd name="T14" fmla="+- 0 11057 514"/>
              <a:gd name="T15" fmla="*/ 11057 h 21086"/>
            </a:gdLst>
            <a:ahLst/>
            <a:cxnLst>
              <a:cxn ang="0">
                <a:pos x="T1" y="T3"/>
              </a:cxn>
              <a:cxn ang="0">
                <a:pos x="T5" y="T7"/>
              </a:cxn>
              <a:cxn ang="0">
                <a:pos x="T9" y="T11"/>
              </a:cxn>
              <a:cxn ang="0">
                <a:pos x="T13" y="T15"/>
              </a:cxn>
            </a:cxnLst>
            <a:rect l="0" t="0" r="r" b="b"/>
            <a:pathLst>
              <a:path w="21314" h="21086">
                <a:moveTo>
                  <a:pt x="15582" y="15509"/>
                </a:moveTo>
                <a:cubicBezTo>
                  <a:pt x="15400" y="15462"/>
                  <a:pt x="15217" y="15462"/>
                  <a:pt x="15108" y="15462"/>
                </a:cubicBezTo>
                <a:cubicBezTo>
                  <a:pt x="13691" y="15838"/>
                  <a:pt x="15981" y="17162"/>
                  <a:pt x="15182" y="17966"/>
                </a:cubicBezTo>
                <a:cubicBezTo>
                  <a:pt x="15182" y="17966"/>
                  <a:pt x="14054" y="18439"/>
                  <a:pt x="14018" y="18439"/>
                </a:cubicBezTo>
                <a:cubicBezTo>
                  <a:pt x="13509" y="18675"/>
                  <a:pt x="12672" y="19525"/>
                  <a:pt x="12127" y="19478"/>
                </a:cubicBezTo>
                <a:cubicBezTo>
                  <a:pt x="12018" y="19478"/>
                  <a:pt x="12090" y="19242"/>
                  <a:pt x="12018" y="19195"/>
                </a:cubicBezTo>
                <a:cubicBezTo>
                  <a:pt x="11654" y="18958"/>
                  <a:pt x="11181" y="18675"/>
                  <a:pt x="10781" y="18817"/>
                </a:cubicBezTo>
                <a:cubicBezTo>
                  <a:pt x="10636" y="18865"/>
                  <a:pt x="10636" y="19242"/>
                  <a:pt x="10491" y="19290"/>
                </a:cubicBezTo>
                <a:cubicBezTo>
                  <a:pt x="10382" y="19336"/>
                  <a:pt x="10309" y="19006"/>
                  <a:pt x="10200" y="18958"/>
                </a:cubicBezTo>
                <a:cubicBezTo>
                  <a:pt x="10127" y="18910"/>
                  <a:pt x="10018" y="19100"/>
                  <a:pt x="9982" y="19006"/>
                </a:cubicBezTo>
                <a:cubicBezTo>
                  <a:pt x="9727" y="18817"/>
                  <a:pt x="9654" y="18297"/>
                  <a:pt x="9364" y="18249"/>
                </a:cubicBezTo>
                <a:cubicBezTo>
                  <a:pt x="9145" y="18155"/>
                  <a:pt x="9036" y="18628"/>
                  <a:pt x="8818" y="18675"/>
                </a:cubicBezTo>
                <a:cubicBezTo>
                  <a:pt x="8672" y="18770"/>
                  <a:pt x="8490" y="18391"/>
                  <a:pt x="8382" y="18485"/>
                </a:cubicBezTo>
                <a:cubicBezTo>
                  <a:pt x="7728" y="19006"/>
                  <a:pt x="7472" y="19573"/>
                  <a:pt x="6455" y="20046"/>
                </a:cubicBezTo>
                <a:cubicBezTo>
                  <a:pt x="6018" y="20235"/>
                  <a:pt x="5472" y="20046"/>
                  <a:pt x="5073" y="20376"/>
                </a:cubicBezTo>
                <a:cubicBezTo>
                  <a:pt x="4927" y="20471"/>
                  <a:pt x="4927" y="20849"/>
                  <a:pt x="4781" y="20944"/>
                </a:cubicBezTo>
                <a:cubicBezTo>
                  <a:pt x="4673" y="21086"/>
                  <a:pt x="4490" y="20944"/>
                  <a:pt x="4345" y="20944"/>
                </a:cubicBezTo>
                <a:cubicBezTo>
                  <a:pt x="4200" y="20944"/>
                  <a:pt x="4018" y="20944"/>
                  <a:pt x="3873" y="20944"/>
                </a:cubicBezTo>
                <a:cubicBezTo>
                  <a:pt x="3836" y="20991"/>
                  <a:pt x="3873" y="21086"/>
                  <a:pt x="3873" y="21086"/>
                </a:cubicBezTo>
                <a:cubicBezTo>
                  <a:pt x="3945" y="20802"/>
                  <a:pt x="3873" y="18344"/>
                  <a:pt x="3836" y="18344"/>
                </a:cubicBezTo>
                <a:cubicBezTo>
                  <a:pt x="3582" y="18014"/>
                  <a:pt x="3182" y="17068"/>
                  <a:pt x="2854" y="16784"/>
                </a:cubicBezTo>
                <a:cubicBezTo>
                  <a:pt x="2672" y="16643"/>
                  <a:pt x="2418" y="16784"/>
                  <a:pt x="2200" y="16643"/>
                </a:cubicBezTo>
                <a:cubicBezTo>
                  <a:pt x="2128" y="16595"/>
                  <a:pt x="1145" y="15603"/>
                  <a:pt x="1145" y="15509"/>
                </a:cubicBezTo>
                <a:cubicBezTo>
                  <a:pt x="1327" y="15083"/>
                  <a:pt x="1836" y="14987"/>
                  <a:pt x="1655" y="14374"/>
                </a:cubicBezTo>
                <a:cubicBezTo>
                  <a:pt x="1619" y="14184"/>
                  <a:pt x="1509" y="14091"/>
                  <a:pt x="1399" y="13996"/>
                </a:cubicBezTo>
                <a:cubicBezTo>
                  <a:pt x="1327" y="13948"/>
                  <a:pt x="1218" y="14042"/>
                  <a:pt x="1182" y="13948"/>
                </a:cubicBezTo>
                <a:cubicBezTo>
                  <a:pt x="1145" y="13712"/>
                  <a:pt x="1182" y="13476"/>
                  <a:pt x="1182" y="13239"/>
                </a:cubicBezTo>
                <a:cubicBezTo>
                  <a:pt x="1145" y="12956"/>
                  <a:pt x="891" y="12672"/>
                  <a:pt x="1000" y="12436"/>
                </a:cubicBezTo>
                <a:cubicBezTo>
                  <a:pt x="2055" y="10166"/>
                  <a:pt x="854" y="12956"/>
                  <a:pt x="2018" y="11774"/>
                </a:cubicBezTo>
                <a:cubicBezTo>
                  <a:pt x="2128" y="11632"/>
                  <a:pt x="2891" y="9883"/>
                  <a:pt x="2672" y="9600"/>
                </a:cubicBezTo>
                <a:cubicBezTo>
                  <a:pt x="2381" y="9316"/>
                  <a:pt x="1000" y="8465"/>
                  <a:pt x="927" y="8371"/>
                </a:cubicBezTo>
                <a:cubicBezTo>
                  <a:pt x="490" y="7898"/>
                  <a:pt x="-200" y="5913"/>
                  <a:pt x="54" y="5205"/>
                </a:cubicBezTo>
                <a:cubicBezTo>
                  <a:pt x="163" y="4874"/>
                  <a:pt x="563" y="4921"/>
                  <a:pt x="709" y="4638"/>
                </a:cubicBezTo>
                <a:cubicBezTo>
                  <a:pt x="819" y="4307"/>
                  <a:pt x="672" y="3881"/>
                  <a:pt x="782" y="3550"/>
                </a:cubicBezTo>
                <a:cubicBezTo>
                  <a:pt x="1255" y="3834"/>
                  <a:pt x="1836" y="4022"/>
                  <a:pt x="2091" y="4211"/>
                </a:cubicBezTo>
                <a:cubicBezTo>
                  <a:pt x="2418" y="4401"/>
                  <a:pt x="1035" y="5441"/>
                  <a:pt x="1655" y="5772"/>
                </a:cubicBezTo>
                <a:cubicBezTo>
                  <a:pt x="2528" y="6244"/>
                  <a:pt x="2782" y="5394"/>
                  <a:pt x="3582" y="5299"/>
                </a:cubicBezTo>
                <a:cubicBezTo>
                  <a:pt x="4600" y="5157"/>
                  <a:pt x="5800" y="5913"/>
                  <a:pt x="6819" y="5441"/>
                </a:cubicBezTo>
                <a:cubicBezTo>
                  <a:pt x="7036" y="5347"/>
                  <a:pt x="7109" y="4968"/>
                  <a:pt x="7327" y="4874"/>
                </a:cubicBezTo>
                <a:cubicBezTo>
                  <a:pt x="7873" y="4638"/>
                  <a:pt x="8490" y="4685"/>
                  <a:pt x="9072" y="4732"/>
                </a:cubicBezTo>
                <a:cubicBezTo>
                  <a:pt x="9801" y="4779"/>
                  <a:pt x="10345" y="5157"/>
                  <a:pt x="11073" y="4591"/>
                </a:cubicBezTo>
                <a:cubicBezTo>
                  <a:pt x="11872" y="3928"/>
                  <a:pt x="11981" y="2936"/>
                  <a:pt x="12600" y="2133"/>
                </a:cubicBezTo>
                <a:cubicBezTo>
                  <a:pt x="13146" y="1424"/>
                  <a:pt x="14418" y="668"/>
                  <a:pt x="15108" y="289"/>
                </a:cubicBezTo>
                <a:cubicBezTo>
                  <a:pt x="16745" y="-514"/>
                  <a:pt x="16236" y="620"/>
                  <a:pt x="16854" y="526"/>
                </a:cubicBezTo>
                <a:cubicBezTo>
                  <a:pt x="17145" y="479"/>
                  <a:pt x="17363" y="52"/>
                  <a:pt x="17654" y="52"/>
                </a:cubicBezTo>
                <a:cubicBezTo>
                  <a:pt x="18600" y="5"/>
                  <a:pt x="17435" y="951"/>
                  <a:pt x="18309" y="336"/>
                </a:cubicBezTo>
                <a:cubicBezTo>
                  <a:pt x="18417" y="289"/>
                  <a:pt x="18490" y="100"/>
                  <a:pt x="18600" y="52"/>
                </a:cubicBezTo>
                <a:cubicBezTo>
                  <a:pt x="18818" y="-88"/>
                  <a:pt x="18854" y="573"/>
                  <a:pt x="19036" y="762"/>
                </a:cubicBezTo>
                <a:cubicBezTo>
                  <a:pt x="19581" y="1376"/>
                  <a:pt x="20526" y="951"/>
                  <a:pt x="21109" y="809"/>
                </a:cubicBezTo>
                <a:lnTo>
                  <a:pt x="21181" y="809"/>
                </a:lnTo>
                <a:cubicBezTo>
                  <a:pt x="21327" y="1991"/>
                  <a:pt x="21399" y="3077"/>
                  <a:pt x="21145" y="3266"/>
                </a:cubicBezTo>
                <a:cubicBezTo>
                  <a:pt x="21000" y="3359"/>
                  <a:pt x="20818" y="3031"/>
                  <a:pt x="20636" y="3077"/>
                </a:cubicBezTo>
                <a:cubicBezTo>
                  <a:pt x="19291" y="3550"/>
                  <a:pt x="20163" y="3504"/>
                  <a:pt x="19763" y="4543"/>
                </a:cubicBezTo>
                <a:cubicBezTo>
                  <a:pt x="19727" y="4732"/>
                  <a:pt x="19473" y="4732"/>
                  <a:pt x="19400" y="4874"/>
                </a:cubicBezTo>
                <a:cubicBezTo>
                  <a:pt x="19400" y="4968"/>
                  <a:pt x="19617" y="4921"/>
                  <a:pt x="19617" y="5016"/>
                </a:cubicBezTo>
                <a:cubicBezTo>
                  <a:pt x="19691" y="5772"/>
                  <a:pt x="19654" y="6244"/>
                  <a:pt x="19799" y="7001"/>
                </a:cubicBezTo>
                <a:cubicBezTo>
                  <a:pt x="19836" y="7284"/>
                  <a:pt x="20054" y="7662"/>
                  <a:pt x="19945" y="7898"/>
                </a:cubicBezTo>
                <a:cubicBezTo>
                  <a:pt x="19836" y="8135"/>
                  <a:pt x="19509" y="7993"/>
                  <a:pt x="19326" y="8135"/>
                </a:cubicBezTo>
                <a:cubicBezTo>
                  <a:pt x="19291" y="8135"/>
                  <a:pt x="19436" y="8229"/>
                  <a:pt x="19436" y="8276"/>
                </a:cubicBezTo>
                <a:cubicBezTo>
                  <a:pt x="19363" y="8465"/>
                  <a:pt x="19181" y="8513"/>
                  <a:pt x="19145" y="8702"/>
                </a:cubicBezTo>
                <a:cubicBezTo>
                  <a:pt x="19109" y="8844"/>
                  <a:pt x="19326" y="8986"/>
                  <a:pt x="19254" y="9080"/>
                </a:cubicBezTo>
                <a:cubicBezTo>
                  <a:pt x="19109" y="9364"/>
                  <a:pt x="18782" y="9458"/>
                  <a:pt x="18636" y="9742"/>
                </a:cubicBezTo>
                <a:cubicBezTo>
                  <a:pt x="17982" y="10876"/>
                  <a:pt x="19581" y="9175"/>
                  <a:pt x="19981" y="10452"/>
                </a:cubicBezTo>
                <a:cubicBezTo>
                  <a:pt x="20018" y="10546"/>
                  <a:pt x="19909" y="10688"/>
                  <a:pt x="19909" y="10782"/>
                </a:cubicBezTo>
                <a:cubicBezTo>
                  <a:pt x="19945" y="10829"/>
                  <a:pt x="20745" y="11444"/>
                  <a:pt x="20927" y="11632"/>
                </a:cubicBezTo>
                <a:cubicBezTo>
                  <a:pt x="21036" y="11822"/>
                  <a:pt x="21145" y="11963"/>
                  <a:pt x="21181" y="12106"/>
                </a:cubicBezTo>
                <a:lnTo>
                  <a:pt x="21109" y="12106"/>
                </a:lnTo>
                <a:cubicBezTo>
                  <a:pt x="20891" y="12152"/>
                  <a:pt x="20673" y="12106"/>
                  <a:pt x="20454" y="12199"/>
                </a:cubicBezTo>
                <a:cubicBezTo>
                  <a:pt x="20163" y="12342"/>
                  <a:pt x="19945" y="12672"/>
                  <a:pt x="19691" y="12909"/>
                </a:cubicBezTo>
                <a:cubicBezTo>
                  <a:pt x="19617" y="12956"/>
                  <a:pt x="19691" y="13146"/>
                  <a:pt x="19654" y="13098"/>
                </a:cubicBezTo>
                <a:cubicBezTo>
                  <a:pt x="18818" y="12862"/>
                  <a:pt x="18563" y="12011"/>
                  <a:pt x="17727" y="12578"/>
                </a:cubicBezTo>
                <a:lnTo>
                  <a:pt x="17109" y="13476"/>
                </a:lnTo>
                <a:cubicBezTo>
                  <a:pt x="16854" y="13617"/>
                  <a:pt x="16528" y="13381"/>
                  <a:pt x="16345" y="13617"/>
                </a:cubicBezTo>
                <a:cubicBezTo>
                  <a:pt x="16127" y="13854"/>
                  <a:pt x="16345" y="14327"/>
                  <a:pt x="16200" y="14610"/>
                </a:cubicBezTo>
                <a:cubicBezTo>
                  <a:pt x="15981" y="14941"/>
                  <a:pt x="15254" y="14799"/>
                  <a:pt x="15582" y="15509"/>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56" name="AutoShape 24"/>
          <p:cNvSpPr>
            <a:spLocks/>
          </p:cNvSpPr>
          <p:nvPr/>
        </p:nvSpPr>
        <p:spPr bwMode="auto">
          <a:xfrm>
            <a:off x="20294600" y="8305800"/>
            <a:ext cx="2322513" cy="1725613"/>
          </a:xfrm>
          <a:custGeom>
            <a:avLst/>
            <a:gdLst>
              <a:gd name="T0" fmla="*/ 10800 w 21600"/>
              <a:gd name="T1" fmla="*/ 10685 h 21371"/>
              <a:gd name="T2" fmla="*/ 10800 w 21600"/>
              <a:gd name="T3" fmla="*/ 10685 h 21371"/>
              <a:gd name="T4" fmla="*/ 10800 w 21600"/>
              <a:gd name="T5" fmla="*/ 10685 h 21371"/>
              <a:gd name="T6" fmla="*/ 10800 w 21600"/>
              <a:gd name="T7" fmla="*/ 10685 h 21371"/>
            </a:gdLst>
            <a:ahLst/>
            <a:cxnLst>
              <a:cxn ang="0">
                <a:pos x="T0" y="T1"/>
              </a:cxn>
              <a:cxn ang="0">
                <a:pos x="T2" y="T3"/>
              </a:cxn>
              <a:cxn ang="0">
                <a:pos x="T4" y="T5"/>
              </a:cxn>
              <a:cxn ang="0">
                <a:pos x="T6" y="T7"/>
              </a:cxn>
            </a:cxnLst>
            <a:rect l="0" t="0" r="r" b="b"/>
            <a:pathLst>
              <a:path w="21600" h="21371">
                <a:moveTo>
                  <a:pt x="20144" y="17825"/>
                </a:moveTo>
                <a:cubicBezTo>
                  <a:pt x="19750" y="17924"/>
                  <a:pt x="19109" y="18219"/>
                  <a:pt x="18739" y="17792"/>
                </a:cubicBezTo>
                <a:cubicBezTo>
                  <a:pt x="18615" y="17661"/>
                  <a:pt x="18591" y="17201"/>
                  <a:pt x="18443" y="17299"/>
                </a:cubicBezTo>
                <a:cubicBezTo>
                  <a:pt x="18369" y="17332"/>
                  <a:pt x="18320" y="17463"/>
                  <a:pt x="18246" y="17496"/>
                </a:cubicBezTo>
                <a:cubicBezTo>
                  <a:pt x="17654" y="17924"/>
                  <a:pt x="18443" y="17266"/>
                  <a:pt x="17802" y="17299"/>
                </a:cubicBezTo>
                <a:cubicBezTo>
                  <a:pt x="17605" y="17299"/>
                  <a:pt x="17457" y="17596"/>
                  <a:pt x="17259" y="17628"/>
                </a:cubicBezTo>
                <a:cubicBezTo>
                  <a:pt x="16841" y="17694"/>
                  <a:pt x="17185" y="16906"/>
                  <a:pt x="16076" y="17463"/>
                </a:cubicBezTo>
                <a:cubicBezTo>
                  <a:pt x="15608" y="17727"/>
                  <a:pt x="14745" y="18252"/>
                  <a:pt x="14375" y="18744"/>
                </a:cubicBezTo>
                <a:cubicBezTo>
                  <a:pt x="13956" y="19302"/>
                  <a:pt x="13882" y="19991"/>
                  <a:pt x="13340" y="20452"/>
                </a:cubicBezTo>
                <a:cubicBezTo>
                  <a:pt x="12846" y="20845"/>
                  <a:pt x="12477" y="20583"/>
                  <a:pt x="11983" y="20549"/>
                </a:cubicBezTo>
                <a:cubicBezTo>
                  <a:pt x="11588" y="20517"/>
                  <a:pt x="11169" y="20484"/>
                  <a:pt x="10799" y="20648"/>
                </a:cubicBezTo>
                <a:cubicBezTo>
                  <a:pt x="10652" y="20713"/>
                  <a:pt x="10602" y="20976"/>
                  <a:pt x="10455" y="21042"/>
                </a:cubicBezTo>
                <a:cubicBezTo>
                  <a:pt x="9764" y="21370"/>
                  <a:pt x="8950" y="20845"/>
                  <a:pt x="8260" y="20944"/>
                </a:cubicBezTo>
                <a:cubicBezTo>
                  <a:pt x="7718" y="21009"/>
                  <a:pt x="7545" y="21600"/>
                  <a:pt x="6953" y="21272"/>
                </a:cubicBezTo>
                <a:cubicBezTo>
                  <a:pt x="6533" y="21042"/>
                  <a:pt x="7471" y="20320"/>
                  <a:pt x="7249" y="20188"/>
                </a:cubicBezTo>
                <a:cubicBezTo>
                  <a:pt x="6855" y="19958"/>
                  <a:pt x="5671" y="19630"/>
                  <a:pt x="5744" y="18777"/>
                </a:cubicBezTo>
                <a:cubicBezTo>
                  <a:pt x="5770" y="18481"/>
                  <a:pt x="6583" y="18448"/>
                  <a:pt x="6336" y="18284"/>
                </a:cubicBezTo>
                <a:cubicBezTo>
                  <a:pt x="3723" y="16544"/>
                  <a:pt x="6065" y="18120"/>
                  <a:pt x="5005" y="18941"/>
                </a:cubicBezTo>
                <a:cubicBezTo>
                  <a:pt x="4832" y="19104"/>
                  <a:pt x="4734" y="18513"/>
                  <a:pt x="4562" y="18416"/>
                </a:cubicBezTo>
                <a:cubicBezTo>
                  <a:pt x="4438" y="18317"/>
                  <a:pt x="4265" y="18416"/>
                  <a:pt x="4142" y="18416"/>
                </a:cubicBezTo>
                <a:cubicBezTo>
                  <a:pt x="3994" y="18416"/>
                  <a:pt x="3847" y="18513"/>
                  <a:pt x="3698" y="18448"/>
                </a:cubicBezTo>
                <a:cubicBezTo>
                  <a:pt x="3624" y="18383"/>
                  <a:pt x="3673" y="18219"/>
                  <a:pt x="3624" y="18087"/>
                </a:cubicBezTo>
                <a:cubicBezTo>
                  <a:pt x="3501" y="17760"/>
                  <a:pt x="2441" y="18284"/>
                  <a:pt x="3033" y="17727"/>
                </a:cubicBezTo>
                <a:cubicBezTo>
                  <a:pt x="3180" y="17596"/>
                  <a:pt x="3550" y="17463"/>
                  <a:pt x="3427" y="17332"/>
                </a:cubicBezTo>
                <a:cubicBezTo>
                  <a:pt x="3303" y="17234"/>
                  <a:pt x="3057" y="17332"/>
                  <a:pt x="3008" y="17135"/>
                </a:cubicBezTo>
                <a:cubicBezTo>
                  <a:pt x="2983" y="16939"/>
                  <a:pt x="3501" y="16577"/>
                  <a:pt x="3156" y="16314"/>
                </a:cubicBezTo>
                <a:cubicBezTo>
                  <a:pt x="2687" y="15953"/>
                  <a:pt x="1751" y="16117"/>
                  <a:pt x="1430" y="15362"/>
                </a:cubicBezTo>
                <a:cubicBezTo>
                  <a:pt x="1356" y="15198"/>
                  <a:pt x="1356" y="14411"/>
                  <a:pt x="1356" y="14215"/>
                </a:cubicBezTo>
                <a:cubicBezTo>
                  <a:pt x="1356" y="14181"/>
                  <a:pt x="1356" y="14148"/>
                  <a:pt x="1356" y="14148"/>
                </a:cubicBezTo>
                <a:cubicBezTo>
                  <a:pt x="1282" y="14181"/>
                  <a:pt x="1233" y="14377"/>
                  <a:pt x="1183" y="14312"/>
                </a:cubicBezTo>
                <a:cubicBezTo>
                  <a:pt x="1010" y="14181"/>
                  <a:pt x="986" y="13819"/>
                  <a:pt x="838" y="13656"/>
                </a:cubicBezTo>
                <a:cubicBezTo>
                  <a:pt x="690" y="13524"/>
                  <a:pt x="468" y="13557"/>
                  <a:pt x="321" y="13392"/>
                </a:cubicBezTo>
                <a:cubicBezTo>
                  <a:pt x="172" y="13294"/>
                  <a:pt x="98" y="13065"/>
                  <a:pt x="0" y="12901"/>
                </a:cubicBezTo>
                <a:cubicBezTo>
                  <a:pt x="49" y="12868"/>
                  <a:pt x="74" y="12736"/>
                  <a:pt x="123" y="12703"/>
                </a:cubicBezTo>
                <a:cubicBezTo>
                  <a:pt x="271" y="12638"/>
                  <a:pt x="1010" y="12540"/>
                  <a:pt x="1060" y="12309"/>
                </a:cubicBezTo>
                <a:cubicBezTo>
                  <a:pt x="1109" y="12178"/>
                  <a:pt x="739" y="12014"/>
                  <a:pt x="1183" y="11916"/>
                </a:cubicBezTo>
                <a:cubicBezTo>
                  <a:pt x="1356" y="11883"/>
                  <a:pt x="1528" y="12113"/>
                  <a:pt x="1676" y="12047"/>
                </a:cubicBezTo>
                <a:cubicBezTo>
                  <a:pt x="2145" y="11817"/>
                  <a:pt x="1996" y="10636"/>
                  <a:pt x="2120" y="10274"/>
                </a:cubicBezTo>
                <a:cubicBezTo>
                  <a:pt x="2170" y="10176"/>
                  <a:pt x="2293" y="10176"/>
                  <a:pt x="2342" y="10078"/>
                </a:cubicBezTo>
                <a:lnTo>
                  <a:pt x="2614" y="8929"/>
                </a:lnTo>
                <a:cubicBezTo>
                  <a:pt x="2663" y="8764"/>
                  <a:pt x="2737" y="8633"/>
                  <a:pt x="2737" y="8468"/>
                </a:cubicBezTo>
                <a:cubicBezTo>
                  <a:pt x="2737" y="8404"/>
                  <a:pt x="2614" y="8404"/>
                  <a:pt x="2614" y="8337"/>
                </a:cubicBezTo>
                <a:cubicBezTo>
                  <a:pt x="2638" y="8042"/>
                  <a:pt x="2909" y="7123"/>
                  <a:pt x="3033" y="6860"/>
                </a:cubicBezTo>
                <a:cubicBezTo>
                  <a:pt x="3082" y="6795"/>
                  <a:pt x="3205" y="6860"/>
                  <a:pt x="3205" y="6762"/>
                </a:cubicBezTo>
                <a:cubicBezTo>
                  <a:pt x="3328" y="6138"/>
                  <a:pt x="3156" y="5679"/>
                  <a:pt x="3698" y="4990"/>
                </a:cubicBezTo>
                <a:cubicBezTo>
                  <a:pt x="3871" y="4727"/>
                  <a:pt x="4068" y="4891"/>
                  <a:pt x="4339" y="4759"/>
                </a:cubicBezTo>
                <a:cubicBezTo>
                  <a:pt x="4610" y="4596"/>
                  <a:pt x="4635" y="4103"/>
                  <a:pt x="4832" y="3840"/>
                </a:cubicBezTo>
                <a:cubicBezTo>
                  <a:pt x="4907" y="3905"/>
                  <a:pt x="5055" y="3774"/>
                  <a:pt x="5226" y="3151"/>
                </a:cubicBezTo>
                <a:cubicBezTo>
                  <a:pt x="5252" y="3085"/>
                  <a:pt x="5252" y="2987"/>
                  <a:pt x="5301" y="2987"/>
                </a:cubicBezTo>
                <a:cubicBezTo>
                  <a:pt x="5375" y="2987"/>
                  <a:pt x="5991" y="3380"/>
                  <a:pt x="6065" y="3380"/>
                </a:cubicBezTo>
                <a:cubicBezTo>
                  <a:pt x="6115" y="3380"/>
                  <a:pt x="6140" y="3216"/>
                  <a:pt x="6189" y="3183"/>
                </a:cubicBezTo>
                <a:cubicBezTo>
                  <a:pt x="6509" y="3019"/>
                  <a:pt x="7323" y="3446"/>
                  <a:pt x="7718" y="3315"/>
                </a:cubicBezTo>
                <a:cubicBezTo>
                  <a:pt x="7940" y="3216"/>
                  <a:pt x="8088" y="2953"/>
                  <a:pt x="8309" y="2921"/>
                </a:cubicBezTo>
                <a:cubicBezTo>
                  <a:pt x="8704" y="2888"/>
                  <a:pt x="8975" y="3578"/>
                  <a:pt x="9246" y="3676"/>
                </a:cubicBezTo>
                <a:cubicBezTo>
                  <a:pt x="9616" y="3840"/>
                  <a:pt x="9739" y="2921"/>
                  <a:pt x="9838" y="2790"/>
                </a:cubicBezTo>
                <a:cubicBezTo>
                  <a:pt x="10281" y="2166"/>
                  <a:pt x="11416" y="2231"/>
                  <a:pt x="11761" y="1772"/>
                </a:cubicBezTo>
                <a:cubicBezTo>
                  <a:pt x="12427" y="919"/>
                  <a:pt x="11465" y="1641"/>
                  <a:pt x="11934" y="820"/>
                </a:cubicBezTo>
                <a:cubicBezTo>
                  <a:pt x="12057" y="622"/>
                  <a:pt x="12254" y="459"/>
                  <a:pt x="12451" y="393"/>
                </a:cubicBezTo>
                <a:lnTo>
                  <a:pt x="12477" y="295"/>
                </a:lnTo>
                <a:lnTo>
                  <a:pt x="12575" y="0"/>
                </a:lnTo>
                <a:cubicBezTo>
                  <a:pt x="12550" y="65"/>
                  <a:pt x="12550" y="197"/>
                  <a:pt x="12550" y="262"/>
                </a:cubicBezTo>
                <a:cubicBezTo>
                  <a:pt x="12895" y="32"/>
                  <a:pt x="13117" y="229"/>
                  <a:pt x="13389" y="525"/>
                </a:cubicBezTo>
                <a:cubicBezTo>
                  <a:pt x="13907" y="1017"/>
                  <a:pt x="14005" y="1838"/>
                  <a:pt x="14424" y="2396"/>
                </a:cubicBezTo>
                <a:cubicBezTo>
                  <a:pt x="15115" y="3283"/>
                  <a:pt x="16989" y="4858"/>
                  <a:pt x="17210" y="6138"/>
                </a:cubicBezTo>
                <a:cubicBezTo>
                  <a:pt x="17383" y="6959"/>
                  <a:pt x="17161" y="7878"/>
                  <a:pt x="17309" y="8699"/>
                </a:cubicBezTo>
                <a:cubicBezTo>
                  <a:pt x="17358" y="9059"/>
                  <a:pt x="17802" y="9881"/>
                  <a:pt x="17777" y="10242"/>
                </a:cubicBezTo>
                <a:cubicBezTo>
                  <a:pt x="17777" y="10373"/>
                  <a:pt x="17580" y="10406"/>
                  <a:pt x="17605" y="10537"/>
                </a:cubicBezTo>
                <a:cubicBezTo>
                  <a:pt x="17630" y="10668"/>
                  <a:pt x="17777" y="10602"/>
                  <a:pt x="17851" y="10668"/>
                </a:cubicBezTo>
                <a:cubicBezTo>
                  <a:pt x="17926" y="10734"/>
                  <a:pt x="17926" y="10964"/>
                  <a:pt x="18024" y="10964"/>
                </a:cubicBezTo>
                <a:cubicBezTo>
                  <a:pt x="18073" y="10996"/>
                  <a:pt x="18147" y="10932"/>
                  <a:pt x="18196" y="10996"/>
                </a:cubicBezTo>
                <a:cubicBezTo>
                  <a:pt x="18270" y="11095"/>
                  <a:pt x="18246" y="11292"/>
                  <a:pt x="18344" y="11391"/>
                </a:cubicBezTo>
                <a:cubicBezTo>
                  <a:pt x="18443" y="11522"/>
                  <a:pt x="19503" y="11588"/>
                  <a:pt x="19479" y="11423"/>
                </a:cubicBezTo>
                <a:cubicBezTo>
                  <a:pt x="19479" y="11391"/>
                  <a:pt x="19133" y="11292"/>
                  <a:pt x="19380" y="11095"/>
                </a:cubicBezTo>
                <a:cubicBezTo>
                  <a:pt x="19528" y="10996"/>
                  <a:pt x="19701" y="11029"/>
                  <a:pt x="19849" y="10932"/>
                </a:cubicBezTo>
                <a:cubicBezTo>
                  <a:pt x="20095" y="10767"/>
                  <a:pt x="20194" y="10307"/>
                  <a:pt x="20465" y="10176"/>
                </a:cubicBezTo>
                <a:cubicBezTo>
                  <a:pt x="21008" y="9913"/>
                  <a:pt x="21278" y="10176"/>
                  <a:pt x="21402" y="10799"/>
                </a:cubicBezTo>
                <a:cubicBezTo>
                  <a:pt x="21377" y="10832"/>
                  <a:pt x="21303" y="10799"/>
                  <a:pt x="21303" y="10832"/>
                </a:cubicBezTo>
                <a:cubicBezTo>
                  <a:pt x="21303" y="10932"/>
                  <a:pt x="21353" y="10996"/>
                  <a:pt x="21402" y="11029"/>
                </a:cubicBezTo>
                <a:cubicBezTo>
                  <a:pt x="21452" y="11062"/>
                  <a:pt x="21501" y="10932"/>
                  <a:pt x="21525" y="10996"/>
                </a:cubicBezTo>
                <a:cubicBezTo>
                  <a:pt x="21574" y="11127"/>
                  <a:pt x="21599" y="12245"/>
                  <a:pt x="21599" y="12375"/>
                </a:cubicBezTo>
                <a:cubicBezTo>
                  <a:pt x="21574" y="12802"/>
                  <a:pt x="20835" y="12835"/>
                  <a:pt x="20638" y="13032"/>
                </a:cubicBezTo>
                <a:cubicBezTo>
                  <a:pt x="20515" y="13163"/>
                  <a:pt x="20515" y="13623"/>
                  <a:pt x="20366" y="13590"/>
                </a:cubicBezTo>
                <a:cubicBezTo>
                  <a:pt x="20342" y="13557"/>
                  <a:pt x="20539" y="12474"/>
                  <a:pt x="20194" y="12211"/>
                </a:cubicBezTo>
                <a:cubicBezTo>
                  <a:pt x="20071" y="12146"/>
                  <a:pt x="19922" y="12408"/>
                  <a:pt x="19849" y="12572"/>
                </a:cubicBezTo>
                <a:cubicBezTo>
                  <a:pt x="19750" y="12802"/>
                  <a:pt x="20194" y="12999"/>
                  <a:pt x="20169" y="13262"/>
                </a:cubicBezTo>
                <a:cubicBezTo>
                  <a:pt x="20169" y="13524"/>
                  <a:pt x="19799" y="13688"/>
                  <a:pt x="19898" y="13885"/>
                </a:cubicBezTo>
                <a:cubicBezTo>
                  <a:pt x="19997" y="14082"/>
                  <a:pt x="20194" y="13590"/>
                  <a:pt x="20366" y="13590"/>
                </a:cubicBezTo>
                <a:cubicBezTo>
                  <a:pt x="20416" y="13557"/>
                  <a:pt x="20342" y="13754"/>
                  <a:pt x="20292" y="13819"/>
                </a:cubicBezTo>
                <a:cubicBezTo>
                  <a:pt x="20267" y="13853"/>
                  <a:pt x="20243" y="13885"/>
                  <a:pt x="20194" y="13918"/>
                </a:cubicBezTo>
                <a:cubicBezTo>
                  <a:pt x="20219" y="13885"/>
                  <a:pt x="20243" y="13885"/>
                  <a:pt x="20267" y="13918"/>
                </a:cubicBezTo>
                <a:cubicBezTo>
                  <a:pt x="20416" y="14082"/>
                  <a:pt x="19824" y="15362"/>
                  <a:pt x="19824" y="15396"/>
                </a:cubicBezTo>
                <a:cubicBezTo>
                  <a:pt x="19849" y="15626"/>
                  <a:pt x="20071" y="16774"/>
                  <a:pt x="20194" y="17825"/>
                </a:cubicBezTo>
                <a:cubicBezTo>
                  <a:pt x="20194" y="17825"/>
                  <a:pt x="20144" y="17825"/>
                  <a:pt x="20144" y="17825"/>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57" name="AutoShape 25"/>
          <p:cNvSpPr>
            <a:spLocks/>
          </p:cNvSpPr>
          <p:nvPr/>
        </p:nvSpPr>
        <p:spPr bwMode="auto">
          <a:xfrm>
            <a:off x="21640800" y="8204200"/>
            <a:ext cx="954088" cy="989013"/>
          </a:xfrm>
          <a:custGeom>
            <a:avLst/>
            <a:gdLst>
              <a:gd name="T0" fmla="+- 0 10829 59"/>
              <a:gd name="T1" fmla="*/ T0 w 21541"/>
              <a:gd name="T2" fmla="+- 0 10826 106"/>
              <a:gd name="T3" fmla="*/ 10826 h 21440"/>
              <a:gd name="T4" fmla="+- 0 10829 59"/>
              <a:gd name="T5" fmla="*/ T4 w 21541"/>
              <a:gd name="T6" fmla="+- 0 10826 106"/>
              <a:gd name="T7" fmla="*/ 10826 h 21440"/>
              <a:gd name="T8" fmla="+- 0 10829 59"/>
              <a:gd name="T9" fmla="*/ T8 w 21541"/>
              <a:gd name="T10" fmla="+- 0 10826 106"/>
              <a:gd name="T11" fmla="*/ 10826 h 21440"/>
              <a:gd name="T12" fmla="+- 0 10829 59"/>
              <a:gd name="T13" fmla="*/ T12 w 21541"/>
              <a:gd name="T14" fmla="+- 0 10826 106"/>
              <a:gd name="T15" fmla="*/ 10826 h 21440"/>
            </a:gdLst>
            <a:ahLst/>
            <a:cxnLst>
              <a:cxn ang="0">
                <a:pos x="T1" y="T3"/>
              </a:cxn>
              <a:cxn ang="0">
                <a:pos x="T5" y="T7"/>
              </a:cxn>
              <a:cxn ang="0">
                <a:pos x="T9" y="T11"/>
              </a:cxn>
              <a:cxn ang="0">
                <a:pos x="T13" y="T15"/>
              </a:cxn>
            </a:cxnLst>
            <a:rect l="0" t="0" r="r" b="b"/>
            <a:pathLst>
              <a:path w="21541" h="21440">
                <a:moveTo>
                  <a:pt x="0" y="2710"/>
                </a:moveTo>
                <a:cubicBezTo>
                  <a:pt x="838" y="2307"/>
                  <a:pt x="1376" y="2652"/>
                  <a:pt x="2036" y="3169"/>
                </a:cubicBezTo>
                <a:cubicBezTo>
                  <a:pt x="3292" y="4031"/>
                  <a:pt x="3531" y="5467"/>
                  <a:pt x="4548" y="6443"/>
                </a:cubicBezTo>
                <a:cubicBezTo>
                  <a:pt x="6224" y="7996"/>
                  <a:pt x="10771" y="10752"/>
                  <a:pt x="11308" y="12992"/>
                </a:cubicBezTo>
                <a:cubicBezTo>
                  <a:pt x="11728" y="14429"/>
                  <a:pt x="11189" y="16036"/>
                  <a:pt x="11548" y="17473"/>
                </a:cubicBezTo>
                <a:cubicBezTo>
                  <a:pt x="11668" y="18104"/>
                  <a:pt x="12745" y="19541"/>
                  <a:pt x="12684" y="20174"/>
                </a:cubicBezTo>
                <a:cubicBezTo>
                  <a:pt x="12684" y="20403"/>
                  <a:pt x="12207" y="20460"/>
                  <a:pt x="12267" y="20690"/>
                </a:cubicBezTo>
                <a:cubicBezTo>
                  <a:pt x="12327" y="20918"/>
                  <a:pt x="12684" y="20804"/>
                  <a:pt x="12865" y="20918"/>
                </a:cubicBezTo>
                <a:cubicBezTo>
                  <a:pt x="13045" y="21034"/>
                  <a:pt x="13045" y="21437"/>
                  <a:pt x="13284" y="21437"/>
                </a:cubicBezTo>
                <a:cubicBezTo>
                  <a:pt x="13582" y="21493"/>
                  <a:pt x="13343" y="20804"/>
                  <a:pt x="13582" y="20747"/>
                </a:cubicBezTo>
                <a:cubicBezTo>
                  <a:pt x="13941" y="20690"/>
                  <a:pt x="14302" y="20804"/>
                  <a:pt x="14600" y="20747"/>
                </a:cubicBezTo>
                <a:cubicBezTo>
                  <a:pt x="15018" y="20690"/>
                  <a:pt x="14120" y="19426"/>
                  <a:pt x="14660" y="18622"/>
                </a:cubicBezTo>
                <a:cubicBezTo>
                  <a:pt x="14839" y="18391"/>
                  <a:pt x="15198" y="18219"/>
                  <a:pt x="15439" y="17933"/>
                </a:cubicBezTo>
                <a:cubicBezTo>
                  <a:pt x="15738" y="17530"/>
                  <a:pt x="14899" y="17301"/>
                  <a:pt x="15439" y="16897"/>
                </a:cubicBezTo>
                <a:cubicBezTo>
                  <a:pt x="15676" y="16669"/>
                  <a:pt x="16096" y="16669"/>
                  <a:pt x="16216" y="16439"/>
                </a:cubicBezTo>
                <a:cubicBezTo>
                  <a:pt x="16335" y="16209"/>
                  <a:pt x="15976" y="15979"/>
                  <a:pt x="15976" y="15691"/>
                </a:cubicBezTo>
                <a:cubicBezTo>
                  <a:pt x="15976" y="15405"/>
                  <a:pt x="16275" y="15117"/>
                  <a:pt x="16216" y="14831"/>
                </a:cubicBezTo>
                <a:cubicBezTo>
                  <a:pt x="16096" y="14371"/>
                  <a:pt x="14600" y="13910"/>
                  <a:pt x="15439" y="12992"/>
                </a:cubicBezTo>
                <a:cubicBezTo>
                  <a:pt x="15738" y="12649"/>
                  <a:pt x="16275" y="11785"/>
                  <a:pt x="16515" y="12189"/>
                </a:cubicBezTo>
                <a:cubicBezTo>
                  <a:pt x="16634" y="12418"/>
                  <a:pt x="16754" y="12704"/>
                  <a:pt x="16814" y="12992"/>
                </a:cubicBezTo>
                <a:cubicBezTo>
                  <a:pt x="16814" y="13107"/>
                  <a:pt x="16693" y="13165"/>
                  <a:pt x="16693" y="13279"/>
                </a:cubicBezTo>
                <a:cubicBezTo>
                  <a:pt x="16754" y="13336"/>
                  <a:pt x="16874" y="13394"/>
                  <a:pt x="16934" y="13336"/>
                </a:cubicBezTo>
                <a:cubicBezTo>
                  <a:pt x="17113" y="13107"/>
                  <a:pt x="17053" y="12704"/>
                  <a:pt x="17353" y="12476"/>
                </a:cubicBezTo>
                <a:cubicBezTo>
                  <a:pt x="17412" y="12359"/>
                  <a:pt x="17471" y="12818"/>
                  <a:pt x="17592" y="12762"/>
                </a:cubicBezTo>
                <a:cubicBezTo>
                  <a:pt x="17831" y="12704"/>
                  <a:pt x="17770" y="12359"/>
                  <a:pt x="17890" y="12189"/>
                </a:cubicBezTo>
                <a:cubicBezTo>
                  <a:pt x="17890" y="12189"/>
                  <a:pt x="18669" y="12762"/>
                  <a:pt x="18908" y="12818"/>
                </a:cubicBezTo>
                <a:cubicBezTo>
                  <a:pt x="19268" y="12877"/>
                  <a:pt x="18908" y="11785"/>
                  <a:pt x="19268" y="11785"/>
                </a:cubicBezTo>
                <a:cubicBezTo>
                  <a:pt x="19745" y="11785"/>
                  <a:pt x="20044" y="12877"/>
                  <a:pt x="20344" y="12590"/>
                </a:cubicBezTo>
                <a:cubicBezTo>
                  <a:pt x="20403" y="12476"/>
                  <a:pt x="20344" y="12359"/>
                  <a:pt x="20465" y="12246"/>
                </a:cubicBezTo>
                <a:cubicBezTo>
                  <a:pt x="20764" y="12016"/>
                  <a:pt x="21181" y="11958"/>
                  <a:pt x="21540" y="11728"/>
                </a:cubicBezTo>
                <a:cubicBezTo>
                  <a:pt x="21540" y="11671"/>
                  <a:pt x="20163" y="11499"/>
                  <a:pt x="20044" y="11095"/>
                </a:cubicBezTo>
                <a:cubicBezTo>
                  <a:pt x="19985" y="10982"/>
                  <a:pt x="20344" y="10982"/>
                  <a:pt x="20344" y="10866"/>
                </a:cubicBezTo>
                <a:lnTo>
                  <a:pt x="19745" y="9085"/>
                </a:lnTo>
                <a:cubicBezTo>
                  <a:pt x="19388" y="8798"/>
                  <a:pt x="17890" y="8740"/>
                  <a:pt x="17531" y="8512"/>
                </a:cubicBezTo>
                <a:cubicBezTo>
                  <a:pt x="17293" y="8281"/>
                  <a:pt x="17471" y="7362"/>
                  <a:pt x="17172" y="7534"/>
                </a:cubicBezTo>
                <a:cubicBezTo>
                  <a:pt x="16395" y="7996"/>
                  <a:pt x="17770" y="6385"/>
                  <a:pt x="16693" y="5811"/>
                </a:cubicBezTo>
                <a:cubicBezTo>
                  <a:pt x="15857" y="5352"/>
                  <a:pt x="16754" y="6616"/>
                  <a:pt x="16036" y="6385"/>
                </a:cubicBezTo>
                <a:cubicBezTo>
                  <a:pt x="15676" y="6270"/>
                  <a:pt x="14180" y="5237"/>
                  <a:pt x="14120" y="4949"/>
                </a:cubicBezTo>
                <a:cubicBezTo>
                  <a:pt x="13702" y="3685"/>
                  <a:pt x="14660" y="2480"/>
                  <a:pt x="13284" y="1618"/>
                </a:cubicBezTo>
                <a:cubicBezTo>
                  <a:pt x="12745" y="1330"/>
                  <a:pt x="13164" y="2480"/>
                  <a:pt x="12565" y="2250"/>
                </a:cubicBezTo>
                <a:cubicBezTo>
                  <a:pt x="11131" y="1676"/>
                  <a:pt x="12027" y="527"/>
                  <a:pt x="9992" y="1044"/>
                </a:cubicBezTo>
                <a:cubicBezTo>
                  <a:pt x="9635" y="1158"/>
                  <a:pt x="9872" y="2135"/>
                  <a:pt x="9635" y="1907"/>
                </a:cubicBezTo>
                <a:cubicBezTo>
                  <a:pt x="9455" y="1733"/>
                  <a:pt x="9455" y="1446"/>
                  <a:pt x="9276" y="1215"/>
                </a:cubicBezTo>
                <a:cubicBezTo>
                  <a:pt x="9156" y="1101"/>
                  <a:pt x="8855" y="1964"/>
                  <a:pt x="8735" y="1503"/>
                </a:cubicBezTo>
                <a:cubicBezTo>
                  <a:pt x="8677" y="1274"/>
                  <a:pt x="8976" y="699"/>
                  <a:pt x="8735" y="756"/>
                </a:cubicBezTo>
                <a:cubicBezTo>
                  <a:pt x="8257" y="813"/>
                  <a:pt x="7840" y="1215"/>
                  <a:pt x="7421" y="1215"/>
                </a:cubicBezTo>
                <a:cubicBezTo>
                  <a:pt x="7241" y="1215"/>
                  <a:pt x="7421" y="813"/>
                  <a:pt x="7241" y="699"/>
                </a:cubicBezTo>
                <a:cubicBezTo>
                  <a:pt x="6703" y="296"/>
                  <a:pt x="5984" y="66"/>
                  <a:pt x="5327" y="11"/>
                </a:cubicBezTo>
                <a:cubicBezTo>
                  <a:pt x="3709" y="-106"/>
                  <a:pt x="4071" y="756"/>
                  <a:pt x="2933" y="1274"/>
                </a:cubicBezTo>
                <a:cubicBezTo>
                  <a:pt x="2813" y="1330"/>
                  <a:pt x="539" y="1618"/>
                  <a:pt x="539" y="1676"/>
                </a:cubicBezTo>
                <a:cubicBezTo>
                  <a:pt x="539" y="1907"/>
                  <a:pt x="838" y="2020"/>
                  <a:pt x="838" y="2250"/>
                </a:cubicBezTo>
                <a:cubicBezTo>
                  <a:pt x="898" y="2480"/>
                  <a:pt x="359" y="1907"/>
                  <a:pt x="179" y="2020"/>
                </a:cubicBezTo>
                <a:cubicBezTo>
                  <a:pt x="-59" y="2135"/>
                  <a:pt x="60" y="2480"/>
                  <a:pt x="0" y="271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58" name="AutoShape 26"/>
          <p:cNvSpPr>
            <a:spLocks/>
          </p:cNvSpPr>
          <p:nvPr/>
        </p:nvSpPr>
        <p:spPr bwMode="auto">
          <a:xfrm>
            <a:off x="19912013" y="5041900"/>
            <a:ext cx="1390650" cy="838200"/>
          </a:xfrm>
          <a:custGeom>
            <a:avLst/>
            <a:gdLst>
              <a:gd name="T0" fmla="+- 0 10777 222"/>
              <a:gd name="T1" fmla="*/ T0 w 21110"/>
              <a:gd name="T2" fmla="*/ 10771 h 21543"/>
              <a:gd name="T3" fmla="+- 0 10777 222"/>
              <a:gd name="T4" fmla="*/ T3 w 21110"/>
              <a:gd name="T5" fmla="*/ 10771 h 21543"/>
              <a:gd name="T6" fmla="+- 0 10777 222"/>
              <a:gd name="T7" fmla="*/ T6 w 21110"/>
              <a:gd name="T8" fmla="*/ 10771 h 21543"/>
              <a:gd name="T9" fmla="+- 0 10777 222"/>
              <a:gd name="T10" fmla="*/ T9 w 21110"/>
              <a:gd name="T11" fmla="*/ 10771 h 21543"/>
            </a:gdLst>
            <a:ahLst/>
            <a:cxnLst>
              <a:cxn ang="0">
                <a:pos x="T1" y="T2"/>
              </a:cxn>
              <a:cxn ang="0">
                <a:pos x="T4" y="T5"/>
              </a:cxn>
              <a:cxn ang="0">
                <a:pos x="T7" y="T8"/>
              </a:cxn>
              <a:cxn ang="0">
                <a:pos x="T10" y="T11"/>
              </a:cxn>
            </a:cxnLst>
            <a:rect l="0" t="0" r="r" b="b"/>
            <a:pathLst>
              <a:path w="21110" h="21543">
                <a:moveTo>
                  <a:pt x="664" y="21531"/>
                </a:moveTo>
                <a:cubicBezTo>
                  <a:pt x="824" y="21531"/>
                  <a:pt x="987" y="21600"/>
                  <a:pt x="1107" y="21396"/>
                </a:cubicBezTo>
                <a:cubicBezTo>
                  <a:pt x="1268" y="20988"/>
                  <a:pt x="1228" y="20373"/>
                  <a:pt x="1389" y="19965"/>
                </a:cubicBezTo>
                <a:cubicBezTo>
                  <a:pt x="1712" y="19283"/>
                  <a:pt x="3001" y="17920"/>
                  <a:pt x="3485" y="17716"/>
                </a:cubicBezTo>
                <a:cubicBezTo>
                  <a:pt x="3767" y="17580"/>
                  <a:pt x="5056" y="17716"/>
                  <a:pt x="5339" y="17580"/>
                </a:cubicBezTo>
                <a:cubicBezTo>
                  <a:pt x="5500" y="17513"/>
                  <a:pt x="5620" y="16968"/>
                  <a:pt x="5782" y="16968"/>
                </a:cubicBezTo>
                <a:cubicBezTo>
                  <a:pt x="6064" y="17035"/>
                  <a:pt x="6225" y="18194"/>
                  <a:pt x="6386" y="17852"/>
                </a:cubicBezTo>
                <a:cubicBezTo>
                  <a:pt x="6506" y="17716"/>
                  <a:pt x="6467" y="17376"/>
                  <a:pt x="6587" y="17171"/>
                </a:cubicBezTo>
                <a:cubicBezTo>
                  <a:pt x="6951" y="16558"/>
                  <a:pt x="7112" y="17239"/>
                  <a:pt x="7554" y="17171"/>
                </a:cubicBezTo>
                <a:cubicBezTo>
                  <a:pt x="7797" y="17102"/>
                  <a:pt x="7918" y="16694"/>
                  <a:pt x="8160" y="16694"/>
                </a:cubicBezTo>
                <a:cubicBezTo>
                  <a:pt x="8199" y="16627"/>
                  <a:pt x="9408" y="17171"/>
                  <a:pt x="9449" y="17102"/>
                </a:cubicBezTo>
                <a:cubicBezTo>
                  <a:pt x="9650" y="17035"/>
                  <a:pt x="9731" y="16558"/>
                  <a:pt x="9932" y="16489"/>
                </a:cubicBezTo>
                <a:cubicBezTo>
                  <a:pt x="10296" y="16354"/>
                  <a:pt x="10296" y="17376"/>
                  <a:pt x="10618" y="16558"/>
                </a:cubicBezTo>
                <a:cubicBezTo>
                  <a:pt x="10859" y="16081"/>
                  <a:pt x="10859" y="14923"/>
                  <a:pt x="11343" y="14786"/>
                </a:cubicBezTo>
                <a:cubicBezTo>
                  <a:pt x="11746" y="14649"/>
                  <a:pt x="11907" y="16831"/>
                  <a:pt x="12430" y="16831"/>
                </a:cubicBezTo>
                <a:cubicBezTo>
                  <a:pt x="12955" y="16831"/>
                  <a:pt x="13479" y="16286"/>
                  <a:pt x="14003" y="16558"/>
                </a:cubicBezTo>
                <a:cubicBezTo>
                  <a:pt x="14769" y="16900"/>
                  <a:pt x="15977" y="19420"/>
                  <a:pt x="16903" y="19693"/>
                </a:cubicBezTo>
                <a:cubicBezTo>
                  <a:pt x="17912" y="19965"/>
                  <a:pt x="17952" y="17376"/>
                  <a:pt x="18556" y="17444"/>
                </a:cubicBezTo>
                <a:cubicBezTo>
                  <a:pt x="18758" y="17444"/>
                  <a:pt x="18879" y="17852"/>
                  <a:pt x="19041" y="17852"/>
                </a:cubicBezTo>
                <a:cubicBezTo>
                  <a:pt x="19160" y="17852"/>
                  <a:pt x="19080" y="17376"/>
                  <a:pt x="19160" y="17307"/>
                </a:cubicBezTo>
                <a:cubicBezTo>
                  <a:pt x="19403" y="17171"/>
                  <a:pt x="19725" y="17580"/>
                  <a:pt x="19926" y="17307"/>
                </a:cubicBezTo>
                <a:cubicBezTo>
                  <a:pt x="19926" y="17307"/>
                  <a:pt x="20128" y="15265"/>
                  <a:pt x="20209" y="15059"/>
                </a:cubicBezTo>
                <a:cubicBezTo>
                  <a:pt x="20289" y="14649"/>
                  <a:pt x="21054" y="13628"/>
                  <a:pt x="21054" y="13560"/>
                </a:cubicBezTo>
                <a:cubicBezTo>
                  <a:pt x="21377" y="11584"/>
                  <a:pt x="20209" y="9745"/>
                  <a:pt x="19524" y="8790"/>
                </a:cubicBezTo>
                <a:cubicBezTo>
                  <a:pt x="19241" y="8449"/>
                  <a:pt x="19806" y="7836"/>
                  <a:pt x="19241" y="7700"/>
                </a:cubicBezTo>
                <a:cubicBezTo>
                  <a:pt x="19041" y="7632"/>
                  <a:pt x="18879" y="8177"/>
                  <a:pt x="18677" y="8108"/>
                </a:cubicBezTo>
                <a:cubicBezTo>
                  <a:pt x="18596" y="8108"/>
                  <a:pt x="18677" y="7904"/>
                  <a:pt x="18677" y="7768"/>
                </a:cubicBezTo>
                <a:cubicBezTo>
                  <a:pt x="18677" y="7700"/>
                  <a:pt x="18717" y="7563"/>
                  <a:pt x="18717" y="7495"/>
                </a:cubicBezTo>
                <a:cubicBezTo>
                  <a:pt x="18717" y="7018"/>
                  <a:pt x="18799" y="6542"/>
                  <a:pt x="18758" y="6064"/>
                </a:cubicBezTo>
                <a:cubicBezTo>
                  <a:pt x="18717" y="5860"/>
                  <a:pt x="18436" y="5928"/>
                  <a:pt x="18436" y="5724"/>
                </a:cubicBezTo>
                <a:cubicBezTo>
                  <a:pt x="18436" y="4838"/>
                  <a:pt x="19403" y="4292"/>
                  <a:pt x="18072" y="3475"/>
                </a:cubicBezTo>
                <a:cubicBezTo>
                  <a:pt x="17912" y="3407"/>
                  <a:pt x="17670" y="3407"/>
                  <a:pt x="17549" y="3202"/>
                </a:cubicBezTo>
                <a:cubicBezTo>
                  <a:pt x="17428" y="2930"/>
                  <a:pt x="17630" y="2453"/>
                  <a:pt x="17468" y="2316"/>
                </a:cubicBezTo>
                <a:cubicBezTo>
                  <a:pt x="17307" y="2112"/>
                  <a:pt x="17146" y="2453"/>
                  <a:pt x="16945" y="2521"/>
                </a:cubicBezTo>
                <a:cubicBezTo>
                  <a:pt x="16903" y="2861"/>
                  <a:pt x="15695" y="2112"/>
                  <a:pt x="15534" y="2180"/>
                </a:cubicBezTo>
                <a:cubicBezTo>
                  <a:pt x="15534" y="2180"/>
                  <a:pt x="14769" y="3611"/>
                  <a:pt x="14728" y="3611"/>
                </a:cubicBezTo>
                <a:cubicBezTo>
                  <a:pt x="14445" y="3679"/>
                  <a:pt x="13157" y="2248"/>
                  <a:pt x="12995" y="1840"/>
                </a:cubicBezTo>
                <a:cubicBezTo>
                  <a:pt x="12915" y="1703"/>
                  <a:pt x="13076" y="1294"/>
                  <a:pt x="12955" y="1227"/>
                </a:cubicBezTo>
                <a:cubicBezTo>
                  <a:pt x="12713" y="1091"/>
                  <a:pt x="12471" y="1499"/>
                  <a:pt x="12229" y="1363"/>
                </a:cubicBezTo>
                <a:cubicBezTo>
                  <a:pt x="12109" y="1294"/>
                  <a:pt x="12149" y="885"/>
                  <a:pt x="12027" y="818"/>
                </a:cubicBezTo>
                <a:cubicBezTo>
                  <a:pt x="11907" y="818"/>
                  <a:pt x="11786" y="1227"/>
                  <a:pt x="11665" y="1158"/>
                </a:cubicBezTo>
                <a:cubicBezTo>
                  <a:pt x="11423" y="1022"/>
                  <a:pt x="10980" y="0"/>
                  <a:pt x="10618" y="0"/>
                </a:cubicBezTo>
                <a:cubicBezTo>
                  <a:pt x="10537" y="0"/>
                  <a:pt x="10618" y="204"/>
                  <a:pt x="10618" y="341"/>
                </a:cubicBezTo>
                <a:cubicBezTo>
                  <a:pt x="10618" y="409"/>
                  <a:pt x="10658" y="409"/>
                  <a:pt x="10658" y="477"/>
                </a:cubicBezTo>
                <a:cubicBezTo>
                  <a:pt x="10779" y="1363"/>
                  <a:pt x="10335" y="68"/>
                  <a:pt x="10094" y="341"/>
                </a:cubicBezTo>
                <a:cubicBezTo>
                  <a:pt x="9731" y="818"/>
                  <a:pt x="8482" y="2793"/>
                  <a:pt x="8160" y="2930"/>
                </a:cubicBezTo>
                <a:lnTo>
                  <a:pt x="8079" y="2861"/>
                </a:lnTo>
                <a:cubicBezTo>
                  <a:pt x="8119" y="2998"/>
                  <a:pt x="8119" y="3202"/>
                  <a:pt x="8119" y="3407"/>
                </a:cubicBezTo>
                <a:cubicBezTo>
                  <a:pt x="8280" y="4838"/>
                  <a:pt x="9328" y="6814"/>
                  <a:pt x="9085" y="8381"/>
                </a:cubicBezTo>
                <a:cubicBezTo>
                  <a:pt x="8965" y="9335"/>
                  <a:pt x="7998" y="11312"/>
                  <a:pt x="7393" y="11448"/>
                </a:cubicBezTo>
                <a:cubicBezTo>
                  <a:pt x="7151" y="11515"/>
                  <a:pt x="6991" y="11107"/>
                  <a:pt x="6789" y="11038"/>
                </a:cubicBezTo>
                <a:cubicBezTo>
                  <a:pt x="6386" y="10834"/>
                  <a:pt x="6305" y="11312"/>
                  <a:pt x="6064" y="10630"/>
                </a:cubicBezTo>
                <a:cubicBezTo>
                  <a:pt x="5782" y="9949"/>
                  <a:pt x="5782" y="8994"/>
                  <a:pt x="5419" y="8449"/>
                </a:cubicBezTo>
                <a:cubicBezTo>
                  <a:pt x="5056" y="7836"/>
                  <a:pt x="4209" y="7563"/>
                  <a:pt x="3806" y="6949"/>
                </a:cubicBezTo>
                <a:cubicBezTo>
                  <a:pt x="3566" y="6609"/>
                  <a:pt x="3806" y="5724"/>
                  <a:pt x="3566" y="5520"/>
                </a:cubicBezTo>
                <a:cubicBezTo>
                  <a:pt x="3202" y="5246"/>
                  <a:pt x="2920" y="6201"/>
                  <a:pt x="2598" y="6542"/>
                </a:cubicBezTo>
                <a:cubicBezTo>
                  <a:pt x="2194" y="7087"/>
                  <a:pt x="1631" y="7222"/>
                  <a:pt x="1268" y="7904"/>
                </a:cubicBezTo>
                <a:cubicBezTo>
                  <a:pt x="301" y="9608"/>
                  <a:pt x="1147" y="11584"/>
                  <a:pt x="785" y="13287"/>
                </a:cubicBezTo>
                <a:cubicBezTo>
                  <a:pt x="664" y="13967"/>
                  <a:pt x="140" y="14241"/>
                  <a:pt x="19" y="14923"/>
                </a:cubicBezTo>
                <a:cubicBezTo>
                  <a:pt x="-62" y="15332"/>
                  <a:pt x="140" y="15740"/>
                  <a:pt x="140" y="16218"/>
                </a:cubicBezTo>
                <a:cubicBezTo>
                  <a:pt x="140" y="16694"/>
                  <a:pt x="19" y="17171"/>
                  <a:pt x="99" y="17580"/>
                </a:cubicBezTo>
                <a:cubicBezTo>
                  <a:pt x="99" y="17648"/>
                  <a:pt x="140" y="17716"/>
                  <a:pt x="180" y="17716"/>
                </a:cubicBezTo>
                <a:cubicBezTo>
                  <a:pt x="-222" y="18533"/>
                  <a:pt x="421" y="20578"/>
                  <a:pt x="664" y="21531"/>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59" name="AutoShape 27"/>
          <p:cNvSpPr>
            <a:spLocks/>
          </p:cNvSpPr>
          <p:nvPr/>
        </p:nvSpPr>
        <p:spPr bwMode="auto">
          <a:xfrm>
            <a:off x="19951700" y="5611813"/>
            <a:ext cx="1162050" cy="915987"/>
          </a:xfrm>
          <a:custGeom>
            <a:avLst/>
            <a:gdLst>
              <a:gd name="T0" fmla="+- 0 10783 145"/>
              <a:gd name="T1" fmla="*/ T0 w 21277"/>
              <a:gd name="T2" fmla="+- 0 10681 117"/>
              <a:gd name="T3" fmla="*/ 10681 h 21129"/>
              <a:gd name="T4" fmla="+- 0 10783 145"/>
              <a:gd name="T5" fmla="*/ T4 w 21277"/>
              <a:gd name="T6" fmla="+- 0 10681 117"/>
              <a:gd name="T7" fmla="*/ 10681 h 21129"/>
              <a:gd name="T8" fmla="+- 0 10783 145"/>
              <a:gd name="T9" fmla="*/ T8 w 21277"/>
              <a:gd name="T10" fmla="+- 0 10681 117"/>
              <a:gd name="T11" fmla="*/ 10681 h 21129"/>
              <a:gd name="T12" fmla="+- 0 10783 145"/>
              <a:gd name="T13" fmla="*/ T12 w 21277"/>
              <a:gd name="T14" fmla="+- 0 10681 117"/>
              <a:gd name="T15" fmla="*/ 10681 h 21129"/>
            </a:gdLst>
            <a:ahLst/>
            <a:cxnLst>
              <a:cxn ang="0">
                <a:pos x="T1" y="T3"/>
              </a:cxn>
              <a:cxn ang="0">
                <a:pos x="T5" y="T7"/>
              </a:cxn>
              <a:cxn ang="0">
                <a:pos x="T9" y="T11"/>
              </a:cxn>
              <a:cxn ang="0">
                <a:pos x="T13" y="T15"/>
              </a:cxn>
            </a:cxnLst>
            <a:rect l="0" t="0" r="r" b="b"/>
            <a:pathLst>
              <a:path w="21277" h="21129">
                <a:moveTo>
                  <a:pt x="534" y="8817"/>
                </a:moveTo>
                <a:cubicBezTo>
                  <a:pt x="485" y="8878"/>
                  <a:pt x="485" y="8938"/>
                  <a:pt x="485" y="8938"/>
                </a:cubicBezTo>
                <a:cubicBezTo>
                  <a:pt x="340" y="9429"/>
                  <a:pt x="679" y="9919"/>
                  <a:pt x="727" y="10408"/>
                </a:cubicBezTo>
                <a:cubicBezTo>
                  <a:pt x="777" y="11019"/>
                  <a:pt x="679" y="11693"/>
                  <a:pt x="485" y="12427"/>
                </a:cubicBezTo>
                <a:lnTo>
                  <a:pt x="534" y="12427"/>
                </a:lnTo>
                <a:cubicBezTo>
                  <a:pt x="679" y="12060"/>
                  <a:pt x="727" y="11693"/>
                  <a:pt x="777" y="11204"/>
                </a:cubicBezTo>
                <a:cubicBezTo>
                  <a:pt x="777" y="10959"/>
                  <a:pt x="824" y="10102"/>
                  <a:pt x="824" y="9429"/>
                </a:cubicBezTo>
                <a:cubicBezTo>
                  <a:pt x="824" y="8632"/>
                  <a:pt x="777" y="8082"/>
                  <a:pt x="534" y="8817"/>
                </a:cubicBezTo>
                <a:close/>
                <a:moveTo>
                  <a:pt x="8057" y="18300"/>
                </a:moveTo>
                <a:cubicBezTo>
                  <a:pt x="8155" y="18178"/>
                  <a:pt x="8155" y="17934"/>
                  <a:pt x="8300" y="17872"/>
                </a:cubicBezTo>
                <a:cubicBezTo>
                  <a:pt x="9029" y="17567"/>
                  <a:pt x="8689" y="18362"/>
                  <a:pt x="9174" y="18606"/>
                </a:cubicBezTo>
                <a:cubicBezTo>
                  <a:pt x="10532" y="19340"/>
                  <a:pt x="9999" y="17994"/>
                  <a:pt x="10872" y="19586"/>
                </a:cubicBezTo>
                <a:cubicBezTo>
                  <a:pt x="11164" y="20074"/>
                  <a:pt x="10872" y="20749"/>
                  <a:pt x="11164" y="20994"/>
                </a:cubicBezTo>
                <a:cubicBezTo>
                  <a:pt x="11747" y="21482"/>
                  <a:pt x="13154" y="20504"/>
                  <a:pt x="13543" y="20259"/>
                </a:cubicBezTo>
                <a:cubicBezTo>
                  <a:pt x="13931" y="20074"/>
                  <a:pt x="14126" y="21177"/>
                  <a:pt x="14563" y="20687"/>
                </a:cubicBezTo>
                <a:cubicBezTo>
                  <a:pt x="14853" y="20442"/>
                  <a:pt x="14901" y="19830"/>
                  <a:pt x="15193" y="19586"/>
                </a:cubicBezTo>
                <a:cubicBezTo>
                  <a:pt x="15436" y="19402"/>
                  <a:pt x="15726" y="19586"/>
                  <a:pt x="15970" y="19525"/>
                </a:cubicBezTo>
                <a:cubicBezTo>
                  <a:pt x="16213" y="19402"/>
                  <a:pt x="15532" y="18730"/>
                  <a:pt x="15726" y="18485"/>
                </a:cubicBezTo>
                <a:cubicBezTo>
                  <a:pt x="15970" y="18117"/>
                  <a:pt x="16455" y="18239"/>
                  <a:pt x="16794" y="18055"/>
                </a:cubicBezTo>
                <a:cubicBezTo>
                  <a:pt x="17572" y="17505"/>
                  <a:pt x="16502" y="17567"/>
                  <a:pt x="17036" y="16892"/>
                </a:cubicBezTo>
                <a:cubicBezTo>
                  <a:pt x="17184" y="16650"/>
                  <a:pt x="18300" y="15975"/>
                  <a:pt x="18398" y="16770"/>
                </a:cubicBezTo>
                <a:cubicBezTo>
                  <a:pt x="18445" y="16955"/>
                  <a:pt x="18203" y="17077"/>
                  <a:pt x="18203" y="17262"/>
                </a:cubicBezTo>
                <a:cubicBezTo>
                  <a:pt x="18153" y="17811"/>
                  <a:pt x="19124" y="17384"/>
                  <a:pt x="19222" y="17077"/>
                </a:cubicBezTo>
                <a:cubicBezTo>
                  <a:pt x="19659" y="15730"/>
                  <a:pt x="18153" y="16097"/>
                  <a:pt x="18153" y="15852"/>
                </a:cubicBezTo>
                <a:cubicBezTo>
                  <a:pt x="18106" y="15609"/>
                  <a:pt x="18590" y="13895"/>
                  <a:pt x="18590" y="13833"/>
                </a:cubicBezTo>
                <a:lnTo>
                  <a:pt x="18153" y="12122"/>
                </a:lnTo>
                <a:cubicBezTo>
                  <a:pt x="18153" y="12060"/>
                  <a:pt x="18348" y="12060"/>
                  <a:pt x="18348" y="11937"/>
                </a:cubicBezTo>
                <a:cubicBezTo>
                  <a:pt x="18930" y="9673"/>
                  <a:pt x="18494" y="12060"/>
                  <a:pt x="19417" y="10224"/>
                </a:cubicBezTo>
                <a:cubicBezTo>
                  <a:pt x="19659" y="9858"/>
                  <a:pt x="19417" y="9245"/>
                  <a:pt x="19610" y="8817"/>
                </a:cubicBezTo>
                <a:cubicBezTo>
                  <a:pt x="19853" y="8389"/>
                  <a:pt x="20580" y="9000"/>
                  <a:pt x="20871" y="8572"/>
                </a:cubicBezTo>
                <a:cubicBezTo>
                  <a:pt x="21018" y="8327"/>
                  <a:pt x="20824" y="7959"/>
                  <a:pt x="20871" y="7716"/>
                </a:cubicBezTo>
                <a:cubicBezTo>
                  <a:pt x="20969" y="7532"/>
                  <a:pt x="21213" y="7532"/>
                  <a:pt x="21260" y="7348"/>
                </a:cubicBezTo>
                <a:cubicBezTo>
                  <a:pt x="21455" y="6492"/>
                  <a:pt x="19853" y="7593"/>
                  <a:pt x="19902" y="7041"/>
                </a:cubicBezTo>
                <a:cubicBezTo>
                  <a:pt x="19948" y="6124"/>
                  <a:pt x="20289" y="5329"/>
                  <a:pt x="19999" y="4412"/>
                </a:cubicBezTo>
                <a:lnTo>
                  <a:pt x="19999" y="4350"/>
                </a:lnTo>
                <a:cubicBezTo>
                  <a:pt x="19853" y="4412"/>
                  <a:pt x="19707" y="4412"/>
                  <a:pt x="19560" y="4412"/>
                </a:cubicBezTo>
                <a:cubicBezTo>
                  <a:pt x="18445" y="4167"/>
                  <a:pt x="16990" y="1904"/>
                  <a:pt x="16067" y="1597"/>
                </a:cubicBezTo>
                <a:cubicBezTo>
                  <a:pt x="15436" y="1353"/>
                  <a:pt x="14805" y="1842"/>
                  <a:pt x="14173" y="1842"/>
                </a:cubicBezTo>
                <a:cubicBezTo>
                  <a:pt x="13543" y="1842"/>
                  <a:pt x="13348" y="-117"/>
                  <a:pt x="12863" y="6"/>
                </a:cubicBezTo>
                <a:cubicBezTo>
                  <a:pt x="12281" y="128"/>
                  <a:pt x="12281" y="1169"/>
                  <a:pt x="11990" y="1597"/>
                </a:cubicBezTo>
                <a:cubicBezTo>
                  <a:pt x="11602" y="2331"/>
                  <a:pt x="11602" y="1413"/>
                  <a:pt x="11164" y="1535"/>
                </a:cubicBezTo>
                <a:cubicBezTo>
                  <a:pt x="10921" y="1597"/>
                  <a:pt x="10824" y="2025"/>
                  <a:pt x="10581" y="2085"/>
                </a:cubicBezTo>
                <a:cubicBezTo>
                  <a:pt x="10532" y="2147"/>
                  <a:pt x="9076" y="1659"/>
                  <a:pt x="9029" y="1719"/>
                </a:cubicBezTo>
                <a:cubicBezTo>
                  <a:pt x="8737" y="1719"/>
                  <a:pt x="8592" y="2085"/>
                  <a:pt x="8300" y="2147"/>
                </a:cubicBezTo>
                <a:cubicBezTo>
                  <a:pt x="7767" y="2208"/>
                  <a:pt x="7573" y="1597"/>
                  <a:pt x="7135" y="2147"/>
                </a:cubicBezTo>
                <a:cubicBezTo>
                  <a:pt x="6990" y="2331"/>
                  <a:pt x="7037" y="2637"/>
                  <a:pt x="6893" y="2759"/>
                </a:cubicBezTo>
                <a:cubicBezTo>
                  <a:pt x="6698" y="3066"/>
                  <a:pt x="6505" y="2025"/>
                  <a:pt x="6165" y="1965"/>
                </a:cubicBezTo>
                <a:cubicBezTo>
                  <a:pt x="5970" y="1965"/>
                  <a:pt x="5825" y="2455"/>
                  <a:pt x="5631" y="2515"/>
                </a:cubicBezTo>
                <a:cubicBezTo>
                  <a:pt x="5291" y="2637"/>
                  <a:pt x="3738" y="2515"/>
                  <a:pt x="3399" y="2637"/>
                </a:cubicBezTo>
                <a:cubicBezTo>
                  <a:pt x="2815" y="2820"/>
                  <a:pt x="1262" y="4044"/>
                  <a:pt x="873" y="4656"/>
                </a:cubicBezTo>
                <a:cubicBezTo>
                  <a:pt x="679" y="5022"/>
                  <a:pt x="727" y="5574"/>
                  <a:pt x="534" y="5941"/>
                </a:cubicBezTo>
                <a:cubicBezTo>
                  <a:pt x="389" y="6124"/>
                  <a:pt x="193" y="6063"/>
                  <a:pt x="0" y="6063"/>
                </a:cubicBezTo>
                <a:cubicBezTo>
                  <a:pt x="49" y="6185"/>
                  <a:pt x="49" y="6247"/>
                  <a:pt x="97" y="6307"/>
                </a:cubicBezTo>
                <a:cubicBezTo>
                  <a:pt x="436" y="7899"/>
                  <a:pt x="-145" y="6920"/>
                  <a:pt x="340" y="8449"/>
                </a:cubicBezTo>
                <a:cubicBezTo>
                  <a:pt x="389" y="8572"/>
                  <a:pt x="436" y="8694"/>
                  <a:pt x="534" y="8817"/>
                </a:cubicBezTo>
                <a:cubicBezTo>
                  <a:pt x="631" y="9062"/>
                  <a:pt x="727" y="9245"/>
                  <a:pt x="824" y="9429"/>
                </a:cubicBezTo>
                <a:cubicBezTo>
                  <a:pt x="1068" y="9858"/>
                  <a:pt x="1262" y="10347"/>
                  <a:pt x="1311" y="10836"/>
                </a:cubicBezTo>
                <a:cubicBezTo>
                  <a:pt x="1359" y="11204"/>
                  <a:pt x="1164" y="11570"/>
                  <a:pt x="1214" y="11937"/>
                </a:cubicBezTo>
                <a:cubicBezTo>
                  <a:pt x="1262" y="12060"/>
                  <a:pt x="1311" y="11632"/>
                  <a:pt x="1407" y="11632"/>
                </a:cubicBezTo>
                <a:cubicBezTo>
                  <a:pt x="1602" y="11570"/>
                  <a:pt x="1602" y="12060"/>
                  <a:pt x="1651" y="12243"/>
                </a:cubicBezTo>
                <a:cubicBezTo>
                  <a:pt x="1651" y="12366"/>
                  <a:pt x="1651" y="12427"/>
                  <a:pt x="1651" y="12489"/>
                </a:cubicBezTo>
                <a:cubicBezTo>
                  <a:pt x="1796" y="12427"/>
                  <a:pt x="1843" y="12184"/>
                  <a:pt x="1990" y="12184"/>
                </a:cubicBezTo>
                <a:cubicBezTo>
                  <a:pt x="2135" y="12243"/>
                  <a:pt x="2135" y="12549"/>
                  <a:pt x="2281" y="12671"/>
                </a:cubicBezTo>
                <a:cubicBezTo>
                  <a:pt x="2864" y="13100"/>
                  <a:pt x="3835" y="13038"/>
                  <a:pt x="4465" y="13283"/>
                </a:cubicBezTo>
                <a:cubicBezTo>
                  <a:pt x="4562" y="13344"/>
                  <a:pt x="4418" y="13528"/>
                  <a:pt x="4515" y="13528"/>
                </a:cubicBezTo>
                <a:cubicBezTo>
                  <a:pt x="5242" y="13528"/>
                  <a:pt x="5921" y="12733"/>
                  <a:pt x="6602" y="12978"/>
                </a:cubicBezTo>
                <a:cubicBezTo>
                  <a:pt x="6795" y="13038"/>
                  <a:pt x="6698" y="13528"/>
                  <a:pt x="6893" y="13712"/>
                </a:cubicBezTo>
                <a:cubicBezTo>
                  <a:pt x="6941" y="13773"/>
                  <a:pt x="7086" y="13589"/>
                  <a:pt x="7183" y="13651"/>
                </a:cubicBezTo>
                <a:cubicBezTo>
                  <a:pt x="7378" y="13773"/>
                  <a:pt x="7573" y="13956"/>
                  <a:pt x="7718" y="14200"/>
                </a:cubicBezTo>
                <a:cubicBezTo>
                  <a:pt x="8008" y="14813"/>
                  <a:pt x="6990" y="16466"/>
                  <a:pt x="8057" y="1830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60" name="AutoShape 28"/>
          <p:cNvSpPr>
            <a:spLocks/>
          </p:cNvSpPr>
          <p:nvPr/>
        </p:nvSpPr>
        <p:spPr bwMode="auto">
          <a:xfrm>
            <a:off x="19278600" y="8445500"/>
            <a:ext cx="1543050" cy="1079500"/>
          </a:xfrm>
          <a:custGeom>
            <a:avLst/>
            <a:gdLst>
              <a:gd name="T0" fmla="*/ 10726 w 21452"/>
              <a:gd name="T1" fmla="*/ 10738 h 21476"/>
              <a:gd name="T2" fmla="*/ 10726 w 21452"/>
              <a:gd name="T3" fmla="*/ 10738 h 21476"/>
              <a:gd name="T4" fmla="*/ 10726 w 21452"/>
              <a:gd name="T5" fmla="*/ 10738 h 21476"/>
              <a:gd name="T6" fmla="*/ 10726 w 21452"/>
              <a:gd name="T7" fmla="*/ 10738 h 21476"/>
            </a:gdLst>
            <a:ahLst/>
            <a:cxnLst>
              <a:cxn ang="0">
                <a:pos x="T0" y="T1"/>
              </a:cxn>
              <a:cxn ang="0">
                <a:pos x="T2" y="T3"/>
              </a:cxn>
              <a:cxn ang="0">
                <a:pos x="T4" y="T5"/>
              </a:cxn>
              <a:cxn ang="0">
                <a:pos x="T6" y="T7"/>
              </a:cxn>
            </a:cxnLst>
            <a:rect l="0" t="0" r="r" b="b"/>
            <a:pathLst>
              <a:path w="21452" h="21476">
                <a:moveTo>
                  <a:pt x="589" y="14750"/>
                </a:moveTo>
                <a:lnTo>
                  <a:pt x="589" y="14750"/>
                </a:lnTo>
                <a:cubicBezTo>
                  <a:pt x="737" y="14750"/>
                  <a:pt x="1032" y="16384"/>
                  <a:pt x="1805" y="17279"/>
                </a:cubicBezTo>
                <a:cubicBezTo>
                  <a:pt x="2801" y="18440"/>
                  <a:pt x="3648" y="19070"/>
                  <a:pt x="4422" y="20492"/>
                </a:cubicBezTo>
                <a:cubicBezTo>
                  <a:pt x="4533" y="20704"/>
                  <a:pt x="5270" y="20545"/>
                  <a:pt x="5344" y="20599"/>
                </a:cubicBezTo>
                <a:cubicBezTo>
                  <a:pt x="5639" y="20756"/>
                  <a:pt x="5860" y="21125"/>
                  <a:pt x="6118" y="21284"/>
                </a:cubicBezTo>
                <a:cubicBezTo>
                  <a:pt x="6634" y="21600"/>
                  <a:pt x="8256" y="21547"/>
                  <a:pt x="8735" y="20967"/>
                </a:cubicBezTo>
                <a:cubicBezTo>
                  <a:pt x="8809" y="20863"/>
                  <a:pt x="8845" y="20123"/>
                  <a:pt x="9104" y="20123"/>
                </a:cubicBezTo>
                <a:cubicBezTo>
                  <a:pt x="9805" y="19966"/>
                  <a:pt x="9694" y="20178"/>
                  <a:pt x="10321" y="19176"/>
                </a:cubicBezTo>
                <a:cubicBezTo>
                  <a:pt x="10431" y="19018"/>
                  <a:pt x="10578" y="19546"/>
                  <a:pt x="10909" y="19176"/>
                </a:cubicBezTo>
                <a:cubicBezTo>
                  <a:pt x="11241" y="18807"/>
                  <a:pt x="11463" y="18174"/>
                  <a:pt x="11869" y="17860"/>
                </a:cubicBezTo>
                <a:cubicBezTo>
                  <a:pt x="12716" y="17069"/>
                  <a:pt x="12016" y="17860"/>
                  <a:pt x="12643" y="17911"/>
                </a:cubicBezTo>
                <a:cubicBezTo>
                  <a:pt x="12679" y="17911"/>
                  <a:pt x="13638" y="17490"/>
                  <a:pt x="13675" y="17490"/>
                </a:cubicBezTo>
                <a:cubicBezTo>
                  <a:pt x="13859" y="17490"/>
                  <a:pt x="14043" y="17754"/>
                  <a:pt x="14227" y="17754"/>
                </a:cubicBezTo>
                <a:cubicBezTo>
                  <a:pt x="14301" y="17701"/>
                  <a:pt x="14338" y="17490"/>
                  <a:pt x="14412" y="17437"/>
                </a:cubicBezTo>
                <a:cubicBezTo>
                  <a:pt x="14633" y="17332"/>
                  <a:pt x="15739" y="17174"/>
                  <a:pt x="15812" y="16805"/>
                </a:cubicBezTo>
                <a:cubicBezTo>
                  <a:pt x="15886" y="16594"/>
                  <a:pt x="15333" y="16331"/>
                  <a:pt x="15997" y="16173"/>
                </a:cubicBezTo>
                <a:cubicBezTo>
                  <a:pt x="16255" y="16120"/>
                  <a:pt x="16512" y="16490"/>
                  <a:pt x="16734" y="16384"/>
                </a:cubicBezTo>
                <a:cubicBezTo>
                  <a:pt x="17434" y="16014"/>
                  <a:pt x="17212" y="14119"/>
                  <a:pt x="17398" y="13539"/>
                </a:cubicBezTo>
                <a:cubicBezTo>
                  <a:pt x="17472" y="13381"/>
                  <a:pt x="17656" y="13381"/>
                  <a:pt x="17729" y="13224"/>
                </a:cubicBezTo>
                <a:lnTo>
                  <a:pt x="18135" y="11380"/>
                </a:lnTo>
                <a:cubicBezTo>
                  <a:pt x="18209" y="11115"/>
                  <a:pt x="18320" y="10906"/>
                  <a:pt x="18320" y="10641"/>
                </a:cubicBezTo>
                <a:cubicBezTo>
                  <a:pt x="18320" y="10537"/>
                  <a:pt x="18135" y="10537"/>
                  <a:pt x="18135" y="10430"/>
                </a:cubicBezTo>
                <a:cubicBezTo>
                  <a:pt x="18172" y="9956"/>
                  <a:pt x="18577" y="8482"/>
                  <a:pt x="18762" y="8059"/>
                </a:cubicBezTo>
                <a:cubicBezTo>
                  <a:pt x="18835" y="7956"/>
                  <a:pt x="19020" y="8059"/>
                  <a:pt x="19020" y="7903"/>
                </a:cubicBezTo>
                <a:cubicBezTo>
                  <a:pt x="19204" y="6901"/>
                  <a:pt x="18946" y="6164"/>
                  <a:pt x="19756" y="5058"/>
                </a:cubicBezTo>
                <a:cubicBezTo>
                  <a:pt x="20015" y="4636"/>
                  <a:pt x="20310" y="4899"/>
                  <a:pt x="20715" y="4688"/>
                </a:cubicBezTo>
                <a:cubicBezTo>
                  <a:pt x="21120" y="4425"/>
                  <a:pt x="21157" y="3635"/>
                  <a:pt x="21452" y="3213"/>
                </a:cubicBezTo>
                <a:cubicBezTo>
                  <a:pt x="21010" y="2686"/>
                  <a:pt x="21600" y="2792"/>
                  <a:pt x="21120" y="2318"/>
                </a:cubicBezTo>
                <a:cubicBezTo>
                  <a:pt x="21047" y="2265"/>
                  <a:pt x="20936" y="2159"/>
                  <a:pt x="20825" y="2159"/>
                </a:cubicBezTo>
                <a:cubicBezTo>
                  <a:pt x="20678" y="2212"/>
                  <a:pt x="20568" y="2475"/>
                  <a:pt x="20420" y="2424"/>
                </a:cubicBezTo>
                <a:cubicBezTo>
                  <a:pt x="20199" y="2212"/>
                  <a:pt x="20162" y="1685"/>
                  <a:pt x="19942" y="1475"/>
                </a:cubicBezTo>
                <a:cubicBezTo>
                  <a:pt x="19831" y="1369"/>
                  <a:pt x="19683" y="1633"/>
                  <a:pt x="19572" y="1581"/>
                </a:cubicBezTo>
                <a:cubicBezTo>
                  <a:pt x="18982" y="1264"/>
                  <a:pt x="19535" y="685"/>
                  <a:pt x="18687" y="631"/>
                </a:cubicBezTo>
                <a:cubicBezTo>
                  <a:pt x="18687" y="1053"/>
                  <a:pt x="18135" y="1053"/>
                  <a:pt x="17840" y="1160"/>
                </a:cubicBezTo>
                <a:cubicBezTo>
                  <a:pt x="17692" y="1211"/>
                  <a:pt x="17545" y="1475"/>
                  <a:pt x="17434" y="1369"/>
                </a:cubicBezTo>
                <a:cubicBezTo>
                  <a:pt x="16734" y="1053"/>
                  <a:pt x="17286" y="52"/>
                  <a:pt x="16366" y="0"/>
                </a:cubicBezTo>
                <a:cubicBezTo>
                  <a:pt x="15997" y="0"/>
                  <a:pt x="15775" y="736"/>
                  <a:pt x="15408" y="789"/>
                </a:cubicBezTo>
                <a:cubicBezTo>
                  <a:pt x="14780" y="948"/>
                  <a:pt x="13969" y="0"/>
                  <a:pt x="13417" y="1001"/>
                </a:cubicBezTo>
                <a:cubicBezTo>
                  <a:pt x="13195" y="1422"/>
                  <a:pt x="13342" y="2844"/>
                  <a:pt x="12938" y="3107"/>
                </a:cubicBezTo>
                <a:cubicBezTo>
                  <a:pt x="12790" y="3160"/>
                  <a:pt x="12569" y="2950"/>
                  <a:pt x="12421" y="3054"/>
                </a:cubicBezTo>
                <a:cubicBezTo>
                  <a:pt x="11831" y="3583"/>
                  <a:pt x="12679" y="3951"/>
                  <a:pt x="11758" y="4163"/>
                </a:cubicBezTo>
                <a:cubicBezTo>
                  <a:pt x="11463" y="4215"/>
                  <a:pt x="10800" y="3054"/>
                  <a:pt x="10505" y="3793"/>
                </a:cubicBezTo>
                <a:cubicBezTo>
                  <a:pt x="10394" y="4056"/>
                  <a:pt x="10578" y="4529"/>
                  <a:pt x="10431" y="4741"/>
                </a:cubicBezTo>
                <a:cubicBezTo>
                  <a:pt x="10025" y="5321"/>
                  <a:pt x="8883" y="4951"/>
                  <a:pt x="8366" y="5478"/>
                </a:cubicBezTo>
                <a:cubicBezTo>
                  <a:pt x="7887" y="5900"/>
                  <a:pt x="8403" y="6637"/>
                  <a:pt x="8551" y="6953"/>
                </a:cubicBezTo>
                <a:cubicBezTo>
                  <a:pt x="8699" y="7323"/>
                  <a:pt x="5565" y="8112"/>
                  <a:pt x="5123" y="8008"/>
                </a:cubicBezTo>
                <a:cubicBezTo>
                  <a:pt x="4422" y="7796"/>
                  <a:pt x="3907" y="6427"/>
                  <a:pt x="3243" y="6320"/>
                </a:cubicBezTo>
                <a:cubicBezTo>
                  <a:pt x="3095" y="6268"/>
                  <a:pt x="2985" y="6320"/>
                  <a:pt x="2911" y="6374"/>
                </a:cubicBezTo>
                <a:cubicBezTo>
                  <a:pt x="2395" y="6690"/>
                  <a:pt x="2911" y="8376"/>
                  <a:pt x="2874" y="8587"/>
                </a:cubicBezTo>
                <a:cubicBezTo>
                  <a:pt x="2653" y="9166"/>
                  <a:pt x="1326" y="8323"/>
                  <a:pt x="810" y="8956"/>
                </a:cubicBezTo>
                <a:cubicBezTo>
                  <a:pt x="589" y="9219"/>
                  <a:pt x="1695" y="9114"/>
                  <a:pt x="1732" y="10009"/>
                </a:cubicBezTo>
                <a:cubicBezTo>
                  <a:pt x="1805" y="11063"/>
                  <a:pt x="1179" y="10273"/>
                  <a:pt x="921" y="11010"/>
                </a:cubicBezTo>
                <a:cubicBezTo>
                  <a:pt x="737" y="11537"/>
                  <a:pt x="1399" y="12644"/>
                  <a:pt x="1326" y="12854"/>
                </a:cubicBezTo>
                <a:cubicBezTo>
                  <a:pt x="994" y="13644"/>
                  <a:pt x="700" y="13802"/>
                  <a:pt x="37" y="14855"/>
                </a:cubicBezTo>
                <a:cubicBezTo>
                  <a:pt x="37" y="14855"/>
                  <a:pt x="37" y="14855"/>
                  <a:pt x="0" y="14908"/>
                </a:cubicBezTo>
                <a:cubicBezTo>
                  <a:pt x="73" y="14855"/>
                  <a:pt x="110" y="14803"/>
                  <a:pt x="184" y="14803"/>
                </a:cubicBezTo>
                <a:cubicBezTo>
                  <a:pt x="184" y="14803"/>
                  <a:pt x="589" y="14750"/>
                  <a:pt x="589" y="1475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61" name="AutoShape 29"/>
          <p:cNvSpPr>
            <a:spLocks/>
          </p:cNvSpPr>
          <p:nvPr/>
        </p:nvSpPr>
        <p:spPr bwMode="auto">
          <a:xfrm>
            <a:off x="19392900" y="8153400"/>
            <a:ext cx="1273175" cy="700088"/>
          </a:xfrm>
          <a:custGeom>
            <a:avLst/>
            <a:gdLst>
              <a:gd name="T0" fmla="+- 0 10882 204"/>
              <a:gd name="T1" fmla="*/ T0 w 21356"/>
              <a:gd name="T2" fmla="+- 0 10840 225"/>
              <a:gd name="T3" fmla="*/ 10840 h 21231"/>
              <a:gd name="T4" fmla="+- 0 10882 204"/>
              <a:gd name="T5" fmla="*/ T4 w 21356"/>
              <a:gd name="T6" fmla="+- 0 10840 225"/>
              <a:gd name="T7" fmla="*/ 10840 h 21231"/>
              <a:gd name="T8" fmla="+- 0 10882 204"/>
              <a:gd name="T9" fmla="*/ T8 w 21356"/>
              <a:gd name="T10" fmla="+- 0 10840 225"/>
              <a:gd name="T11" fmla="*/ 10840 h 21231"/>
              <a:gd name="T12" fmla="+- 0 10882 204"/>
              <a:gd name="T13" fmla="*/ T12 w 21356"/>
              <a:gd name="T14" fmla="+- 0 10840 225"/>
              <a:gd name="T15" fmla="*/ 10840 h 21231"/>
            </a:gdLst>
            <a:ahLst/>
            <a:cxnLst>
              <a:cxn ang="0">
                <a:pos x="T1" y="T3"/>
              </a:cxn>
              <a:cxn ang="0">
                <a:pos x="T5" y="T7"/>
              </a:cxn>
              <a:cxn ang="0">
                <a:pos x="T9" y="T11"/>
              </a:cxn>
              <a:cxn ang="0">
                <a:pos x="T13" y="T15"/>
              </a:cxn>
            </a:cxnLst>
            <a:rect l="0" t="0" r="r" b="b"/>
            <a:pathLst>
              <a:path w="21356" h="21231">
                <a:moveTo>
                  <a:pt x="21351" y="2584"/>
                </a:moveTo>
                <a:cubicBezTo>
                  <a:pt x="21396" y="3388"/>
                  <a:pt x="21085" y="4512"/>
                  <a:pt x="21040" y="5315"/>
                </a:cubicBezTo>
                <a:cubicBezTo>
                  <a:pt x="20995" y="5878"/>
                  <a:pt x="21040" y="6439"/>
                  <a:pt x="20906" y="6922"/>
                </a:cubicBezTo>
                <a:cubicBezTo>
                  <a:pt x="20774" y="7482"/>
                  <a:pt x="20374" y="7643"/>
                  <a:pt x="20329" y="8206"/>
                </a:cubicBezTo>
                <a:cubicBezTo>
                  <a:pt x="20240" y="8768"/>
                  <a:pt x="20462" y="9330"/>
                  <a:pt x="20462" y="9971"/>
                </a:cubicBezTo>
                <a:cubicBezTo>
                  <a:pt x="20462" y="10615"/>
                  <a:pt x="19796" y="10615"/>
                  <a:pt x="19441" y="10777"/>
                </a:cubicBezTo>
                <a:cubicBezTo>
                  <a:pt x="19262" y="10856"/>
                  <a:pt x="19085" y="11257"/>
                  <a:pt x="18951" y="11096"/>
                </a:cubicBezTo>
                <a:cubicBezTo>
                  <a:pt x="18107" y="10615"/>
                  <a:pt x="18772" y="9089"/>
                  <a:pt x="17663" y="9009"/>
                </a:cubicBezTo>
                <a:cubicBezTo>
                  <a:pt x="17218" y="9009"/>
                  <a:pt x="16951" y="10132"/>
                  <a:pt x="16507" y="10212"/>
                </a:cubicBezTo>
                <a:cubicBezTo>
                  <a:pt x="15751" y="10454"/>
                  <a:pt x="14773" y="9009"/>
                  <a:pt x="14107" y="10535"/>
                </a:cubicBezTo>
                <a:cubicBezTo>
                  <a:pt x="13840" y="11176"/>
                  <a:pt x="14018" y="13344"/>
                  <a:pt x="13530" y="13745"/>
                </a:cubicBezTo>
                <a:cubicBezTo>
                  <a:pt x="13351" y="13827"/>
                  <a:pt x="13085" y="13506"/>
                  <a:pt x="12907" y="13664"/>
                </a:cubicBezTo>
                <a:cubicBezTo>
                  <a:pt x="12196" y="14470"/>
                  <a:pt x="13217" y="15032"/>
                  <a:pt x="12107" y="15354"/>
                </a:cubicBezTo>
                <a:cubicBezTo>
                  <a:pt x="11751" y="15434"/>
                  <a:pt x="10952" y="13664"/>
                  <a:pt x="10596" y="14791"/>
                </a:cubicBezTo>
                <a:cubicBezTo>
                  <a:pt x="10462" y="15192"/>
                  <a:pt x="10684" y="15913"/>
                  <a:pt x="10507" y="16236"/>
                </a:cubicBezTo>
                <a:cubicBezTo>
                  <a:pt x="10018" y="17120"/>
                  <a:pt x="8640" y="16555"/>
                  <a:pt x="8017" y="17360"/>
                </a:cubicBezTo>
                <a:cubicBezTo>
                  <a:pt x="7440" y="18002"/>
                  <a:pt x="8062" y="19126"/>
                  <a:pt x="8240" y="19607"/>
                </a:cubicBezTo>
                <a:cubicBezTo>
                  <a:pt x="8418" y="20171"/>
                  <a:pt x="4640" y="21374"/>
                  <a:pt x="4107" y="21216"/>
                </a:cubicBezTo>
                <a:cubicBezTo>
                  <a:pt x="3262" y="20892"/>
                  <a:pt x="2640" y="18806"/>
                  <a:pt x="1840" y="18643"/>
                </a:cubicBezTo>
                <a:cubicBezTo>
                  <a:pt x="1662" y="18563"/>
                  <a:pt x="1529" y="18643"/>
                  <a:pt x="1440" y="18725"/>
                </a:cubicBezTo>
                <a:cubicBezTo>
                  <a:pt x="907" y="17681"/>
                  <a:pt x="462" y="16637"/>
                  <a:pt x="62" y="15434"/>
                </a:cubicBezTo>
                <a:cubicBezTo>
                  <a:pt x="-204" y="14627"/>
                  <a:pt x="462" y="13506"/>
                  <a:pt x="417" y="12461"/>
                </a:cubicBezTo>
                <a:cubicBezTo>
                  <a:pt x="1041" y="7723"/>
                  <a:pt x="2507" y="11657"/>
                  <a:pt x="3839" y="8688"/>
                </a:cubicBezTo>
                <a:cubicBezTo>
                  <a:pt x="3929" y="8446"/>
                  <a:pt x="3796" y="8046"/>
                  <a:pt x="3885" y="7802"/>
                </a:cubicBezTo>
                <a:cubicBezTo>
                  <a:pt x="4018" y="7482"/>
                  <a:pt x="4329" y="7643"/>
                  <a:pt x="4463" y="7321"/>
                </a:cubicBezTo>
                <a:cubicBezTo>
                  <a:pt x="4463" y="7321"/>
                  <a:pt x="4819" y="4833"/>
                  <a:pt x="4819" y="4753"/>
                </a:cubicBezTo>
                <a:cubicBezTo>
                  <a:pt x="5218" y="3468"/>
                  <a:pt x="6285" y="2423"/>
                  <a:pt x="7040" y="1780"/>
                </a:cubicBezTo>
                <a:cubicBezTo>
                  <a:pt x="7129" y="2022"/>
                  <a:pt x="7440" y="1620"/>
                  <a:pt x="7573" y="1862"/>
                </a:cubicBezTo>
                <a:cubicBezTo>
                  <a:pt x="7707" y="2103"/>
                  <a:pt x="7484" y="2665"/>
                  <a:pt x="7618" y="2905"/>
                </a:cubicBezTo>
                <a:cubicBezTo>
                  <a:pt x="8329" y="3948"/>
                  <a:pt x="8907" y="-147"/>
                  <a:pt x="9351" y="415"/>
                </a:cubicBezTo>
                <a:cubicBezTo>
                  <a:pt x="9618" y="738"/>
                  <a:pt x="9618" y="1460"/>
                  <a:pt x="9840" y="1862"/>
                </a:cubicBezTo>
                <a:cubicBezTo>
                  <a:pt x="9885" y="1942"/>
                  <a:pt x="10062" y="1702"/>
                  <a:pt x="10107" y="1780"/>
                </a:cubicBezTo>
                <a:cubicBezTo>
                  <a:pt x="10150" y="1942"/>
                  <a:pt x="9974" y="2262"/>
                  <a:pt x="10062" y="2344"/>
                </a:cubicBezTo>
                <a:cubicBezTo>
                  <a:pt x="10285" y="2423"/>
                  <a:pt x="10507" y="2022"/>
                  <a:pt x="10684" y="2183"/>
                </a:cubicBezTo>
                <a:cubicBezTo>
                  <a:pt x="10995" y="2423"/>
                  <a:pt x="10729" y="3948"/>
                  <a:pt x="10729" y="4112"/>
                </a:cubicBezTo>
                <a:cubicBezTo>
                  <a:pt x="10729" y="4512"/>
                  <a:pt x="11129" y="3870"/>
                  <a:pt x="11351" y="3789"/>
                </a:cubicBezTo>
                <a:cubicBezTo>
                  <a:pt x="11529" y="3709"/>
                  <a:pt x="11707" y="4351"/>
                  <a:pt x="11885" y="4190"/>
                </a:cubicBezTo>
                <a:cubicBezTo>
                  <a:pt x="11929" y="4112"/>
                  <a:pt x="12462" y="1620"/>
                  <a:pt x="13085" y="1381"/>
                </a:cubicBezTo>
                <a:cubicBezTo>
                  <a:pt x="13263" y="1297"/>
                  <a:pt x="13441" y="1620"/>
                  <a:pt x="13618" y="1620"/>
                </a:cubicBezTo>
                <a:cubicBezTo>
                  <a:pt x="13795" y="1540"/>
                  <a:pt x="13885" y="1059"/>
                  <a:pt x="14062" y="1140"/>
                </a:cubicBezTo>
                <a:cubicBezTo>
                  <a:pt x="14418" y="1218"/>
                  <a:pt x="14640" y="2103"/>
                  <a:pt x="14996" y="2103"/>
                </a:cubicBezTo>
                <a:cubicBezTo>
                  <a:pt x="15262" y="2103"/>
                  <a:pt x="15484" y="1620"/>
                  <a:pt x="15617" y="1218"/>
                </a:cubicBezTo>
                <a:cubicBezTo>
                  <a:pt x="15663" y="1059"/>
                  <a:pt x="15396" y="1059"/>
                  <a:pt x="15396" y="898"/>
                </a:cubicBezTo>
                <a:cubicBezTo>
                  <a:pt x="15529" y="-225"/>
                  <a:pt x="15796" y="898"/>
                  <a:pt x="15972" y="738"/>
                </a:cubicBezTo>
                <a:cubicBezTo>
                  <a:pt x="16107" y="657"/>
                  <a:pt x="16107" y="177"/>
                  <a:pt x="16240" y="177"/>
                </a:cubicBezTo>
                <a:cubicBezTo>
                  <a:pt x="16907" y="-147"/>
                  <a:pt x="18418" y="-66"/>
                  <a:pt x="18996" y="738"/>
                </a:cubicBezTo>
                <a:cubicBezTo>
                  <a:pt x="19129" y="978"/>
                  <a:pt x="19085" y="1540"/>
                  <a:pt x="19262" y="1702"/>
                </a:cubicBezTo>
                <a:cubicBezTo>
                  <a:pt x="19529" y="2022"/>
                  <a:pt x="19840" y="2022"/>
                  <a:pt x="20151" y="2183"/>
                </a:cubicBezTo>
                <a:cubicBezTo>
                  <a:pt x="20552" y="2423"/>
                  <a:pt x="20952" y="2504"/>
                  <a:pt x="21351" y="2584"/>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62" name="AutoShape 30"/>
          <p:cNvSpPr>
            <a:spLocks/>
          </p:cNvSpPr>
          <p:nvPr/>
        </p:nvSpPr>
        <p:spPr bwMode="auto">
          <a:xfrm>
            <a:off x="18273713" y="7772400"/>
            <a:ext cx="1539875" cy="866775"/>
          </a:xfrm>
          <a:custGeom>
            <a:avLst/>
            <a:gdLst>
              <a:gd name="T0" fmla="+- 0 10923 247"/>
              <a:gd name="T1" fmla="*/ T0 w 21353"/>
              <a:gd name="T2" fmla="+- 0 11265 1308"/>
              <a:gd name="T3" fmla="*/ 11265 h 19915"/>
              <a:gd name="T4" fmla="+- 0 10923 247"/>
              <a:gd name="T5" fmla="*/ T4 w 21353"/>
              <a:gd name="T6" fmla="+- 0 11265 1308"/>
              <a:gd name="T7" fmla="*/ 11265 h 19915"/>
              <a:gd name="T8" fmla="+- 0 10923 247"/>
              <a:gd name="T9" fmla="*/ T8 w 21353"/>
              <a:gd name="T10" fmla="+- 0 11265 1308"/>
              <a:gd name="T11" fmla="*/ 11265 h 19915"/>
              <a:gd name="T12" fmla="+- 0 10923 247"/>
              <a:gd name="T13" fmla="*/ T12 w 21353"/>
              <a:gd name="T14" fmla="+- 0 11265 1308"/>
              <a:gd name="T15" fmla="*/ 11265 h 19915"/>
            </a:gdLst>
            <a:ahLst/>
            <a:cxnLst>
              <a:cxn ang="0">
                <a:pos x="T1" y="T3"/>
              </a:cxn>
              <a:cxn ang="0">
                <a:pos x="T5" y="T7"/>
              </a:cxn>
              <a:cxn ang="0">
                <a:pos x="T9" y="T11"/>
              </a:cxn>
              <a:cxn ang="0">
                <a:pos x="T13" y="T15"/>
              </a:cxn>
            </a:cxnLst>
            <a:rect l="0" t="0" r="r" b="b"/>
            <a:pathLst>
              <a:path w="21353" h="19915">
                <a:moveTo>
                  <a:pt x="15834" y="18285"/>
                </a:moveTo>
                <a:cubicBezTo>
                  <a:pt x="16385" y="14694"/>
                  <a:pt x="17600" y="17736"/>
                  <a:pt x="18703" y="15425"/>
                </a:cubicBezTo>
                <a:cubicBezTo>
                  <a:pt x="18777" y="15242"/>
                  <a:pt x="18667" y="14939"/>
                  <a:pt x="18740" y="14754"/>
                </a:cubicBezTo>
                <a:cubicBezTo>
                  <a:pt x="18850" y="14511"/>
                  <a:pt x="19108" y="14633"/>
                  <a:pt x="19219" y="14390"/>
                </a:cubicBezTo>
                <a:cubicBezTo>
                  <a:pt x="19219" y="14390"/>
                  <a:pt x="19514" y="12504"/>
                  <a:pt x="19514" y="12443"/>
                </a:cubicBezTo>
                <a:cubicBezTo>
                  <a:pt x="19844" y="11470"/>
                  <a:pt x="20727" y="10678"/>
                  <a:pt x="21353" y="10191"/>
                </a:cubicBezTo>
                <a:cubicBezTo>
                  <a:pt x="21206" y="9889"/>
                  <a:pt x="21315" y="9340"/>
                  <a:pt x="21168" y="9036"/>
                </a:cubicBezTo>
                <a:cubicBezTo>
                  <a:pt x="21021" y="8792"/>
                  <a:pt x="20727" y="8976"/>
                  <a:pt x="20580" y="8792"/>
                </a:cubicBezTo>
                <a:cubicBezTo>
                  <a:pt x="20543" y="8730"/>
                  <a:pt x="20211" y="7270"/>
                  <a:pt x="20175" y="7210"/>
                </a:cubicBezTo>
                <a:cubicBezTo>
                  <a:pt x="19992" y="6966"/>
                  <a:pt x="19660" y="7149"/>
                  <a:pt x="19439" y="7029"/>
                </a:cubicBezTo>
                <a:cubicBezTo>
                  <a:pt x="19255" y="6966"/>
                  <a:pt x="18850" y="6784"/>
                  <a:pt x="18703" y="6601"/>
                </a:cubicBezTo>
                <a:cubicBezTo>
                  <a:pt x="18629" y="6541"/>
                  <a:pt x="18629" y="6297"/>
                  <a:pt x="18557" y="6358"/>
                </a:cubicBezTo>
                <a:cubicBezTo>
                  <a:pt x="17931" y="6784"/>
                  <a:pt x="19144" y="6907"/>
                  <a:pt x="18078" y="7088"/>
                </a:cubicBezTo>
                <a:cubicBezTo>
                  <a:pt x="18004" y="7088"/>
                  <a:pt x="17894" y="7029"/>
                  <a:pt x="17820" y="6907"/>
                </a:cubicBezTo>
                <a:cubicBezTo>
                  <a:pt x="17710" y="6723"/>
                  <a:pt x="17746" y="6420"/>
                  <a:pt x="17636" y="6236"/>
                </a:cubicBezTo>
                <a:cubicBezTo>
                  <a:pt x="17489" y="6054"/>
                  <a:pt x="16974" y="5992"/>
                  <a:pt x="17120" y="5812"/>
                </a:cubicBezTo>
                <a:cubicBezTo>
                  <a:pt x="17600" y="5081"/>
                  <a:pt x="17894" y="5992"/>
                  <a:pt x="17452" y="4531"/>
                </a:cubicBezTo>
                <a:cubicBezTo>
                  <a:pt x="17452" y="4472"/>
                  <a:pt x="17379" y="4472"/>
                  <a:pt x="17342" y="4531"/>
                </a:cubicBezTo>
                <a:cubicBezTo>
                  <a:pt x="17305" y="4654"/>
                  <a:pt x="17342" y="4897"/>
                  <a:pt x="17268" y="4958"/>
                </a:cubicBezTo>
                <a:cubicBezTo>
                  <a:pt x="17120" y="5081"/>
                  <a:pt x="16936" y="4958"/>
                  <a:pt x="16790" y="4958"/>
                </a:cubicBezTo>
                <a:cubicBezTo>
                  <a:pt x="16643" y="4958"/>
                  <a:pt x="16458" y="5081"/>
                  <a:pt x="16312" y="5020"/>
                </a:cubicBezTo>
                <a:cubicBezTo>
                  <a:pt x="15980" y="4836"/>
                  <a:pt x="15355" y="3925"/>
                  <a:pt x="14802" y="4045"/>
                </a:cubicBezTo>
                <a:cubicBezTo>
                  <a:pt x="14582" y="4107"/>
                  <a:pt x="15391" y="5445"/>
                  <a:pt x="15355" y="5567"/>
                </a:cubicBezTo>
                <a:cubicBezTo>
                  <a:pt x="15244" y="5931"/>
                  <a:pt x="14877" y="5812"/>
                  <a:pt x="14693" y="6054"/>
                </a:cubicBezTo>
                <a:cubicBezTo>
                  <a:pt x="14582" y="6236"/>
                  <a:pt x="14619" y="6663"/>
                  <a:pt x="14472" y="6784"/>
                </a:cubicBezTo>
                <a:cubicBezTo>
                  <a:pt x="13920" y="7149"/>
                  <a:pt x="13699" y="5567"/>
                  <a:pt x="13588" y="5324"/>
                </a:cubicBezTo>
                <a:lnTo>
                  <a:pt x="12742" y="4472"/>
                </a:lnTo>
                <a:cubicBezTo>
                  <a:pt x="12668" y="3680"/>
                  <a:pt x="14067" y="3376"/>
                  <a:pt x="13074" y="2587"/>
                </a:cubicBezTo>
                <a:cubicBezTo>
                  <a:pt x="12889" y="2404"/>
                  <a:pt x="12080" y="3134"/>
                  <a:pt x="12080" y="3134"/>
                </a:cubicBezTo>
                <a:cubicBezTo>
                  <a:pt x="11969" y="2950"/>
                  <a:pt x="12080" y="2645"/>
                  <a:pt x="11969" y="2464"/>
                </a:cubicBezTo>
                <a:cubicBezTo>
                  <a:pt x="11933" y="2342"/>
                  <a:pt x="11822" y="2464"/>
                  <a:pt x="11712" y="2525"/>
                </a:cubicBezTo>
                <a:cubicBezTo>
                  <a:pt x="11675" y="2525"/>
                  <a:pt x="11638" y="2706"/>
                  <a:pt x="11565" y="2645"/>
                </a:cubicBezTo>
                <a:cubicBezTo>
                  <a:pt x="11491" y="2464"/>
                  <a:pt x="11528" y="2159"/>
                  <a:pt x="11381" y="1977"/>
                </a:cubicBezTo>
                <a:cubicBezTo>
                  <a:pt x="10902" y="1491"/>
                  <a:pt x="10423" y="2037"/>
                  <a:pt x="9835" y="1247"/>
                </a:cubicBezTo>
                <a:cubicBezTo>
                  <a:pt x="9431" y="760"/>
                  <a:pt x="9983" y="273"/>
                  <a:pt x="9320" y="150"/>
                </a:cubicBezTo>
                <a:cubicBezTo>
                  <a:pt x="8289" y="-152"/>
                  <a:pt x="9468" y="1185"/>
                  <a:pt x="8473" y="1430"/>
                </a:cubicBezTo>
                <a:cubicBezTo>
                  <a:pt x="8400" y="1672"/>
                  <a:pt x="8363" y="1856"/>
                  <a:pt x="8253" y="1856"/>
                </a:cubicBezTo>
                <a:cubicBezTo>
                  <a:pt x="7774" y="2037"/>
                  <a:pt x="7001" y="-1308"/>
                  <a:pt x="6597" y="579"/>
                </a:cubicBezTo>
                <a:cubicBezTo>
                  <a:pt x="6523" y="882"/>
                  <a:pt x="7186" y="1126"/>
                  <a:pt x="7039" y="1307"/>
                </a:cubicBezTo>
                <a:cubicBezTo>
                  <a:pt x="6597" y="1915"/>
                  <a:pt x="5972" y="1977"/>
                  <a:pt x="5530" y="2404"/>
                </a:cubicBezTo>
                <a:cubicBezTo>
                  <a:pt x="5456" y="2464"/>
                  <a:pt x="5530" y="2769"/>
                  <a:pt x="5456" y="2830"/>
                </a:cubicBezTo>
                <a:cubicBezTo>
                  <a:pt x="5162" y="3071"/>
                  <a:pt x="4757" y="2706"/>
                  <a:pt x="4536" y="3010"/>
                </a:cubicBezTo>
                <a:cubicBezTo>
                  <a:pt x="4352" y="3255"/>
                  <a:pt x="4426" y="3742"/>
                  <a:pt x="4242" y="3984"/>
                </a:cubicBezTo>
                <a:cubicBezTo>
                  <a:pt x="4168" y="4107"/>
                  <a:pt x="4095" y="3680"/>
                  <a:pt x="3984" y="3742"/>
                </a:cubicBezTo>
                <a:cubicBezTo>
                  <a:pt x="3653" y="3864"/>
                  <a:pt x="3617" y="4593"/>
                  <a:pt x="3395" y="4836"/>
                </a:cubicBezTo>
                <a:cubicBezTo>
                  <a:pt x="3285" y="5020"/>
                  <a:pt x="3064" y="4714"/>
                  <a:pt x="2954" y="4897"/>
                </a:cubicBezTo>
                <a:cubicBezTo>
                  <a:pt x="2844" y="5020"/>
                  <a:pt x="2954" y="5385"/>
                  <a:pt x="2844" y="5567"/>
                </a:cubicBezTo>
                <a:cubicBezTo>
                  <a:pt x="2696" y="5871"/>
                  <a:pt x="2292" y="5324"/>
                  <a:pt x="2181" y="5324"/>
                </a:cubicBezTo>
                <a:cubicBezTo>
                  <a:pt x="1262" y="5567"/>
                  <a:pt x="1114" y="6723"/>
                  <a:pt x="820" y="7697"/>
                </a:cubicBezTo>
                <a:cubicBezTo>
                  <a:pt x="746" y="7939"/>
                  <a:pt x="746" y="7088"/>
                  <a:pt x="599" y="6907"/>
                </a:cubicBezTo>
                <a:cubicBezTo>
                  <a:pt x="489" y="6663"/>
                  <a:pt x="267" y="6601"/>
                  <a:pt x="84" y="6541"/>
                </a:cubicBezTo>
                <a:cubicBezTo>
                  <a:pt x="-247" y="6420"/>
                  <a:pt x="452" y="8366"/>
                  <a:pt x="1188" y="9156"/>
                </a:cubicBezTo>
                <a:cubicBezTo>
                  <a:pt x="1262" y="9218"/>
                  <a:pt x="1519" y="9280"/>
                  <a:pt x="1555" y="9644"/>
                </a:cubicBezTo>
                <a:cubicBezTo>
                  <a:pt x="1666" y="10496"/>
                  <a:pt x="1188" y="10191"/>
                  <a:pt x="1114" y="10861"/>
                </a:cubicBezTo>
                <a:cubicBezTo>
                  <a:pt x="1077" y="11043"/>
                  <a:pt x="1887" y="13296"/>
                  <a:pt x="1997" y="13477"/>
                </a:cubicBezTo>
                <a:cubicBezTo>
                  <a:pt x="2623" y="14511"/>
                  <a:pt x="2770" y="13781"/>
                  <a:pt x="3175" y="14451"/>
                </a:cubicBezTo>
                <a:cubicBezTo>
                  <a:pt x="3432" y="14877"/>
                  <a:pt x="3469" y="15547"/>
                  <a:pt x="3727" y="15912"/>
                </a:cubicBezTo>
                <a:cubicBezTo>
                  <a:pt x="4242" y="16520"/>
                  <a:pt x="5530" y="17311"/>
                  <a:pt x="5788" y="18527"/>
                </a:cubicBezTo>
                <a:lnTo>
                  <a:pt x="5824" y="18527"/>
                </a:lnTo>
                <a:cubicBezTo>
                  <a:pt x="6413" y="19015"/>
                  <a:pt x="6855" y="20291"/>
                  <a:pt x="7627" y="19807"/>
                </a:cubicBezTo>
                <a:cubicBezTo>
                  <a:pt x="7774" y="19747"/>
                  <a:pt x="7738" y="19257"/>
                  <a:pt x="7885" y="19257"/>
                </a:cubicBezTo>
                <a:cubicBezTo>
                  <a:pt x="8143" y="19257"/>
                  <a:pt x="8400" y="19807"/>
                  <a:pt x="8658" y="19684"/>
                </a:cubicBezTo>
                <a:lnTo>
                  <a:pt x="8952" y="18102"/>
                </a:lnTo>
                <a:cubicBezTo>
                  <a:pt x="9099" y="17920"/>
                  <a:pt x="9357" y="18347"/>
                  <a:pt x="9431" y="18163"/>
                </a:cubicBezTo>
                <a:cubicBezTo>
                  <a:pt x="9504" y="18042"/>
                  <a:pt x="9431" y="16276"/>
                  <a:pt x="9468" y="16155"/>
                </a:cubicBezTo>
                <a:cubicBezTo>
                  <a:pt x="9578" y="15971"/>
                  <a:pt x="9798" y="16094"/>
                  <a:pt x="9946" y="16217"/>
                </a:cubicBezTo>
                <a:cubicBezTo>
                  <a:pt x="10020" y="16276"/>
                  <a:pt x="9946" y="16580"/>
                  <a:pt x="10020" y="16641"/>
                </a:cubicBezTo>
                <a:cubicBezTo>
                  <a:pt x="10203" y="16641"/>
                  <a:pt x="10350" y="16276"/>
                  <a:pt x="10534" y="16276"/>
                </a:cubicBezTo>
                <a:cubicBezTo>
                  <a:pt x="11601" y="16276"/>
                  <a:pt x="12448" y="17616"/>
                  <a:pt x="13442" y="17798"/>
                </a:cubicBezTo>
                <a:cubicBezTo>
                  <a:pt x="13588" y="17798"/>
                  <a:pt x="13773" y="17920"/>
                  <a:pt x="13920" y="17858"/>
                </a:cubicBezTo>
                <a:cubicBezTo>
                  <a:pt x="14140" y="17676"/>
                  <a:pt x="14214" y="17188"/>
                  <a:pt x="14398" y="17068"/>
                </a:cubicBezTo>
                <a:cubicBezTo>
                  <a:pt x="14656" y="16946"/>
                  <a:pt x="15023" y="17736"/>
                  <a:pt x="15207" y="17798"/>
                </a:cubicBezTo>
                <a:cubicBezTo>
                  <a:pt x="15318" y="17798"/>
                  <a:pt x="15466" y="17433"/>
                  <a:pt x="15576" y="17555"/>
                </a:cubicBezTo>
                <a:cubicBezTo>
                  <a:pt x="15759" y="17798"/>
                  <a:pt x="15834" y="18042"/>
                  <a:pt x="15834" y="18285"/>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63" name="AutoShape 31"/>
          <p:cNvSpPr>
            <a:spLocks/>
          </p:cNvSpPr>
          <p:nvPr/>
        </p:nvSpPr>
        <p:spPr bwMode="auto">
          <a:xfrm>
            <a:off x="17703800" y="8469313"/>
            <a:ext cx="1778000" cy="925512"/>
          </a:xfrm>
          <a:custGeom>
            <a:avLst/>
            <a:gdLst>
              <a:gd name="T0" fmla="*/ 10800 w 21600"/>
              <a:gd name="T1" fmla="+- 0 10818 91"/>
              <a:gd name="T2" fmla="*/ 10818 h 21455"/>
              <a:gd name="T3" fmla="*/ 10800 w 21600"/>
              <a:gd name="T4" fmla="+- 0 10818 91"/>
              <a:gd name="T5" fmla="*/ 10818 h 21455"/>
              <a:gd name="T6" fmla="*/ 10800 w 21600"/>
              <a:gd name="T7" fmla="+- 0 10818 91"/>
              <a:gd name="T8" fmla="*/ 10818 h 21455"/>
              <a:gd name="T9" fmla="*/ 10800 w 21600"/>
              <a:gd name="T10" fmla="+- 0 10818 91"/>
              <a:gd name="T11" fmla="*/ 10818 h 21455"/>
            </a:gdLst>
            <a:ahLst/>
            <a:cxnLst>
              <a:cxn ang="0">
                <a:pos x="T0" y="T2"/>
              </a:cxn>
              <a:cxn ang="0">
                <a:pos x="T3" y="T5"/>
              </a:cxn>
              <a:cxn ang="0">
                <a:pos x="T6" y="T8"/>
              </a:cxn>
              <a:cxn ang="0">
                <a:pos x="T9" y="T11"/>
              </a:cxn>
            </a:cxnLst>
            <a:rect l="0" t="0" r="r" b="b"/>
            <a:pathLst>
              <a:path w="21600" h="21455">
                <a:moveTo>
                  <a:pt x="128" y="13018"/>
                </a:moveTo>
                <a:cubicBezTo>
                  <a:pt x="128" y="13446"/>
                  <a:pt x="547" y="13570"/>
                  <a:pt x="418" y="14185"/>
                </a:cubicBezTo>
                <a:cubicBezTo>
                  <a:pt x="386" y="14310"/>
                  <a:pt x="257" y="14247"/>
                  <a:pt x="224" y="14310"/>
                </a:cubicBezTo>
                <a:cubicBezTo>
                  <a:pt x="193" y="14492"/>
                  <a:pt x="96" y="14987"/>
                  <a:pt x="0" y="15539"/>
                </a:cubicBezTo>
                <a:lnTo>
                  <a:pt x="161" y="16217"/>
                </a:lnTo>
                <a:lnTo>
                  <a:pt x="161" y="16954"/>
                </a:lnTo>
                <a:cubicBezTo>
                  <a:pt x="483" y="17016"/>
                  <a:pt x="997" y="17138"/>
                  <a:pt x="1030" y="17138"/>
                </a:cubicBezTo>
                <a:cubicBezTo>
                  <a:pt x="1094" y="17263"/>
                  <a:pt x="933" y="17447"/>
                  <a:pt x="997" y="17570"/>
                </a:cubicBezTo>
                <a:cubicBezTo>
                  <a:pt x="1159" y="17940"/>
                  <a:pt x="1352" y="18185"/>
                  <a:pt x="1577" y="18371"/>
                </a:cubicBezTo>
                <a:cubicBezTo>
                  <a:pt x="2092" y="18863"/>
                  <a:pt x="2188" y="17201"/>
                  <a:pt x="2543" y="17324"/>
                </a:cubicBezTo>
                <a:cubicBezTo>
                  <a:pt x="3218" y="17510"/>
                  <a:pt x="2511" y="18185"/>
                  <a:pt x="2736" y="18371"/>
                </a:cubicBezTo>
                <a:cubicBezTo>
                  <a:pt x="3251" y="18863"/>
                  <a:pt x="2800" y="18247"/>
                  <a:pt x="3316" y="18371"/>
                </a:cubicBezTo>
                <a:cubicBezTo>
                  <a:pt x="3573" y="18431"/>
                  <a:pt x="3830" y="19724"/>
                  <a:pt x="4345" y="19172"/>
                </a:cubicBezTo>
                <a:lnTo>
                  <a:pt x="4764" y="17510"/>
                </a:lnTo>
                <a:cubicBezTo>
                  <a:pt x="5021" y="17138"/>
                  <a:pt x="6148" y="17385"/>
                  <a:pt x="6438" y="17324"/>
                </a:cubicBezTo>
                <a:cubicBezTo>
                  <a:pt x="6920" y="17263"/>
                  <a:pt x="7307" y="16463"/>
                  <a:pt x="7790" y="16463"/>
                </a:cubicBezTo>
                <a:cubicBezTo>
                  <a:pt x="7919" y="16463"/>
                  <a:pt x="7565" y="16770"/>
                  <a:pt x="7532" y="17016"/>
                </a:cubicBezTo>
                <a:cubicBezTo>
                  <a:pt x="7371" y="18308"/>
                  <a:pt x="7790" y="17447"/>
                  <a:pt x="8047" y="18185"/>
                </a:cubicBezTo>
                <a:cubicBezTo>
                  <a:pt x="8112" y="18371"/>
                  <a:pt x="7951" y="18615"/>
                  <a:pt x="8015" y="18863"/>
                </a:cubicBezTo>
                <a:cubicBezTo>
                  <a:pt x="8047" y="18985"/>
                  <a:pt x="8144" y="18740"/>
                  <a:pt x="8208" y="18863"/>
                </a:cubicBezTo>
                <a:cubicBezTo>
                  <a:pt x="8820" y="19724"/>
                  <a:pt x="8981" y="19848"/>
                  <a:pt x="9818" y="20093"/>
                </a:cubicBezTo>
                <a:cubicBezTo>
                  <a:pt x="10783" y="20340"/>
                  <a:pt x="11782" y="20401"/>
                  <a:pt x="12780" y="20709"/>
                </a:cubicBezTo>
                <a:cubicBezTo>
                  <a:pt x="13037" y="20770"/>
                  <a:pt x="13295" y="21141"/>
                  <a:pt x="13552" y="21201"/>
                </a:cubicBezTo>
                <a:cubicBezTo>
                  <a:pt x="13810" y="21261"/>
                  <a:pt x="14067" y="20894"/>
                  <a:pt x="14325" y="20955"/>
                </a:cubicBezTo>
                <a:cubicBezTo>
                  <a:pt x="14486" y="21017"/>
                  <a:pt x="14582" y="21448"/>
                  <a:pt x="14743" y="21448"/>
                </a:cubicBezTo>
                <a:cubicBezTo>
                  <a:pt x="14808" y="21509"/>
                  <a:pt x="14775" y="21141"/>
                  <a:pt x="14840" y="21077"/>
                </a:cubicBezTo>
                <a:cubicBezTo>
                  <a:pt x="15001" y="20770"/>
                  <a:pt x="15259" y="20647"/>
                  <a:pt x="15419" y="20278"/>
                </a:cubicBezTo>
                <a:cubicBezTo>
                  <a:pt x="15548" y="20093"/>
                  <a:pt x="15451" y="19663"/>
                  <a:pt x="15548" y="19479"/>
                </a:cubicBezTo>
                <a:cubicBezTo>
                  <a:pt x="16159" y="18555"/>
                  <a:pt x="16803" y="19724"/>
                  <a:pt x="17382" y="19231"/>
                </a:cubicBezTo>
                <a:cubicBezTo>
                  <a:pt x="17576" y="19047"/>
                  <a:pt x="17609" y="18493"/>
                  <a:pt x="17801" y="18371"/>
                </a:cubicBezTo>
                <a:cubicBezTo>
                  <a:pt x="17834" y="18308"/>
                  <a:pt x="18896" y="18615"/>
                  <a:pt x="18928" y="18555"/>
                </a:cubicBezTo>
                <a:cubicBezTo>
                  <a:pt x="19025" y="18493"/>
                  <a:pt x="18831" y="18247"/>
                  <a:pt x="18799" y="18063"/>
                </a:cubicBezTo>
                <a:cubicBezTo>
                  <a:pt x="18735" y="17447"/>
                  <a:pt x="18863" y="17077"/>
                  <a:pt x="19089" y="16954"/>
                </a:cubicBezTo>
                <a:cubicBezTo>
                  <a:pt x="19668" y="15723"/>
                  <a:pt x="19925" y="15539"/>
                  <a:pt x="20215" y="14617"/>
                </a:cubicBezTo>
                <a:cubicBezTo>
                  <a:pt x="20279" y="14371"/>
                  <a:pt x="19701" y="13078"/>
                  <a:pt x="19862" y="12463"/>
                </a:cubicBezTo>
                <a:cubicBezTo>
                  <a:pt x="20087" y="11602"/>
                  <a:pt x="20634" y="12524"/>
                  <a:pt x="20570" y="11293"/>
                </a:cubicBezTo>
                <a:cubicBezTo>
                  <a:pt x="20537" y="10248"/>
                  <a:pt x="19572" y="10370"/>
                  <a:pt x="19765" y="10064"/>
                </a:cubicBezTo>
                <a:cubicBezTo>
                  <a:pt x="20215" y="9324"/>
                  <a:pt x="21374" y="10309"/>
                  <a:pt x="21567" y="9633"/>
                </a:cubicBezTo>
                <a:cubicBezTo>
                  <a:pt x="21599" y="9386"/>
                  <a:pt x="21149" y="7417"/>
                  <a:pt x="21599" y="7048"/>
                </a:cubicBezTo>
                <a:cubicBezTo>
                  <a:pt x="21214" y="6247"/>
                  <a:pt x="20892" y="5448"/>
                  <a:pt x="20602" y="4526"/>
                </a:cubicBezTo>
                <a:cubicBezTo>
                  <a:pt x="20344" y="3726"/>
                  <a:pt x="21278" y="2434"/>
                  <a:pt x="20602" y="1510"/>
                </a:cubicBezTo>
                <a:cubicBezTo>
                  <a:pt x="20506" y="1387"/>
                  <a:pt x="20377" y="1756"/>
                  <a:pt x="20279" y="1756"/>
                </a:cubicBezTo>
                <a:cubicBezTo>
                  <a:pt x="20119" y="1693"/>
                  <a:pt x="19797" y="894"/>
                  <a:pt x="19572" y="1017"/>
                </a:cubicBezTo>
                <a:cubicBezTo>
                  <a:pt x="19411" y="1139"/>
                  <a:pt x="19346" y="1632"/>
                  <a:pt x="19154" y="1817"/>
                </a:cubicBezTo>
                <a:cubicBezTo>
                  <a:pt x="19025" y="1879"/>
                  <a:pt x="18863" y="1756"/>
                  <a:pt x="18735" y="1756"/>
                </a:cubicBezTo>
                <a:cubicBezTo>
                  <a:pt x="17866" y="1571"/>
                  <a:pt x="17125" y="217"/>
                  <a:pt x="16192" y="217"/>
                </a:cubicBezTo>
                <a:cubicBezTo>
                  <a:pt x="16031" y="217"/>
                  <a:pt x="15902" y="585"/>
                  <a:pt x="15741" y="585"/>
                </a:cubicBezTo>
                <a:cubicBezTo>
                  <a:pt x="15677" y="524"/>
                  <a:pt x="15741" y="217"/>
                  <a:pt x="15677" y="157"/>
                </a:cubicBezTo>
                <a:cubicBezTo>
                  <a:pt x="15548" y="32"/>
                  <a:pt x="15355" y="-91"/>
                  <a:pt x="15259" y="94"/>
                </a:cubicBezTo>
                <a:cubicBezTo>
                  <a:pt x="15226" y="217"/>
                  <a:pt x="15290" y="2002"/>
                  <a:pt x="15226" y="2125"/>
                </a:cubicBezTo>
                <a:cubicBezTo>
                  <a:pt x="15162" y="2311"/>
                  <a:pt x="14936" y="1879"/>
                  <a:pt x="14808" y="2064"/>
                </a:cubicBezTo>
                <a:lnTo>
                  <a:pt x="14551" y="3663"/>
                </a:lnTo>
                <a:cubicBezTo>
                  <a:pt x="14325" y="3787"/>
                  <a:pt x="14100" y="3231"/>
                  <a:pt x="13874" y="3231"/>
                </a:cubicBezTo>
                <a:cubicBezTo>
                  <a:pt x="13746" y="3231"/>
                  <a:pt x="13777" y="3726"/>
                  <a:pt x="13648" y="3787"/>
                </a:cubicBezTo>
                <a:cubicBezTo>
                  <a:pt x="12973" y="4277"/>
                  <a:pt x="12587" y="2987"/>
                  <a:pt x="12071" y="2493"/>
                </a:cubicBezTo>
                <a:lnTo>
                  <a:pt x="12039" y="2493"/>
                </a:lnTo>
                <a:cubicBezTo>
                  <a:pt x="12071" y="2679"/>
                  <a:pt x="12103" y="2863"/>
                  <a:pt x="12103" y="3048"/>
                </a:cubicBezTo>
                <a:cubicBezTo>
                  <a:pt x="12071" y="4710"/>
                  <a:pt x="11878" y="4341"/>
                  <a:pt x="11203" y="4033"/>
                </a:cubicBezTo>
                <a:cubicBezTo>
                  <a:pt x="11138" y="4033"/>
                  <a:pt x="11073" y="4095"/>
                  <a:pt x="11041" y="4218"/>
                </a:cubicBezTo>
                <a:cubicBezTo>
                  <a:pt x="10977" y="4832"/>
                  <a:pt x="11170" y="5510"/>
                  <a:pt x="10848" y="6002"/>
                </a:cubicBezTo>
                <a:cubicBezTo>
                  <a:pt x="10558" y="6432"/>
                  <a:pt x="9207" y="7048"/>
                  <a:pt x="9174" y="8032"/>
                </a:cubicBezTo>
                <a:cubicBezTo>
                  <a:pt x="9174" y="8032"/>
                  <a:pt x="9946" y="10064"/>
                  <a:pt x="9946" y="10124"/>
                </a:cubicBezTo>
                <a:cubicBezTo>
                  <a:pt x="9979" y="10186"/>
                  <a:pt x="9528" y="10924"/>
                  <a:pt x="9689" y="11171"/>
                </a:cubicBezTo>
                <a:cubicBezTo>
                  <a:pt x="10044" y="11785"/>
                  <a:pt x="10397" y="10863"/>
                  <a:pt x="10108" y="12894"/>
                </a:cubicBezTo>
                <a:cubicBezTo>
                  <a:pt x="10108" y="13018"/>
                  <a:pt x="10044" y="13201"/>
                  <a:pt x="9979" y="13201"/>
                </a:cubicBezTo>
                <a:cubicBezTo>
                  <a:pt x="8949" y="12648"/>
                  <a:pt x="9754" y="11663"/>
                  <a:pt x="9271" y="11602"/>
                </a:cubicBezTo>
                <a:cubicBezTo>
                  <a:pt x="9013" y="11602"/>
                  <a:pt x="8788" y="12031"/>
                  <a:pt x="8530" y="11971"/>
                </a:cubicBezTo>
                <a:cubicBezTo>
                  <a:pt x="8402" y="11911"/>
                  <a:pt x="8434" y="11477"/>
                  <a:pt x="8337" y="11418"/>
                </a:cubicBezTo>
                <a:cubicBezTo>
                  <a:pt x="8144" y="11293"/>
                  <a:pt x="7951" y="11602"/>
                  <a:pt x="7790" y="11477"/>
                </a:cubicBezTo>
                <a:cubicBezTo>
                  <a:pt x="7726" y="11418"/>
                  <a:pt x="7854" y="11048"/>
                  <a:pt x="7790" y="11048"/>
                </a:cubicBezTo>
                <a:cubicBezTo>
                  <a:pt x="7404" y="11109"/>
                  <a:pt x="7758" y="12093"/>
                  <a:pt x="7661" y="12154"/>
                </a:cubicBezTo>
                <a:cubicBezTo>
                  <a:pt x="7210" y="12401"/>
                  <a:pt x="6470" y="12031"/>
                  <a:pt x="6051" y="12341"/>
                </a:cubicBezTo>
                <a:cubicBezTo>
                  <a:pt x="5923" y="12463"/>
                  <a:pt x="5987" y="12894"/>
                  <a:pt x="5858" y="13018"/>
                </a:cubicBezTo>
                <a:cubicBezTo>
                  <a:pt x="5730" y="13201"/>
                  <a:pt x="5568" y="12894"/>
                  <a:pt x="5440" y="13078"/>
                </a:cubicBezTo>
                <a:cubicBezTo>
                  <a:pt x="5343" y="13139"/>
                  <a:pt x="5472" y="13446"/>
                  <a:pt x="5408" y="13570"/>
                </a:cubicBezTo>
                <a:cubicBezTo>
                  <a:pt x="5375" y="13632"/>
                  <a:pt x="4281" y="14185"/>
                  <a:pt x="4152" y="14063"/>
                </a:cubicBezTo>
                <a:cubicBezTo>
                  <a:pt x="4088" y="13940"/>
                  <a:pt x="4152" y="13632"/>
                  <a:pt x="4088" y="13509"/>
                </a:cubicBezTo>
                <a:cubicBezTo>
                  <a:pt x="4056" y="13385"/>
                  <a:pt x="3895" y="13385"/>
                  <a:pt x="3863" y="13262"/>
                </a:cubicBezTo>
                <a:cubicBezTo>
                  <a:pt x="3830" y="13139"/>
                  <a:pt x="4024" y="13201"/>
                  <a:pt x="3991" y="13078"/>
                </a:cubicBezTo>
                <a:cubicBezTo>
                  <a:pt x="3863" y="12279"/>
                  <a:pt x="2961" y="13262"/>
                  <a:pt x="2704" y="12709"/>
                </a:cubicBezTo>
                <a:cubicBezTo>
                  <a:pt x="2704" y="12709"/>
                  <a:pt x="2768" y="12648"/>
                  <a:pt x="2768" y="12585"/>
                </a:cubicBezTo>
                <a:cubicBezTo>
                  <a:pt x="2575" y="12341"/>
                  <a:pt x="2768" y="13385"/>
                  <a:pt x="2704" y="13817"/>
                </a:cubicBezTo>
                <a:cubicBezTo>
                  <a:pt x="2704" y="14063"/>
                  <a:pt x="2092" y="15478"/>
                  <a:pt x="1866" y="15049"/>
                </a:cubicBezTo>
                <a:cubicBezTo>
                  <a:pt x="1738" y="14800"/>
                  <a:pt x="2092" y="14432"/>
                  <a:pt x="1996" y="14185"/>
                </a:cubicBezTo>
                <a:cubicBezTo>
                  <a:pt x="1964" y="14124"/>
                  <a:pt x="1866" y="14371"/>
                  <a:pt x="1802" y="14371"/>
                </a:cubicBezTo>
                <a:cubicBezTo>
                  <a:pt x="1738" y="14371"/>
                  <a:pt x="1641" y="14310"/>
                  <a:pt x="1609" y="14185"/>
                </a:cubicBezTo>
                <a:cubicBezTo>
                  <a:pt x="1545" y="14001"/>
                  <a:pt x="1770" y="13756"/>
                  <a:pt x="1609" y="13509"/>
                </a:cubicBezTo>
                <a:cubicBezTo>
                  <a:pt x="1480" y="13323"/>
                  <a:pt x="1416" y="13018"/>
                  <a:pt x="1288" y="12894"/>
                </a:cubicBezTo>
                <a:cubicBezTo>
                  <a:pt x="1191" y="12770"/>
                  <a:pt x="1062" y="13078"/>
                  <a:pt x="933" y="13018"/>
                </a:cubicBezTo>
                <a:cubicBezTo>
                  <a:pt x="868" y="12894"/>
                  <a:pt x="933" y="12585"/>
                  <a:pt x="868" y="12463"/>
                </a:cubicBezTo>
                <a:cubicBezTo>
                  <a:pt x="708" y="12215"/>
                  <a:pt x="740" y="13323"/>
                  <a:pt x="224" y="13018"/>
                </a:cubicBezTo>
                <a:cubicBezTo>
                  <a:pt x="193" y="12956"/>
                  <a:pt x="161" y="12956"/>
                  <a:pt x="128" y="12956"/>
                </a:cubicBezTo>
                <a:cubicBezTo>
                  <a:pt x="128" y="12956"/>
                  <a:pt x="128" y="13018"/>
                  <a:pt x="128" y="13018"/>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64" name="AutoShape 32"/>
          <p:cNvSpPr>
            <a:spLocks/>
          </p:cNvSpPr>
          <p:nvPr/>
        </p:nvSpPr>
        <p:spPr bwMode="auto">
          <a:xfrm>
            <a:off x="16840200" y="8928100"/>
            <a:ext cx="1096963" cy="692150"/>
          </a:xfrm>
          <a:custGeom>
            <a:avLst/>
            <a:gdLst>
              <a:gd name="T0" fmla="+- 0 10616 43"/>
              <a:gd name="T1" fmla="*/ T0 w 21147"/>
              <a:gd name="T2" fmla="+- 0 11049 820"/>
              <a:gd name="T3" fmla="*/ 11049 h 20459"/>
              <a:gd name="T4" fmla="+- 0 10616 43"/>
              <a:gd name="T5" fmla="*/ T4 w 21147"/>
              <a:gd name="T6" fmla="+- 0 11049 820"/>
              <a:gd name="T7" fmla="*/ 11049 h 20459"/>
              <a:gd name="T8" fmla="+- 0 10616 43"/>
              <a:gd name="T9" fmla="*/ T8 w 21147"/>
              <a:gd name="T10" fmla="+- 0 11049 820"/>
              <a:gd name="T11" fmla="*/ 11049 h 20459"/>
              <a:gd name="T12" fmla="+- 0 10616 43"/>
              <a:gd name="T13" fmla="*/ T12 w 21147"/>
              <a:gd name="T14" fmla="+- 0 11049 820"/>
              <a:gd name="T15" fmla="*/ 11049 h 20459"/>
            </a:gdLst>
            <a:ahLst/>
            <a:cxnLst>
              <a:cxn ang="0">
                <a:pos x="T1" y="T3"/>
              </a:cxn>
              <a:cxn ang="0">
                <a:pos x="T5" y="T7"/>
              </a:cxn>
              <a:cxn ang="0">
                <a:pos x="T9" y="T11"/>
              </a:cxn>
              <a:cxn ang="0">
                <a:pos x="T13" y="T15"/>
              </a:cxn>
            </a:cxnLst>
            <a:rect l="0" t="0" r="r" b="b"/>
            <a:pathLst>
              <a:path w="21147" h="20459">
                <a:moveTo>
                  <a:pt x="20995" y="9667"/>
                </a:moveTo>
                <a:cubicBezTo>
                  <a:pt x="20945" y="9978"/>
                  <a:pt x="20995" y="10372"/>
                  <a:pt x="20893" y="10686"/>
                </a:cubicBezTo>
                <a:cubicBezTo>
                  <a:pt x="20843" y="10998"/>
                  <a:pt x="20690" y="11232"/>
                  <a:pt x="20587" y="11545"/>
                </a:cubicBezTo>
                <a:cubicBezTo>
                  <a:pt x="20587" y="11700"/>
                  <a:pt x="21557" y="12796"/>
                  <a:pt x="20945" y="13109"/>
                </a:cubicBezTo>
                <a:cubicBezTo>
                  <a:pt x="19872" y="13501"/>
                  <a:pt x="20229" y="11232"/>
                  <a:pt x="19310" y="12250"/>
                </a:cubicBezTo>
                <a:cubicBezTo>
                  <a:pt x="18595" y="13032"/>
                  <a:pt x="19514" y="13892"/>
                  <a:pt x="19616" y="14285"/>
                </a:cubicBezTo>
                <a:cubicBezTo>
                  <a:pt x="19668" y="14596"/>
                  <a:pt x="19361" y="14834"/>
                  <a:pt x="19361" y="15145"/>
                </a:cubicBezTo>
                <a:cubicBezTo>
                  <a:pt x="19412" y="15458"/>
                  <a:pt x="19616" y="15615"/>
                  <a:pt x="19719" y="15849"/>
                </a:cubicBezTo>
                <a:cubicBezTo>
                  <a:pt x="19770" y="16161"/>
                  <a:pt x="19361" y="16476"/>
                  <a:pt x="19157" y="16317"/>
                </a:cubicBezTo>
                <a:cubicBezTo>
                  <a:pt x="18800" y="16006"/>
                  <a:pt x="19003" y="14754"/>
                  <a:pt x="18595" y="14674"/>
                </a:cubicBezTo>
                <a:cubicBezTo>
                  <a:pt x="17217" y="14285"/>
                  <a:pt x="17880" y="15849"/>
                  <a:pt x="17063" y="15458"/>
                </a:cubicBezTo>
                <a:cubicBezTo>
                  <a:pt x="15735" y="14987"/>
                  <a:pt x="16553" y="13421"/>
                  <a:pt x="15888" y="13267"/>
                </a:cubicBezTo>
                <a:cubicBezTo>
                  <a:pt x="15020" y="13032"/>
                  <a:pt x="15582" y="15145"/>
                  <a:pt x="15582" y="15304"/>
                </a:cubicBezTo>
                <a:cubicBezTo>
                  <a:pt x="15378" y="16712"/>
                  <a:pt x="14153" y="17180"/>
                  <a:pt x="14153" y="18901"/>
                </a:cubicBezTo>
                <a:cubicBezTo>
                  <a:pt x="14153" y="19684"/>
                  <a:pt x="15173" y="19371"/>
                  <a:pt x="14305" y="20387"/>
                </a:cubicBezTo>
                <a:cubicBezTo>
                  <a:pt x="14000" y="20779"/>
                  <a:pt x="13898" y="19448"/>
                  <a:pt x="13693" y="19057"/>
                </a:cubicBezTo>
                <a:cubicBezTo>
                  <a:pt x="13540" y="18823"/>
                  <a:pt x="13182" y="18979"/>
                  <a:pt x="13130" y="18668"/>
                </a:cubicBezTo>
                <a:cubicBezTo>
                  <a:pt x="13080" y="18353"/>
                  <a:pt x="13438" y="18119"/>
                  <a:pt x="13489" y="17805"/>
                </a:cubicBezTo>
                <a:cubicBezTo>
                  <a:pt x="13489" y="17648"/>
                  <a:pt x="13387" y="17494"/>
                  <a:pt x="13336" y="17494"/>
                </a:cubicBezTo>
                <a:cubicBezTo>
                  <a:pt x="12773" y="17180"/>
                  <a:pt x="11956" y="16944"/>
                  <a:pt x="11600" y="15927"/>
                </a:cubicBezTo>
                <a:cubicBezTo>
                  <a:pt x="11548" y="15615"/>
                  <a:pt x="11701" y="15304"/>
                  <a:pt x="11701" y="15066"/>
                </a:cubicBezTo>
                <a:cubicBezTo>
                  <a:pt x="11701" y="14596"/>
                  <a:pt x="11752" y="14127"/>
                  <a:pt x="11651" y="13658"/>
                </a:cubicBezTo>
                <a:cubicBezTo>
                  <a:pt x="11600" y="13580"/>
                  <a:pt x="11497" y="13736"/>
                  <a:pt x="11395" y="13814"/>
                </a:cubicBezTo>
                <a:cubicBezTo>
                  <a:pt x="11140" y="14127"/>
                  <a:pt x="10936" y="14441"/>
                  <a:pt x="10680" y="14754"/>
                </a:cubicBezTo>
                <a:cubicBezTo>
                  <a:pt x="10424" y="15066"/>
                  <a:pt x="10016" y="15224"/>
                  <a:pt x="9914" y="15691"/>
                </a:cubicBezTo>
                <a:cubicBezTo>
                  <a:pt x="9864" y="16006"/>
                  <a:pt x="10322" y="16161"/>
                  <a:pt x="10271" y="16553"/>
                </a:cubicBezTo>
                <a:cubicBezTo>
                  <a:pt x="10271" y="16944"/>
                  <a:pt x="8841" y="19213"/>
                  <a:pt x="8792" y="19213"/>
                </a:cubicBezTo>
                <a:cubicBezTo>
                  <a:pt x="8330" y="19213"/>
                  <a:pt x="7973" y="18275"/>
                  <a:pt x="7514" y="18433"/>
                </a:cubicBezTo>
                <a:cubicBezTo>
                  <a:pt x="6850" y="18668"/>
                  <a:pt x="5472" y="20232"/>
                  <a:pt x="4960" y="18823"/>
                </a:cubicBezTo>
                <a:cubicBezTo>
                  <a:pt x="4755" y="18353"/>
                  <a:pt x="4755" y="17805"/>
                  <a:pt x="4501" y="17416"/>
                </a:cubicBezTo>
                <a:cubicBezTo>
                  <a:pt x="4449" y="17257"/>
                  <a:pt x="4246" y="17728"/>
                  <a:pt x="4194" y="17570"/>
                </a:cubicBezTo>
                <a:cubicBezTo>
                  <a:pt x="4144" y="17336"/>
                  <a:pt x="4399" y="16944"/>
                  <a:pt x="4297" y="16712"/>
                </a:cubicBezTo>
                <a:cubicBezTo>
                  <a:pt x="4246" y="16476"/>
                  <a:pt x="3939" y="16712"/>
                  <a:pt x="3838" y="16553"/>
                </a:cubicBezTo>
                <a:cubicBezTo>
                  <a:pt x="3530" y="15772"/>
                  <a:pt x="4246" y="15849"/>
                  <a:pt x="4194" y="15378"/>
                </a:cubicBezTo>
                <a:cubicBezTo>
                  <a:pt x="4144" y="14987"/>
                  <a:pt x="3838" y="14834"/>
                  <a:pt x="3838" y="14441"/>
                </a:cubicBezTo>
                <a:cubicBezTo>
                  <a:pt x="3786" y="14206"/>
                  <a:pt x="4194" y="13736"/>
                  <a:pt x="3990" y="13658"/>
                </a:cubicBezTo>
                <a:cubicBezTo>
                  <a:pt x="3327" y="13190"/>
                  <a:pt x="1897" y="13190"/>
                  <a:pt x="1438" y="14285"/>
                </a:cubicBezTo>
                <a:cubicBezTo>
                  <a:pt x="1336" y="14441"/>
                  <a:pt x="1385" y="14596"/>
                  <a:pt x="1385" y="14834"/>
                </a:cubicBezTo>
                <a:cubicBezTo>
                  <a:pt x="1438" y="14987"/>
                  <a:pt x="1692" y="15145"/>
                  <a:pt x="1642" y="15304"/>
                </a:cubicBezTo>
                <a:cubicBezTo>
                  <a:pt x="1336" y="16239"/>
                  <a:pt x="620" y="16630"/>
                  <a:pt x="6" y="16397"/>
                </a:cubicBezTo>
                <a:cubicBezTo>
                  <a:pt x="-43" y="16397"/>
                  <a:pt x="211" y="16239"/>
                  <a:pt x="211" y="16082"/>
                </a:cubicBezTo>
                <a:cubicBezTo>
                  <a:pt x="211" y="15066"/>
                  <a:pt x="721" y="15458"/>
                  <a:pt x="773" y="15224"/>
                </a:cubicBezTo>
                <a:cubicBezTo>
                  <a:pt x="1028" y="13973"/>
                  <a:pt x="365" y="12876"/>
                  <a:pt x="977" y="11700"/>
                </a:cubicBezTo>
                <a:cubicBezTo>
                  <a:pt x="1336" y="10919"/>
                  <a:pt x="2253" y="10919"/>
                  <a:pt x="2459" y="10057"/>
                </a:cubicBezTo>
                <a:cubicBezTo>
                  <a:pt x="2611" y="9587"/>
                  <a:pt x="2304" y="8884"/>
                  <a:pt x="2459" y="8336"/>
                </a:cubicBezTo>
                <a:cubicBezTo>
                  <a:pt x="2663" y="7709"/>
                  <a:pt x="3377" y="7944"/>
                  <a:pt x="3684" y="7397"/>
                </a:cubicBezTo>
                <a:cubicBezTo>
                  <a:pt x="4041" y="6928"/>
                  <a:pt x="4449" y="5363"/>
                  <a:pt x="4909" y="4815"/>
                </a:cubicBezTo>
                <a:cubicBezTo>
                  <a:pt x="5165" y="4503"/>
                  <a:pt x="5420" y="5363"/>
                  <a:pt x="5472" y="4267"/>
                </a:cubicBezTo>
                <a:cubicBezTo>
                  <a:pt x="5472" y="3875"/>
                  <a:pt x="4705" y="4658"/>
                  <a:pt x="4654" y="4267"/>
                </a:cubicBezTo>
                <a:cubicBezTo>
                  <a:pt x="4552" y="3875"/>
                  <a:pt x="4960" y="3562"/>
                  <a:pt x="5114" y="3248"/>
                </a:cubicBezTo>
                <a:cubicBezTo>
                  <a:pt x="5114" y="3248"/>
                  <a:pt x="5217" y="3326"/>
                  <a:pt x="5217" y="3248"/>
                </a:cubicBezTo>
                <a:cubicBezTo>
                  <a:pt x="5217" y="3092"/>
                  <a:pt x="5012" y="2781"/>
                  <a:pt x="5114" y="2702"/>
                </a:cubicBezTo>
                <a:cubicBezTo>
                  <a:pt x="6544" y="2076"/>
                  <a:pt x="5931" y="5048"/>
                  <a:pt x="7667" y="2309"/>
                </a:cubicBezTo>
                <a:cubicBezTo>
                  <a:pt x="7719" y="2309"/>
                  <a:pt x="7820" y="2154"/>
                  <a:pt x="7871" y="1998"/>
                </a:cubicBezTo>
                <a:lnTo>
                  <a:pt x="7973" y="1839"/>
                </a:lnTo>
                <a:cubicBezTo>
                  <a:pt x="8075" y="1761"/>
                  <a:pt x="8177" y="1761"/>
                  <a:pt x="8279" y="1919"/>
                </a:cubicBezTo>
                <a:cubicBezTo>
                  <a:pt x="8330" y="1998"/>
                  <a:pt x="7973" y="2076"/>
                  <a:pt x="8024" y="2232"/>
                </a:cubicBezTo>
                <a:cubicBezTo>
                  <a:pt x="8177" y="2702"/>
                  <a:pt x="10527" y="1839"/>
                  <a:pt x="10680" y="1839"/>
                </a:cubicBezTo>
                <a:cubicBezTo>
                  <a:pt x="11701" y="1761"/>
                  <a:pt x="10782" y="3248"/>
                  <a:pt x="12059" y="2232"/>
                </a:cubicBezTo>
                <a:cubicBezTo>
                  <a:pt x="12110" y="2154"/>
                  <a:pt x="11956" y="1761"/>
                  <a:pt x="12059" y="1683"/>
                </a:cubicBezTo>
                <a:cubicBezTo>
                  <a:pt x="12212" y="1528"/>
                  <a:pt x="12773" y="1451"/>
                  <a:pt x="12569" y="1369"/>
                </a:cubicBezTo>
                <a:cubicBezTo>
                  <a:pt x="12263" y="1292"/>
                  <a:pt x="11956" y="1451"/>
                  <a:pt x="11651" y="1369"/>
                </a:cubicBezTo>
                <a:cubicBezTo>
                  <a:pt x="11497" y="1292"/>
                  <a:pt x="12365" y="-820"/>
                  <a:pt x="13130" y="354"/>
                </a:cubicBezTo>
                <a:cubicBezTo>
                  <a:pt x="13233" y="510"/>
                  <a:pt x="12978" y="824"/>
                  <a:pt x="13029" y="1059"/>
                </a:cubicBezTo>
                <a:cubicBezTo>
                  <a:pt x="13080" y="1213"/>
                  <a:pt x="13284" y="1292"/>
                  <a:pt x="13387" y="1213"/>
                </a:cubicBezTo>
                <a:cubicBezTo>
                  <a:pt x="13489" y="1136"/>
                  <a:pt x="13336" y="588"/>
                  <a:pt x="13387" y="745"/>
                </a:cubicBezTo>
                <a:cubicBezTo>
                  <a:pt x="13592" y="899"/>
                  <a:pt x="13592" y="1451"/>
                  <a:pt x="13795" y="1605"/>
                </a:cubicBezTo>
                <a:cubicBezTo>
                  <a:pt x="13795" y="1605"/>
                  <a:pt x="15481" y="1451"/>
                  <a:pt x="15531" y="1451"/>
                </a:cubicBezTo>
                <a:cubicBezTo>
                  <a:pt x="16042" y="1605"/>
                  <a:pt x="16401" y="2389"/>
                  <a:pt x="16859" y="2781"/>
                </a:cubicBezTo>
                <a:lnTo>
                  <a:pt x="16859" y="2859"/>
                </a:lnTo>
                <a:cubicBezTo>
                  <a:pt x="16859" y="3404"/>
                  <a:pt x="17523" y="3562"/>
                  <a:pt x="17319" y="4344"/>
                </a:cubicBezTo>
                <a:cubicBezTo>
                  <a:pt x="17268" y="4503"/>
                  <a:pt x="17063" y="4423"/>
                  <a:pt x="17011" y="4503"/>
                </a:cubicBezTo>
                <a:cubicBezTo>
                  <a:pt x="16859" y="4893"/>
                  <a:pt x="16348" y="7709"/>
                  <a:pt x="16450" y="7788"/>
                </a:cubicBezTo>
                <a:cubicBezTo>
                  <a:pt x="16553" y="7865"/>
                  <a:pt x="18238" y="8100"/>
                  <a:pt x="18289" y="8100"/>
                </a:cubicBezTo>
                <a:cubicBezTo>
                  <a:pt x="18391" y="8258"/>
                  <a:pt x="18136" y="8493"/>
                  <a:pt x="18238" y="8649"/>
                </a:cubicBezTo>
                <a:cubicBezTo>
                  <a:pt x="18494" y="9119"/>
                  <a:pt x="18800" y="9431"/>
                  <a:pt x="19157" y="9667"/>
                </a:cubicBezTo>
                <a:cubicBezTo>
                  <a:pt x="19974" y="10294"/>
                  <a:pt x="20127" y="8179"/>
                  <a:pt x="20690" y="8336"/>
                </a:cubicBezTo>
                <a:cubicBezTo>
                  <a:pt x="20843" y="8336"/>
                  <a:pt x="20945" y="8414"/>
                  <a:pt x="21047" y="8493"/>
                </a:cubicBezTo>
                <a:lnTo>
                  <a:pt x="20995" y="9196"/>
                </a:lnTo>
                <a:cubicBezTo>
                  <a:pt x="20945" y="9431"/>
                  <a:pt x="20893" y="9587"/>
                  <a:pt x="20995" y="9667"/>
                </a:cubicBezTo>
                <a:close/>
              </a:path>
            </a:pathLst>
          </a:custGeom>
          <a:solidFill>
            <a:schemeClr val="bg2"/>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66" name="AutoShape 34"/>
          <p:cNvSpPr>
            <a:spLocks/>
          </p:cNvSpPr>
          <p:nvPr/>
        </p:nvSpPr>
        <p:spPr bwMode="auto">
          <a:xfrm>
            <a:off x="13485813" y="5892800"/>
            <a:ext cx="1055687" cy="1190625"/>
          </a:xfrm>
          <a:custGeom>
            <a:avLst/>
            <a:gdLst>
              <a:gd name="T0" fmla="+- 0 10744 49"/>
              <a:gd name="T1" fmla="*/ T0 w 21391"/>
              <a:gd name="T2" fmla="+- 0 10796 38"/>
              <a:gd name="T3" fmla="*/ 10796 h 21516"/>
              <a:gd name="T4" fmla="+- 0 10744 49"/>
              <a:gd name="T5" fmla="*/ T4 w 21391"/>
              <a:gd name="T6" fmla="+- 0 10796 38"/>
              <a:gd name="T7" fmla="*/ 10796 h 21516"/>
              <a:gd name="T8" fmla="+- 0 10744 49"/>
              <a:gd name="T9" fmla="*/ T8 w 21391"/>
              <a:gd name="T10" fmla="+- 0 10796 38"/>
              <a:gd name="T11" fmla="*/ 10796 h 21516"/>
              <a:gd name="T12" fmla="+- 0 10744 49"/>
              <a:gd name="T13" fmla="*/ T12 w 21391"/>
              <a:gd name="T14" fmla="+- 0 10796 38"/>
              <a:gd name="T15" fmla="*/ 10796 h 21516"/>
            </a:gdLst>
            <a:ahLst/>
            <a:cxnLst>
              <a:cxn ang="0">
                <a:pos x="T1" y="T3"/>
              </a:cxn>
              <a:cxn ang="0">
                <a:pos x="T5" y="T7"/>
              </a:cxn>
              <a:cxn ang="0">
                <a:pos x="T9" y="T11"/>
              </a:cxn>
              <a:cxn ang="0">
                <a:pos x="T13" y="T15"/>
              </a:cxn>
            </a:cxnLst>
            <a:rect l="0" t="0" r="r" b="b"/>
            <a:pathLst>
              <a:path w="21391" h="21516">
                <a:moveTo>
                  <a:pt x="20960" y="8343"/>
                </a:moveTo>
                <a:cubicBezTo>
                  <a:pt x="21067" y="8582"/>
                  <a:pt x="21551" y="8821"/>
                  <a:pt x="21336" y="9012"/>
                </a:cubicBezTo>
                <a:cubicBezTo>
                  <a:pt x="21121" y="9300"/>
                  <a:pt x="20477" y="9061"/>
                  <a:pt x="20154" y="9252"/>
                </a:cubicBezTo>
                <a:cubicBezTo>
                  <a:pt x="19993" y="9396"/>
                  <a:pt x="20585" y="9491"/>
                  <a:pt x="20585" y="9683"/>
                </a:cubicBezTo>
                <a:cubicBezTo>
                  <a:pt x="20637" y="10067"/>
                  <a:pt x="20369" y="10450"/>
                  <a:pt x="20369" y="10832"/>
                </a:cubicBezTo>
                <a:cubicBezTo>
                  <a:pt x="20422" y="11167"/>
                  <a:pt x="20799" y="11361"/>
                  <a:pt x="20799" y="11695"/>
                </a:cubicBezTo>
                <a:cubicBezTo>
                  <a:pt x="20799" y="11935"/>
                  <a:pt x="20369" y="12078"/>
                  <a:pt x="20369" y="12366"/>
                </a:cubicBezTo>
                <a:cubicBezTo>
                  <a:pt x="20315" y="12557"/>
                  <a:pt x="20746" y="12748"/>
                  <a:pt x="20637" y="12940"/>
                </a:cubicBezTo>
                <a:cubicBezTo>
                  <a:pt x="20477" y="13131"/>
                  <a:pt x="20047" y="12701"/>
                  <a:pt x="19939" y="12892"/>
                </a:cubicBezTo>
                <a:cubicBezTo>
                  <a:pt x="19777" y="13084"/>
                  <a:pt x="20208" y="13275"/>
                  <a:pt x="20262" y="13516"/>
                </a:cubicBezTo>
                <a:cubicBezTo>
                  <a:pt x="20262" y="13610"/>
                  <a:pt x="20154" y="13707"/>
                  <a:pt x="20154" y="13801"/>
                </a:cubicBezTo>
                <a:cubicBezTo>
                  <a:pt x="20208" y="14425"/>
                  <a:pt x="20422" y="14807"/>
                  <a:pt x="20208" y="15431"/>
                </a:cubicBezTo>
                <a:cubicBezTo>
                  <a:pt x="20047" y="15862"/>
                  <a:pt x="18166" y="18304"/>
                  <a:pt x="17844" y="18544"/>
                </a:cubicBezTo>
                <a:cubicBezTo>
                  <a:pt x="17736" y="18639"/>
                  <a:pt x="17467" y="18687"/>
                  <a:pt x="17413" y="18879"/>
                </a:cubicBezTo>
                <a:cubicBezTo>
                  <a:pt x="17306" y="19214"/>
                  <a:pt x="17467" y="19597"/>
                  <a:pt x="17413" y="19933"/>
                </a:cubicBezTo>
                <a:cubicBezTo>
                  <a:pt x="17413" y="19980"/>
                  <a:pt x="17306" y="19980"/>
                  <a:pt x="17306" y="19933"/>
                </a:cubicBezTo>
                <a:cubicBezTo>
                  <a:pt x="17146" y="19597"/>
                  <a:pt x="17038" y="20028"/>
                  <a:pt x="16500" y="19837"/>
                </a:cubicBezTo>
                <a:cubicBezTo>
                  <a:pt x="16285" y="19788"/>
                  <a:pt x="16285" y="19502"/>
                  <a:pt x="16070" y="19452"/>
                </a:cubicBezTo>
                <a:cubicBezTo>
                  <a:pt x="15694" y="19357"/>
                  <a:pt x="14512" y="19885"/>
                  <a:pt x="14243" y="19597"/>
                </a:cubicBezTo>
                <a:cubicBezTo>
                  <a:pt x="14190" y="19502"/>
                  <a:pt x="14458" y="19502"/>
                  <a:pt x="14458" y="19405"/>
                </a:cubicBezTo>
                <a:cubicBezTo>
                  <a:pt x="14512" y="19263"/>
                  <a:pt x="14082" y="19549"/>
                  <a:pt x="13921" y="19502"/>
                </a:cubicBezTo>
                <a:cubicBezTo>
                  <a:pt x="13115" y="19452"/>
                  <a:pt x="12847" y="19070"/>
                  <a:pt x="12094" y="19310"/>
                </a:cubicBezTo>
                <a:cubicBezTo>
                  <a:pt x="11987" y="19357"/>
                  <a:pt x="12309" y="19549"/>
                  <a:pt x="12309" y="19693"/>
                </a:cubicBezTo>
                <a:cubicBezTo>
                  <a:pt x="12255" y="19933"/>
                  <a:pt x="11289" y="20124"/>
                  <a:pt x="11289" y="20124"/>
                </a:cubicBezTo>
                <a:cubicBezTo>
                  <a:pt x="11073" y="20124"/>
                  <a:pt x="10966" y="19837"/>
                  <a:pt x="10750" y="19885"/>
                </a:cubicBezTo>
                <a:cubicBezTo>
                  <a:pt x="10375" y="20028"/>
                  <a:pt x="10215" y="20459"/>
                  <a:pt x="9892" y="20650"/>
                </a:cubicBezTo>
                <a:cubicBezTo>
                  <a:pt x="8764" y="21177"/>
                  <a:pt x="9461" y="19741"/>
                  <a:pt x="8440" y="19885"/>
                </a:cubicBezTo>
                <a:cubicBezTo>
                  <a:pt x="8117" y="19933"/>
                  <a:pt x="8709" y="20459"/>
                  <a:pt x="8602" y="20699"/>
                </a:cubicBezTo>
                <a:cubicBezTo>
                  <a:pt x="8440" y="20890"/>
                  <a:pt x="8063" y="20890"/>
                  <a:pt x="7796" y="21034"/>
                </a:cubicBezTo>
                <a:cubicBezTo>
                  <a:pt x="7635" y="21130"/>
                  <a:pt x="7527" y="21417"/>
                  <a:pt x="7313" y="21465"/>
                </a:cubicBezTo>
                <a:cubicBezTo>
                  <a:pt x="7204" y="21465"/>
                  <a:pt x="7258" y="21274"/>
                  <a:pt x="7151" y="21225"/>
                </a:cubicBezTo>
                <a:cubicBezTo>
                  <a:pt x="7043" y="21130"/>
                  <a:pt x="6882" y="21034"/>
                  <a:pt x="6721" y="21081"/>
                </a:cubicBezTo>
                <a:cubicBezTo>
                  <a:pt x="6613" y="21177"/>
                  <a:pt x="6721" y="21465"/>
                  <a:pt x="6561" y="21513"/>
                </a:cubicBezTo>
                <a:cubicBezTo>
                  <a:pt x="6022" y="21562"/>
                  <a:pt x="5055" y="20985"/>
                  <a:pt x="4733" y="21034"/>
                </a:cubicBezTo>
                <a:cubicBezTo>
                  <a:pt x="4303" y="21081"/>
                  <a:pt x="3981" y="21368"/>
                  <a:pt x="3605" y="21417"/>
                </a:cubicBezTo>
                <a:cubicBezTo>
                  <a:pt x="2530" y="21513"/>
                  <a:pt x="4195" y="20746"/>
                  <a:pt x="3336" y="20890"/>
                </a:cubicBezTo>
                <a:cubicBezTo>
                  <a:pt x="3014" y="20985"/>
                  <a:pt x="1724" y="21130"/>
                  <a:pt x="1616" y="21034"/>
                </a:cubicBezTo>
                <a:cubicBezTo>
                  <a:pt x="1402" y="20746"/>
                  <a:pt x="3443" y="20219"/>
                  <a:pt x="3659" y="19788"/>
                </a:cubicBezTo>
                <a:cubicBezTo>
                  <a:pt x="3712" y="19693"/>
                  <a:pt x="3497" y="19693"/>
                  <a:pt x="3390" y="19644"/>
                </a:cubicBezTo>
                <a:cubicBezTo>
                  <a:pt x="3336" y="19549"/>
                  <a:pt x="2100" y="19788"/>
                  <a:pt x="542" y="19644"/>
                </a:cubicBezTo>
                <a:cubicBezTo>
                  <a:pt x="488" y="19644"/>
                  <a:pt x="649" y="19597"/>
                  <a:pt x="1348" y="19405"/>
                </a:cubicBezTo>
                <a:cubicBezTo>
                  <a:pt x="1455" y="19405"/>
                  <a:pt x="1562" y="19357"/>
                  <a:pt x="1562" y="19263"/>
                </a:cubicBezTo>
                <a:cubicBezTo>
                  <a:pt x="1562" y="19214"/>
                  <a:pt x="1402" y="19166"/>
                  <a:pt x="1455" y="19118"/>
                </a:cubicBezTo>
                <a:cubicBezTo>
                  <a:pt x="1939" y="18735"/>
                  <a:pt x="1724" y="19357"/>
                  <a:pt x="2370" y="19118"/>
                </a:cubicBezTo>
                <a:cubicBezTo>
                  <a:pt x="2691" y="19022"/>
                  <a:pt x="3605" y="18973"/>
                  <a:pt x="3390" y="18735"/>
                </a:cubicBezTo>
                <a:cubicBezTo>
                  <a:pt x="3336" y="18687"/>
                  <a:pt x="919" y="18973"/>
                  <a:pt x="810" y="18973"/>
                </a:cubicBezTo>
                <a:cubicBezTo>
                  <a:pt x="327" y="18879"/>
                  <a:pt x="-49" y="18208"/>
                  <a:pt x="5" y="17730"/>
                </a:cubicBezTo>
                <a:cubicBezTo>
                  <a:pt x="59" y="17538"/>
                  <a:pt x="488" y="17921"/>
                  <a:pt x="649" y="17826"/>
                </a:cubicBezTo>
                <a:cubicBezTo>
                  <a:pt x="810" y="17730"/>
                  <a:pt x="542" y="17586"/>
                  <a:pt x="542" y="17441"/>
                </a:cubicBezTo>
                <a:cubicBezTo>
                  <a:pt x="649" y="17011"/>
                  <a:pt x="1509" y="17250"/>
                  <a:pt x="1993" y="17153"/>
                </a:cubicBezTo>
                <a:cubicBezTo>
                  <a:pt x="2370" y="17108"/>
                  <a:pt x="2853" y="17153"/>
                  <a:pt x="3121" y="16915"/>
                </a:cubicBezTo>
                <a:cubicBezTo>
                  <a:pt x="3336" y="16772"/>
                  <a:pt x="2583" y="16436"/>
                  <a:pt x="2315" y="16580"/>
                </a:cubicBezTo>
                <a:cubicBezTo>
                  <a:pt x="2261" y="16675"/>
                  <a:pt x="2422" y="16867"/>
                  <a:pt x="2315" y="16915"/>
                </a:cubicBezTo>
                <a:cubicBezTo>
                  <a:pt x="2261" y="16962"/>
                  <a:pt x="649" y="16244"/>
                  <a:pt x="327" y="15862"/>
                </a:cubicBezTo>
                <a:cubicBezTo>
                  <a:pt x="273" y="15766"/>
                  <a:pt x="649" y="16006"/>
                  <a:pt x="757" y="15957"/>
                </a:cubicBezTo>
                <a:cubicBezTo>
                  <a:pt x="864" y="15909"/>
                  <a:pt x="757" y="15719"/>
                  <a:pt x="864" y="15670"/>
                </a:cubicBezTo>
                <a:cubicBezTo>
                  <a:pt x="1133" y="15527"/>
                  <a:pt x="1885" y="15574"/>
                  <a:pt x="2261" y="15621"/>
                </a:cubicBezTo>
                <a:cubicBezTo>
                  <a:pt x="2745" y="15621"/>
                  <a:pt x="3067" y="16052"/>
                  <a:pt x="3497" y="16244"/>
                </a:cubicBezTo>
                <a:cubicBezTo>
                  <a:pt x="3928" y="16436"/>
                  <a:pt x="2691" y="15478"/>
                  <a:pt x="2906" y="15095"/>
                </a:cubicBezTo>
                <a:cubicBezTo>
                  <a:pt x="3067" y="14758"/>
                  <a:pt x="3712" y="14999"/>
                  <a:pt x="4088" y="14856"/>
                </a:cubicBezTo>
                <a:cubicBezTo>
                  <a:pt x="4303" y="14758"/>
                  <a:pt x="4303" y="14472"/>
                  <a:pt x="4518" y="14425"/>
                </a:cubicBezTo>
                <a:cubicBezTo>
                  <a:pt x="4572" y="14425"/>
                  <a:pt x="8010" y="14952"/>
                  <a:pt x="8386" y="14758"/>
                </a:cubicBezTo>
                <a:cubicBezTo>
                  <a:pt x="8656" y="14617"/>
                  <a:pt x="7689" y="14665"/>
                  <a:pt x="7527" y="14425"/>
                </a:cubicBezTo>
                <a:cubicBezTo>
                  <a:pt x="7473" y="14280"/>
                  <a:pt x="7689" y="14042"/>
                  <a:pt x="7635" y="13897"/>
                </a:cubicBezTo>
                <a:cubicBezTo>
                  <a:pt x="7581" y="13801"/>
                  <a:pt x="6505" y="14758"/>
                  <a:pt x="5969" y="14712"/>
                </a:cubicBezTo>
                <a:cubicBezTo>
                  <a:pt x="5861" y="14665"/>
                  <a:pt x="6292" y="14425"/>
                  <a:pt x="6130" y="14377"/>
                </a:cubicBezTo>
                <a:cubicBezTo>
                  <a:pt x="5969" y="14328"/>
                  <a:pt x="5754" y="14520"/>
                  <a:pt x="5538" y="14472"/>
                </a:cubicBezTo>
                <a:cubicBezTo>
                  <a:pt x="5323" y="14425"/>
                  <a:pt x="5163" y="14280"/>
                  <a:pt x="5055" y="14137"/>
                </a:cubicBezTo>
                <a:cubicBezTo>
                  <a:pt x="5001" y="14042"/>
                  <a:pt x="5110" y="13946"/>
                  <a:pt x="5055" y="13897"/>
                </a:cubicBezTo>
                <a:cubicBezTo>
                  <a:pt x="5055" y="13897"/>
                  <a:pt x="3497" y="14185"/>
                  <a:pt x="3281" y="14089"/>
                </a:cubicBezTo>
                <a:cubicBezTo>
                  <a:pt x="3121" y="14042"/>
                  <a:pt x="3659" y="14089"/>
                  <a:pt x="3819" y="14042"/>
                </a:cubicBezTo>
                <a:cubicBezTo>
                  <a:pt x="4249" y="13851"/>
                  <a:pt x="4572" y="13610"/>
                  <a:pt x="5001" y="13467"/>
                </a:cubicBezTo>
                <a:cubicBezTo>
                  <a:pt x="5110" y="13371"/>
                  <a:pt x="5323" y="13516"/>
                  <a:pt x="5431" y="13467"/>
                </a:cubicBezTo>
                <a:cubicBezTo>
                  <a:pt x="5646" y="13275"/>
                  <a:pt x="5700" y="12940"/>
                  <a:pt x="5969" y="12701"/>
                </a:cubicBezTo>
                <a:cubicBezTo>
                  <a:pt x="6076" y="12605"/>
                  <a:pt x="6238" y="12557"/>
                  <a:pt x="6399" y="12509"/>
                </a:cubicBezTo>
                <a:cubicBezTo>
                  <a:pt x="6505" y="12414"/>
                  <a:pt x="6022" y="12509"/>
                  <a:pt x="5915" y="12366"/>
                </a:cubicBezTo>
                <a:cubicBezTo>
                  <a:pt x="5700" y="12126"/>
                  <a:pt x="6399" y="11935"/>
                  <a:pt x="6613" y="11742"/>
                </a:cubicBezTo>
                <a:cubicBezTo>
                  <a:pt x="6774" y="11551"/>
                  <a:pt x="6882" y="11313"/>
                  <a:pt x="7151" y="11264"/>
                </a:cubicBezTo>
                <a:cubicBezTo>
                  <a:pt x="7313" y="11215"/>
                  <a:pt x="7366" y="11599"/>
                  <a:pt x="7527" y="11551"/>
                </a:cubicBezTo>
                <a:cubicBezTo>
                  <a:pt x="7956" y="11551"/>
                  <a:pt x="8386" y="11407"/>
                  <a:pt x="8764" y="11215"/>
                </a:cubicBezTo>
                <a:cubicBezTo>
                  <a:pt x="8871" y="11167"/>
                  <a:pt x="8333" y="11264"/>
                  <a:pt x="8333" y="11121"/>
                </a:cubicBezTo>
                <a:cubicBezTo>
                  <a:pt x="8333" y="10976"/>
                  <a:pt x="8709" y="11024"/>
                  <a:pt x="8709" y="10881"/>
                </a:cubicBezTo>
                <a:cubicBezTo>
                  <a:pt x="8656" y="10737"/>
                  <a:pt x="7581" y="10929"/>
                  <a:pt x="6399" y="10642"/>
                </a:cubicBezTo>
                <a:cubicBezTo>
                  <a:pt x="5270" y="10354"/>
                  <a:pt x="6399" y="10402"/>
                  <a:pt x="6130" y="9586"/>
                </a:cubicBezTo>
                <a:cubicBezTo>
                  <a:pt x="5861" y="8725"/>
                  <a:pt x="4356" y="9349"/>
                  <a:pt x="3928" y="8774"/>
                </a:cubicBezTo>
                <a:cubicBezTo>
                  <a:pt x="2745" y="7384"/>
                  <a:pt x="4947" y="7960"/>
                  <a:pt x="5001" y="7960"/>
                </a:cubicBezTo>
                <a:cubicBezTo>
                  <a:pt x="5055" y="7912"/>
                  <a:pt x="4787" y="7768"/>
                  <a:pt x="4840" y="7720"/>
                </a:cubicBezTo>
                <a:cubicBezTo>
                  <a:pt x="5055" y="7384"/>
                  <a:pt x="5323" y="7049"/>
                  <a:pt x="5754" y="6953"/>
                </a:cubicBezTo>
                <a:cubicBezTo>
                  <a:pt x="6130" y="6858"/>
                  <a:pt x="6561" y="7144"/>
                  <a:pt x="6989" y="7144"/>
                </a:cubicBezTo>
                <a:cubicBezTo>
                  <a:pt x="7097" y="7144"/>
                  <a:pt x="7204" y="7097"/>
                  <a:pt x="7258" y="7001"/>
                </a:cubicBezTo>
                <a:cubicBezTo>
                  <a:pt x="7956" y="5516"/>
                  <a:pt x="5969" y="6619"/>
                  <a:pt x="5861" y="6188"/>
                </a:cubicBezTo>
                <a:cubicBezTo>
                  <a:pt x="5754" y="5995"/>
                  <a:pt x="6345" y="6188"/>
                  <a:pt x="6505" y="6044"/>
                </a:cubicBezTo>
                <a:cubicBezTo>
                  <a:pt x="6829" y="5851"/>
                  <a:pt x="6292" y="5374"/>
                  <a:pt x="6238" y="5325"/>
                </a:cubicBezTo>
                <a:cubicBezTo>
                  <a:pt x="6238" y="4990"/>
                  <a:pt x="6721" y="4559"/>
                  <a:pt x="6453" y="4271"/>
                </a:cubicBezTo>
                <a:cubicBezTo>
                  <a:pt x="6238" y="4081"/>
                  <a:pt x="5807" y="4798"/>
                  <a:pt x="5593" y="4607"/>
                </a:cubicBezTo>
                <a:cubicBezTo>
                  <a:pt x="5378" y="4417"/>
                  <a:pt x="5915" y="4176"/>
                  <a:pt x="6022" y="3936"/>
                </a:cubicBezTo>
                <a:cubicBezTo>
                  <a:pt x="6076" y="3745"/>
                  <a:pt x="5538" y="3793"/>
                  <a:pt x="6022" y="3696"/>
                </a:cubicBezTo>
                <a:cubicBezTo>
                  <a:pt x="6505" y="3601"/>
                  <a:pt x="9031" y="3601"/>
                  <a:pt x="9299" y="4224"/>
                </a:cubicBezTo>
                <a:cubicBezTo>
                  <a:pt x="9461" y="4559"/>
                  <a:pt x="9246" y="5085"/>
                  <a:pt x="9568" y="5181"/>
                </a:cubicBezTo>
                <a:cubicBezTo>
                  <a:pt x="9892" y="5277"/>
                  <a:pt x="9892" y="4702"/>
                  <a:pt x="10160" y="4559"/>
                </a:cubicBezTo>
                <a:cubicBezTo>
                  <a:pt x="10643" y="4319"/>
                  <a:pt x="12040" y="5756"/>
                  <a:pt x="12094" y="5612"/>
                </a:cubicBezTo>
                <a:cubicBezTo>
                  <a:pt x="12255" y="5277"/>
                  <a:pt x="11717" y="4893"/>
                  <a:pt x="11772" y="4512"/>
                </a:cubicBezTo>
                <a:cubicBezTo>
                  <a:pt x="11879" y="4081"/>
                  <a:pt x="13491" y="4224"/>
                  <a:pt x="13491" y="4176"/>
                </a:cubicBezTo>
                <a:cubicBezTo>
                  <a:pt x="13921" y="4032"/>
                  <a:pt x="14243" y="3745"/>
                  <a:pt x="14512" y="3458"/>
                </a:cubicBezTo>
                <a:cubicBezTo>
                  <a:pt x="14673" y="3266"/>
                  <a:pt x="13706" y="3458"/>
                  <a:pt x="13706" y="3362"/>
                </a:cubicBezTo>
                <a:cubicBezTo>
                  <a:pt x="13545" y="2835"/>
                  <a:pt x="13706" y="3553"/>
                  <a:pt x="13007" y="3505"/>
                </a:cubicBezTo>
                <a:cubicBezTo>
                  <a:pt x="12899" y="3505"/>
                  <a:pt x="13062" y="3313"/>
                  <a:pt x="13062" y="3218"/>
                </a:cubicBezTo>
                <a:cubicBezTo>
                  <a:pt x="13062" y="3170"/>
                  <a:pt x="13062" y="3075"/>
                  <a:pt x="13007" y="3075"/>
                </a:cubicBezTo>
                <a:cubicBezTo>
                  <a:pt x="12793" y="2979"/>
                  <a:pt x="11717" y="2930"/>
                  <a:pt x="11879" y="2356"/>
                </a:cubicBezTo>
                <a:cubicBezTo>
                  <a:pt x="12201" y="1398"/>
                  <a:pt x="13276" y="2452"/>
                  <a:pt x="13598" y="2356"/>
                </a:cubicBezTo>
                <a:cubicBezTo>
                  <a:pt x="13814" y="2260"/>
                  <a:pt x="12954" y="1973"/>
                  <a:pt x="13115" y="1781"/>
                </a:cubicBezTo>
                <a:cubicBezTo>
                  <a:pt x="13329" y="1590"/>
                  <a:pt x="13760" y="1973"/>
                  <a:pt x="14029" y="1925"/>
                </a:cubicBezTo>
                <a:cubicBezTo>
                  <a:pt x="14298" y="1876"/>
                  <a:pt x="13814" y="1542"/>
                  <a:pt x="13652" y="1398"/>
                </a:cubicBezTo>
                <a:cubicBezTo>
                  <a:pt x="13545" y="1302"/>
                  <a:pt x="14029" y="1302"/>
                  <a:pt x="14082" y="1158"/>
                </a:cubicBezTo>
                <a:cubicBezTo>
                  <a:pt x="14298" y="345"/>
                  <a:pt x="11987" y="1158"/>
                  <a:pt x="14781" y="10"/>
                </a:cubicBezTo>
                <a:cubicBezTo>
                  <a:pt x="14941" y="-38"/>
                  <a:pt x="15157" y="104"/>
                  <a:pt x="15373" y="153"/>
                </a:cubicBezTo>
                <a:cubicBezTo>
                  <a:pt x="16124" y="345"/>
                  <a:pt x="16984" y="296"/>
                  <a:pt x="17629" y="679"/>
                </a:cubicBezTo>
                <a:cubicBezTo>
                  <a:pt x="18005" y="920"/>
                  <a:pt x="16661" y="1398"/>
                  <a:pt x="16877" y="1733"/>
                </a:cubicBezTo>
                <a:cubicBezTo>
                  <a:pt x="17090" y="1925"/>
                  <a:pt x="17521" y="1590"/>
                  <a:pt x="17790" y="1350"/>
                </a:cubicBezTo>
                <a:cubicBezTo>
                  <a:pt x="17897" y="1254"/>
                  <a:pt x="17629" y="824"/>
                  <a:pt x="17844" y="824"/>
                </a:cubicBezTo>
                <a:cubicBezTo>
                  <a:pt x="18166" y="920"/>
                  <a:pt x="18382" y="1302"/>
                  <a:pt x="18595" y="1542"/>
                </a:cubicBezTo>
                <a:cubicBezTo>
                  <a:pt x="17413" y="1542"/>
                  <a:pt x="17736" y="2739"/>
                  <a:pt x="16877" y="3218"/>
                </a:cubicBezTo>
                <a:cubicBezTo>
                  <a:pt x="16716" y="3313"/>
                  <a:pt x="15318" y="2930"/>
                  <a:pt x="15426" y="3218"/>
                </a:cubicBezTo>
                <a:cubicBezTo>
                  <a:pt x="15479" y="3505"/>
                  <a:pt x="16177" y="3649"/>
                  <a:pt x="16070" y="3936"/>
                </a:cubicBezTo>
                <a:cubicBezTo>
                  <a:pt x="16070" y="3936"/>
                  <a:pt x="13975" y="4417"/>
                  <a:pt x="13921" y="4417"/>
                </a:cubicBezTo>
                <a:cubicBezTo>
                  <a:pt x="13706" y="4655"/>
                  <a:pt x="15801" y="7144"/>
                  <a:pt x="16608" y="7097"/>
                </a:cubicBezTo>
                <a:cubicBezTo>
                  <a:pt x="19079" y="6906"/>
                  <a:pt x="16124" y="5948"/>
                  <a:pt x="18434" y="5660"/>
                </a:cubicBezTo>
                <a:cubicBezTo>
                  <a:pt x="19026" y="5565"/>
                  <a:pt x="18757" y="6714"/>
                  <a:pt x="19026" y="7193"/>
                </a:cubicBezTo>
                <a:cubicBezTo>
                  <a:pt x="19133" y="7384"/>
                  <a:pt x="19670" y="7288"/>
                  <a:pt x="19616" y="7624"/>
                </a:cubicBezTo>
                <a:cubicBezTo>
                  <a:pt x="19509" y="7863"/>
                  <a:pt x="19133" y="8294"/>
                  <a:pt x="19402" y="8343"/>
                </a:cubicBezTo>
                <a:cubicBezTo>
                  <a:pt x="21228" y="8917"/>
                  <a:pt x="20100" y="7815"/>
                  <a:pt x="20907" y="8246"/>
                </a:cubicBezTo>
                <a:lnTo>
                  <a:pt x="21121" y="8487"/>
                </a:lnTo>
                <a:cubicBezTo>
                  <a:pt x="21067" y="8438"/>
                  <a:pt x="21014" y="8391"/>
                  <a:pt x="20960" y="8343"/>
                </a:cubicBezTo>
                <a:close/>
              </a:path>
            </a:pathLst>
          </a:custGeom>
          <a:solidFill>
            <a:srgbClr val="287169"/>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67" name="AutoShape 35"/>
          <p:cNvSpPr>
            <a:spLocks/>
          </p:cNvSpPr>
          <p:nvPr/>
        </p:nvSpPr>
        <p:spPr bwMode="auto">
          <a:xfrm>
            <a:off x="16952913" y="557213"/>
            <a:ext cx="3386137" cy="4819650"/>
          </a:xfrm>
          <a:custGeom>
            <a:avLst/>
            <a:gdLst>
              <a:gd name="T0" fmla="+- 0 10807 136"/>
              <a:gd name="T1" fmla="*/ T0 w 21343"/>
              <a:gd name="T2" fmla="+- 0 10801 47"/>
              <a:gd name="T3" fmla="*/ 10801 h 21509"/>
              <a:gd name="T4" fmla="+- 0 10807 136"/>
              <a:gd name="T5" fmla="*/ T4 w 21343"/>
              <a:gd name="T6" fmla="+- 0 10801 47"/>
              <a:gd name="T7" fmla="*/ 10801 h 21509"/>
              <a:gd name="T8" fmla="+- 0 10807 136"/>
              <a:gd name="T9" fmla="*/ T8 w 21343"/>
              <a:gd name="T10" fmla="+- 0 10801 47"/>
              <a:gd name="T11" fmla="*/ 10801 h 21509"/>
              <a:gd name="T12" fmla="+- 0 10807 136"/>
              <a:gd name="T13" fmla="*/ T12 w 21343"/>
              <a:gd name="T14" fmla="+- 0 10801 47"/>
              <a:gd name="T15" fmla="*/ 10801 h 21509"/>
            </a:gdLst>
            <a:ahLst/>
            <a:cxnLst>
              <a:cxn ang="0">
                <a:pos x="T1" y="T3"/>
              </a:cxn>
              <a:cxn ang="0">
                <a:pos x="T5" y="T7"/>
              </a:cxn>
              <a:cxn ang="0">
                <a:pos x="T9" y="T11"/>
              </a:cxn>
              <a:cxn ang="0">
                <a:pos x="T13" y="T15"/>
              </a:cxn>
            </a:cxnLst>
            <a:rect l="0" t="0" r="r" b="b"/>
            <a:pathLst>
              <a:path w="21343" h="21509">
                <a:moveTo>
                  <a:pt x="13940" y="3941"/>
                </a:moveTo>
                <a:lnTo>
                  <a:pt x="13940" y="3941"/>
                </a:lnTo>
                <a:cubicBezTo>
                  <a:pt x="13940" y="3941"/>
                  <a:pt x="13940" y="3941"/>
                  <a:pt x="13940" y="3941"/>
                </a:cubicBezTo>
                <a:close/>
                <a:moveTo>
                  <a:pt x="13923" y="3929"/>
                </a:moveTo>
                <a:cubicBezTo>
                  <a:pt x="13923" y="3941"/>
                  <a:pt x="13923" y="3941"/>
                  <a:pt x="13940" y="3941"/>
                </a:cubicBezTo>
                <a:cubicBezTo>
                  <a:pt x="13923" y="3941"/>
                  <a:pt x="13923" y="3941"/>
                  <a:pt x="13923" y="3929"/>
                </a:cubicBezTo>
                <a:close/>
                <a:moveTo>
                  <a:pt x="13873" y="3929"/>
                </a:moveTo>
                <a:cubicBezTo>
                  <a:pt x="13890" y="3929"/>
                  <a:pt x="13890" y="3929"/>
                  <a:pt x="13907" y="3929"/>
                </a:cubicBezTo>
                <a:cubicBezTo>
                  <a:pt x="13890" y="3929"/>
                  <a:pt x="13890" y="3929"/>
                  <a:pt x="13873" y="3929"/>
                </a:cubicBezTo>
                <a:close/>
                <a:moveTo>
                  <a:pt x="13823" y="3917"/>
                </a:moveTo>
                <a:lnTo>
                  <a:pt x="13840" y="3917"/>
                </a:lnTo>
                <a:cubicBezTo>
                  <a:pt x="13840" y="3917"/>
                  <a:pt x="13823" y="3917"/>
                  <a:pt x="13823" y="3917"/>
                </a:cubicBezTo>
                <a:close/>
                <a:moveTo>
                  <a:pt x="16648" y="1254"/>
                </a:moveTo>
                <a:cubicBezTo>
                  <a:pt x="16615" y="1266"/>
                  <a:pt x="16565" y="1266"/>
                  <a:pt x="16531" y="1266"/>
                </a:cubicBezTo>
                <a:cubicBezTo>
                  <a:pt x="16581" y="1266"/>
                  <a:pt x="16682" y="1243"/>
                  <a:pt x="16648" y="1254"/>
                </a:cubicBezTo>
                <a:close/>
                <a:moveTo>
                  <a:pt x="6835" y="10794"/>
                </a:moveTo>
                <a:cubicBezTo>
                  <a:pt x="6768" y="10806"/>
                  <a:pt x="6718" y="10817"/>
                  <a:pt x="6668" y="10817"/>
                </a:cubicBezTo>
                <a:cubicBezTo>
                  <a:pt x="6551" y="10806"/>
                  <a:pt x="6701" y="10806"/>
                  <a:pt x="6835" y="10794"/>
                </a:cubicBezTo>
                <a:close/>
                <a:moveTo>
                  <a:pt x="415" y="18298"/>
                </a:moveTo>
                <a:lnTo>
                  <a:pt x="415" y="18286"/>
                </a:lnTo>
                <a:lnTo>
                  <a:pt x="415" y="18274"/>
                </a:lnTo>
                <a:cubicBezTo>
                  <a:pt x="449" y="18298"/>
                  <a:pt x="499" y="18309"/>
                  <a:pt x="499" y="18333"/>
                </a:cubicBezTo>
                <a:cubicBezTo>
                  <a:pt x="599" y="18842"/>
                  <a:pt x="231" y="18475"/>
                  <a:pt x="382" y="18309"/>
                </a:cubicBezTo>
                <a:cubicBezTo>
                  <a:pt x="382" y="18309"/>
                  <a:pt x="382" y="18321"/>
                  <a:pt x="365" y="18333"/>
                </a:cubicBezTo>
                <a:cubicBezTo>
                  <a:pt x="382" y="18321"/>
                  <a:pt x="415" y="18309"/>
                  <a:pt x="415" y="18298"/>
                </a:cubicBezTo>
                <a:close/>
                <a:moveTo>
                  <a:pt x="148" y="19174"/>
                </a:moveTo>
                <a:cubicBezTo>
                  <a:pt x="164" y="19162"/>
                  <a:pt x="164" y="19162"/>
                  <a:pt x="181" y="19150"/>
                </a:cubicBezTo>
                <a:cubicBezTo>
                  <a:pt x="215" y="19268"/>
                  <a:pt x="281" y="19398"/>
                  <a:pt x="198" y="19517"/>
                </a:cubicBezTo>
                <a:cubicBezTo>
                  <a:pt x="14" y="19754"/>
                  <a:pt x="114" y="19316"/>
                  <a:pt x="148" y="19174"/>
                </a:cubicBezTo>
                <a:close/>
                <a:moveTo>
                  <a:pt x="1234" y="14629"/>
                </a:moveTo>
                <a:cubicBezTo>
                  <a:pt x="1301" y="14605"/>
                  <a:pt x="1385" y="14629"/>
                  <a:pt x="1468" y="14640"/>
                </a:cubicBezTo>
                <a:cubicBezTo>
                  <a:pt x="1468" y="14629"/>
                  <a:pt x="1468" y="14617"/>
                  <a:pt x="1485" y="14617"/>
                </a:cubicBezTo>
                <a:cubicBezTo>
                  <a:pt x="1485" y="14605"/>
                  <a:pt x="1502" y="14629"/>
                  <a:pt x="1502" y="14640"/>
                </a:cubicBezTo>
                <a:cubicBezTo>
                  <a:pt x="1485" y="14652"/>
                  <a:pt x="1468" y="14652"/>
                  <a:pt x="1452" y="14664"/>
                </a:cubicBezTo>
                <a:lnTo>
                  <a:pt x="1468" y="14652"/>
                </a:lnTo>
                <a:cubicBezTo>
                  <a:pt x="1402" y="14676"/>
                  <a:pt x="1335" y="14735"/>
                  <a:pt x="1268" y="14735"/>
                </a:cubicBezTo>
                <a:cubicBezTo>
                  <a:pt x="1218" y="14735"/>
                  <a:pt x="1201" y="14652"/>
                  <a:pt x="1234" y="14629"/>
                </a:cubicBezTo>
                <a:close/>
                <a:moveTo>
                  <a:pt x="4344" y="12415"/>
                </a:moveTo>
                <a:cubicBezTo>
                  <a:pt x="4427" y="12427"/>
                  <a:pt x="4377" y="12510"/>
                  <a:pt x="4394" y="12569"/>
                </a:cubicBezTo>
                <a:cubicBezTo>
                  <a:pt x="4377" y="12581"/>
                  <a:pt x="4344" y="12593"/>
                  <a:pt x="4327" y="12593"/>
                </a:cubicBezTo>
                <a:cubicBezTo>
                  <a:pt x="4260" y="12605"/>
                  <a:pt x="4177" y="12605"/>
                  <a:pt x="4110" y="12617"/>
                </a:cubicBezTo>
                <a:cubicBezTo>
                  <a:pt x="3408" y="12688"/>
                  <a:pt x="4327" y="12404"/>
                  <a:pt x="4344" y="12415"/>
                </a:cubicBezTo>
                <a:close/>
                <a:moveTo>
                  <a:pt x="8473" y="5657"/>
                </a:moveTo>
                <a:cubicBezTo>
                  <a:pt x="8507" y="5586"/>
                  <a:pt x="8440" y="5456"/>
                  <a:pt x="8540" y="5444"/>
                </a:cubicBezTo>
                <a:cubicBezTo>
                  <a:pt x="9159" y="5361"/>
                  <a:pt x="8607" y="5776"/>
                  <a:pt x="8407" y="5811"/>
                </a:cubicBezTo>
                <a:cubicBezTo>
                  <a:pt x="8407" y="5799"/>
                  <a:pt x="8373" y="5799"/>
                  <a:pt x="8373" y="5788"/>
                </a:cubicBezTo>
                <a:cubicBezTo>
                  <a:pt x="8407" y="5740"/>
                  <a:pt x="8456" y="5704"/>
                  <a:pt x="8473" y="5657"/>
                </a:cubicBezTo>
                <a:close/>
                <a:moveTo>
                  <a:pt x="9811" y="4580"/>
                </a:moveTo>
                <a:cubicBezTo>
                  <a:pt x="9844" y="4604"/>
                  <a:pt x="9744" y="4628"/>
                  <a:pt x="9761" y="4663"/>
                </a:cubicBezTo>
                <a:cubicBezTo>
                  <a:pt x="9794" y="4793"/>
                  <a:pt x="10229" y="4781"/>
                  <a:pt x="9627" y="4959"/>
                </a:cubicBezTo>
                <a:cubicBezTo>
                  <a:pt x="9560" y="4971"/>
                  <a:pt x="9493" y="4912"/>
                  <a:pt x="9409" y="4888"/>
                </a:cubicBezTo>
                <a:cubicBezTo>
                  <a:pt x="9844" y="4639"/>
                  <a:pt x="9594" y="4604"/>
                  <a:pt x="9594" y="4675"/>
                </a:cubicBezTo>
                <a:cubicBezTo>
                  <a:pt x="9610" y="4817"/>
                  <a:pt x="9393" y="4722"/>
                  <a:pt x="9292" y="4770"/>
                </a:cubicBezTo>
                <a:cubicBezTo>
                  <a:pt x="9209" y="4793"/>
                  <a:pt x="9142" y="4994"/>
                  <a:pt x="9125" y="4924"/>
                </a:cubicBezTo>
                <a:cubicBezTo>
                  <a:pt x="9075" y="4722"/>
                  <a:pt x="9510" y="4379"/>
                  <a:pt x="9811" y="4580"/>
                </a:cubicBezTo>
                <a:close/>
                <a:moveTo>
                  <a:pt x="12135" y="2651"/>
                </a:moveTo>
                <a:cubicBezTo>
                  <a:pt x="12269" y="2391"/>
                  <a:pt x="13606" y="2450"/>
                  <a:pt x="12452" y="2829"/>
                </a:cubicBezTo>
                <a:cubicBezTo>
                  <a:pt x="12369" y="2758"/>
                  <a:pt x="12101" y="2734"/>
                  <a:pt x="12135" y="2651"/>
                </a:cubicBezTo>
                <a:close/>
                <a:moveTo>
                  <a:pt x="13021" y="2426"/>
                </a:moveTo>
                <a:lnTo>
                  <a:pt x="13038" y="2450"/>
                </a:lnTo>
                <a:cubicBezTo>
                  <a:pt x="13038" y="2462"/>
                  <a:pt x="13021" y="2473"/>
                  <a:pt x="13021" y="2485"/>
                </a:cubicBezTo>
                <a:cubicBezTo>
                  <a:pt x="13021" y="2462"/>
                  <a:pt x="13004" y="2450"/>
                  <a:pt x="13021" y="2426"/>
                </a:cubicBezTo>
                <a:close/>
                <a:moveTo>
                  <a:pt x="13338" y="2130"/>
                </a:moveTo>
                <a:cubicBezTo>
                  <a:pt x="13372" y="2083"/>
                  <a:pt x="13472" y="2059"/>
                  <a:pt x="13555" y="2035"/>
                </a:cubicBezTo>
                <a:cubicBezTo>
                  <a:pt x="13572" y="2024"/>
                  <a:pt x="13622" y="2035"/>
                  <a:pt x="13606" y="2047"/>
                </a:cubicBezTo>
                <a:cubicBezTo>
                  <a:pt x="13555" y="2142"/>
                  <a:pt x="13472" y="2225"/>
                  <a:pt x="13405" y="2308"/>
                </a:cubicBezTo>
                <a:cubicBezTo>
                  <a:pt x="13388" y="2249"/>
                  <a:pt x="13305" y="2189"/>
                  <a:pt x="13338" y="2130"/>
                </a:cubicBezTo>
                <a:close/>
                <a:moveTo>
                  <a:pt x="14341" y="1290"/>
                </a:moveTo>
                <a:cubicBezTo>
                  <a:pt x="14308" y="1290"/>
                  <a:pt x="14291" y="1290"/>
                  <a:pt x="14274" y="1290"/>
                </a:cubicBezTo>
                <a:cubicBezTo>
                  <a:pt x="14241" y="1278"/>
                  <a:pt x="14274" y="1290"/>
                  <a:pt x="14341" y="1290"/>
                </a:cubicBezTo>
                <a:close/>
                <a:moveTo>
                  <a:pt x="14459" y="1243"/>
                </a:moveTo>
                <a:cubicBezTo>
                  <a:pt x="14525" y="1243"/>
                  <a:pt x="14559" y="1325"/>
                  <a:pt x="14609" y="1302"/>
                </a:cubicBezTo>
                <a:cubicBezTo>
                  <a:pt x="14676" y="1266"/>
                  <a:pt x="14492" y="1136"/>
                  <a:pt x="14559" y="1148"/>
                </a:cubicBezTo>
                <a:cubicBezTo>
                  <a:pt x="14592" y="1160"/>
                  <a:pt x="14592" y="1219"/>
                  <a:pt x="14643" y="1219"/>
                </a:cubicBezTo>
                <a:cubicBezTo>
                  <a:pt x="14676" y="1207"/>
                  <a:pt x="14609" y="1148"/>
                  <a:pt x="14643" y="1136"/>
                </a:cubicBezTo>
                <a:cubicBezTo>
                  <a:pt x="14793" y="1089"/>
                  <a:pt x="14726" y="1384"/>
                  <a:pt x="14876" y="1231"/>
                </a:cubicBezTo>
                <a:cubicBezTo>
                  <a:pt x="14910" y="1207"/>
                  <a:pt x="14793" y="1160"/>
                  <a:pt x="14826" y="1136"/>
                </a:cubicBezTo>
                <a:cubicBezTo>
                  <a:pt x="14927" y="1041"/>
                  <a:pt x="15094" y="1006"/>
                  <a:pt x="15244" y="935"/>
                </a:cubicBezTo>
                <a:cubicBezTo>
                  <a:pt x="15244" y="947"/>
                  <a:pt x="15227" y="947"/>
                  <a:pt x="15227" y="947"/>
                </a:cubicBezTo>
                <a:cubicBezTo>
                  <a:pt x="15227" y="959"/>
                  <a:pt x="15294" y="959"/>
                  <a:pt x="15294" y="970"/>
                </a:cubicBezTo>
                <a:cubicBezTo>
                  <a:pt x="15278" y="1018"/>
                  <a:pt x="15211" y="1065"/>
                  <a:pt x="15177" y="1112"/>
                </a:cubicBezTo>
                <a:cubicBezTo>
                  <a:pt x="15044" y="1373"/>
                  <a:pt x="14859" y="1479"/>
                  <a:pt x="14459" y="1527"/>
                </a:cubicBezTo>
                <a:cubicBezTo>
                  <a:pt x="14492" y="1456"/>
                  <a:pt x="14609" y="1373"/>
                  <a:pt x="14559" y="1302"/>
                </a:cubicBezTo>
                <a:cubicBezTo>
                  <a:pt x="14542" y="1290"/>
                  <a:pt x="14508" y="1278"/>
                  <a:pt x="14475" y="1278"/>
                </a:cubicBezTo>
                <a:cubicBezTo>
                  <a:pt x="14475" y="1266"/>
                  <a:pt x="14441" y="1243"/>
                  <a:pt x="14459" y="1243"/>
                </a:cubicBezTo>
                <a:close/>
                <a:moveTo>
                  <a:pt x="17000" y="319"/>
                </a:moveTo>
                <a:cubicBezTo>
                  <a:pt x="17016" y="414"/>
                  <a:pt x="16782" y="438"/>
                  <a:pt x="16699" y="509"/>
                </a:cubicBezTo>
                <a:cubicBezTo>
                  <a:pt x="16030" y="47"/>
                  <a:pt x="16933" y="47"/>
                  <a:pt x="17000" y="319"/>
                </a:cubicBezTo>
                <a:close/>
                <a:moveTo>
                  <a:pt x="14007" y="3953"/>
                </a:moveTo>
                <a:lnTo>
                  <a:pt x="14007" y="3953"/>
                </a:lnTo>
                <a:cubicBezTo>
                  <a:pt x="14007" y="3953"/>
                  <a:pt x="14007" y="3953"/>
                  <a:pt x="14007" y="3953"/>
                </a:cubicBezTo>
                <a:close/>
                <a:moveTo>
                  <a:pt x="13990" y="3953"/>
                </a:moveTo>
                <a:lnTo>
                  <a:pt x="13990" y="3953"/>
                </a:lnTo>
                <a:cubicBezTo>
                  <a:pt x="13990" y="3953"/>
                  <a:pt x="13990" y="3953"/>
                  <a:pt x="13990" y="3953"/>
                </a:cubicBezTo>
                <a:close/>
                <a:moveTo>
                  <a:pt x="13957" y="3941"/>
                </a:moveTo>
                <a:cubicBezTo>
                  <a:pt x="13957" y="3941"/>
                  <a:pt x="13957" y="3941"/>
                  <a:pt x="13973" y="3941"/>
                </a:cubicBezTo>
                <a:cubicBezTo>
                  <a:pt x="13957" y="3941"/>
                  <a:pt x="13957" y="3941"/>
                  <a:pt x="13957" y="3941"/>
                </a:cubicBezTo>
                <a:close/>
                <a:moveTo>
                  <a:pt x="13940" y="3941"/>
                </a:moveTo>
                <a:lnTo>
                  <a:pt x="13940" y="3941"/>
                </a:lnTo>
                <a:cubicBezTo>
                  <a:pt x="13940" y="3941"/>
                  <a:pt x="13940" y="3941"/>
                  <a:pt x="13940" y="3941"/>
                </a:cubicBezTo>
                <a:close/>
                <a:moveTo>
                  <a:pt x="13907" y="3929"/>
                </a:moveTo>
                <a:lnTo>
                  <a:pt x="13907" y="3929"/>
                </a:lnTo>
                <a:cubicBezTo>
                  <a:pt x="13907" y="3929"/>
                  <a:pt x="13907" y="3929"/>
                  <a:pt x="13907" y="3929"/>
                </a:cubicBezTo>
                <a:close/>
                <a:moveTo>
                  <a:pt x="21129" y="1503"/>
                </a:moveTo>
                <a:cubicBezTo>
                  <a:pt x="21229" y="1598"/>
                  <a:pt x="21463" y="1822"/>
                  <a:pt x="21263" y="1870"/>
                </a:cubicBezTo>
                <a:cubicBezTo>
                  <a:pt x="21062" y="1917"/>
                  <a:pt x="20544" y="1728"/>
                  <a:pt x="20711" y="1834"/>
                </a:cubicBezTo>
                <a:cubicBezTo>
                  <a:pt x="21029" y="2024"/>
                  <a:pt x="20393" y="2296"/>
                  <a:pt x="20310" y="2438"/>
                </a:cubicBezTo>
                <a:cubicBezTo>
                  <a:pt x="20310" y="2450"/>
                  <a:pt x="20510" y="2959"/>
                  <a:pt x="20276" y="2899"/>
                </a:cubicBezTo>
                <a:cubicBezTo>
                  <a:pt x="19641" y="2722"/>
                  <a:pt x="20393" y="2426"/>
                  <a:pt x="20176" y="2166"/>
                </a:cubicBezTo>
                <a:cubicBezTo>
                  <a:pt x="19842" y="1751"/>
                  <a:pt x="19323" y="1905"/>
                  <a:pt x="18889" y="1574"/>
                </a:cubicBezTo>
                <a:lnTo>
                  <a:pt x="18872" y="1515"/>
                </a:lnTo>
                <a:cubicBezTo>
                  <a:pt x="18855" y="1515"/>
                  <a:pt x="18838" y="1515"/>
                  <a:pt x="18822" y="1527"/>
                </a:cubicBezTo>
                <a:cubicBezTo>
                  <a:pt x="18822" y="1515"/>
                  <a:pt x="18805" y="1515"/>
                  <a:pt x="18805" y="1503"/>
                </a:cubicBezTo>
                <a:lnTo>
                  <a:pt x="18805" y="1527"/>
                </a:lnTo>
                <a:cubicBezTo>
                  <a:pt x="18471" y="1574"/>
                  <a:pt x="18537" y="1846"/>
                  <a:pt x="18253" y="1905"/>
                </a:cubicBezTo>
                <a:cubicBezTo>
                  <a:pt x="18003" y="1953"/>
                  <a:pt x="18103" y="1704"/>
                  <a:pt x="17819" y="1929"/>
                </a:cubicBezTo>
                <a:cubicBezTo>
                  <a:pt x="17785" y="1965"/>
                  <a:pt x="17819" y="2024"/>
                  <a:pt x="17802" y="2071"/>
                </a:cubicBezTo>
                <a:cubicBezTo>
                  <a:pt x="17785" y="2083"/>
                  <a:pt x="17602" y="2331"/>
                  <a:pt x="17602" y="2343"/>
                </a:cubicBezTo>
                <a:cubicBezTo>
                  <a:pt x="17551" y="2438"/>
                  <a:pt x="17651" y="2746"/>
                  <a:pt x="17668" y="2829"/>
                </a:cubicBezTo>
                <a:cubicBezTo>
                  <a:pt x="17668" y="2864"/>
                  <a:pt x="17635" y="2888"/>
                  <a:pt x="17635" y="2923"/>
                </a:cubicBezTo>
                <a:cubicBezTo>
                  <a:pt x="17635" y="2994"/>
                  <a:pt x="17651" y="3053"/>
                  <a:pt x="17668" y="3124"/>
                </a:cubicBezTo>
                <a:cubicBezTo>
                  <a:pt x="17718" y="3219"/>
                  <a:pt x="17835" y="3290"/>
                  <a:pt x="17852" y="3385"/>
                </a:cubicBezTo>
                <a:cubicBezTo>
                  <a:pt x="17936" y="3799"/>
                  <a:pt x="17785" y="3515"/>
                  <a:pt x="17585" y="3645"/>
                </a:cubicBezTo>
                <a:cubicBezTo>
                  <a:pt x="17351" y="3811"/>
                  <a:pt x="17568" y="3858"/>
                  <a:pt x="17501" y="4059"/>
                </a:cubicBezTo>
                <a:cubicBezTo>
                  <a:pt x="17484" y="4107"/>
                  <a:pt x="17418" y="4130"/>
                  <a:pt x="17401" y="4178"/>
                </a:cubicBezTo>
                <a:cubicBezTo>
                  <a:pt x="17401" y="4190"/>
                  <a:pt x="17183" y="4048"/>
                  <a:pt x="17150" y="4036"/>
                </a:cubicBezTo>
                <a:cubicBezTo>
                  <a:pt x="17100" y="4012"/>
                  <a:pt x="16481" y="3858"/>
                  <a:pt x="16431" y="3906"/>
                </a:cubicBezTo>
                <a:cubicBezTo>
                  <a:pt x="16364" y="3953"/>
                  <a:pt x="16414" y="4048"/>
                  <a:pt x="16364" y="4095"/>
                </a:cubicBezTo>
                <a:cubicBezTo>
                  <a:pt x="16164" y="4344"/>
                  <a:pt x="15896" y="4190"/>
                  <a:pt x="15612" y="4225"/>
                </a:cubicBezTo>
                <a:cubicBezTo>
                  <a:pt x="15528" y="4225"/>
                  <a:pt x="15411" y="4284"/>
                  <a:pt x="15344" y="4249"/>
                </a:cubicBezTo>
                <a:cubicBezTo>
                  <a:pt x="15261" y="4201"/>
                  <a:pt x="15294" y="4107"/>
                  <a:pt x="15244" y="4048"/>
                </a:cubicBezTo>
                <a:cubicBezTo>
                  <a:pt x="15127" y="3906"/>
                  <a:pt x="14743" y="3539"/>
                  <a:pt x="14542" y="3456"/>
                </a:cubicBezTo>
                <a:cubicBezTo>
                  <a:pt x="13873" y="3184"/>
                  <a:pt x="14174" y="3894"/>
                  <a:pt x="14174" y="3894"/>
                </a:cubicBezTo>
                <a:cubicBezTo>
                  <a:pt x="14074" y="3906"/>
                  <a:pt x="13990" y="3823"/>
                  <a:pt x="13890" y="3823"/>
                </a:cubicBezTo>
                <a:cubicBezTo>
                  <a:pt x="13840" y="3823"/>
                  <a:pt x="13756" y="3858"/>
                  <a:pt x="13773" y="3882"/>
                </a:cubicBezTo>
                <a:cubicBezTo>
                  <a:pt x="13790" y="3894"/>
                  <a:pt x="13806" y="3906"/>
                  <a:pt x="13823" y="3906"/>
                </a:cubicBezTo>
                <a:lnTo>
                  <a:pt x="13790" y="3906"/>
                </a:lnTo>
                <a:cubicBezTo>
                  <a:pt x="13656" y="3929"/>
                  <a:pt x="13472" y="3870"/>
                  <a:pt x="13405" y="3953"/>
                </a:cubicBezTo>
                <a:cubicBezTo>
                  <a:pt x="13355" y="4012"/>
                  <a:pt x="13572" y="4048"/>
                  <a:pt x="13622" y="4107"/>
                </a:cubicBezTo>
                <a:cubicBezTo>
                  <a:pt x="13673" y="4178"/>
                  <a:pt x="13706" y="4261"/>
                  <a:pt x="13706" y="4344"/>
                </a:cubicBezTo>
                <a:cubicBezTo>
                  <a:pt x="13706" y="4486"/>
                  <a:pt x="13422" y="4592"/>
                  <a:pt x="13472" y="4734"/>
                </a:cubicBezTo>
                <a:cubicBezTo>
                  <a:pt x="13489" y="4841"/>
                  <a:pt x="14074" y="4817"/>
                  <a:pt x="13522" y="5065"/>
                </a:cubicBezTo>
                <a:cubicBezTo>
                  <a:pt x="13372" y="5136"/>
                  <a:pt x="12218" y="4734"/>
                  <a:pt x="11984" y="4947"/>
                </a:cubicBezTo>
                <a:cubicBezTo>
                  <a:pt x="11884" y="5042"/>
                  <a:pt x="12302" y="5716"/>
                  <a:pt x="11967" y="5811"/>
                </a:cubicBezTo>
                <a:lnTo>
                  <a:pt x="11433" y="5645"/>
                </a:lnTo>
                <a:cubicBezTo>
                  <a:pt x="11332" y="5645"/>
                  <a:pt x="11014" y="6060"/>
                  <a:pt x="10998" y="6154"/>
                </a:cubicBezTo>
                <a:cubicBezTo>
                  <a:pt x="10964" y="6285"/>
                  <a:pt x="10964" y="6450"/>
                  <a:pt x="10831" y="6569"/>
                </a:cubicBezTo>
                <a:cubicBezTo>
                  <a:pt x="10730" y="6651"/>
                  <a:pt x="10547" y="6521"/>
                  <a:pt x="10597" y="6734"/>
                </a:cubicBezTo>
                <a:cubicBezTo>
                  <a:pt x="10663" y="6995"/>
                  <a:pt x="11098" y="7018"/>
                  <a:pt x="10914" y="7338"/>
                </a:cubicBezTo>
                <a:cubicBezTo>
                  <a:pt x="10814" y="7539"/>
                  <a:pt x="10262" y="8001"/>
                  <a:pt x="10162" y="8214"/>
                </a:cubicBezTo>
                <a:cubicBezTo>
                  <a:pt x="10128" y="8320"/>
                  <a:pt x="10346" y="8415"/>
                  <a:pt x="10296" y="8521"/>
                </a:cubicBezTo>
                <a:lnTo>
                  <a:pt x="9928" y="8746"/>
                </a:lnTo>
                <a:cubicBezTo>
                  <a:pt x="9794" y="8794"/>
                  <a:pt x="9527" y="8687"/>
                  <a:pt x="9460" y="8794"/>
                </a:cubicBezTo>
                <a:lnTo>
                  <a:pt x="9627" y="9255"/>
                </a:lnTo>
                <a:cubicBezTo>
                  <a:pt x="9627" y="9255"/>
                  <a:pt x="9543" y="9610"/>
                  <a:pt x="9543" y="9622"/>
                </a:cubicBezTo>
                <a:lnTo>
                  <a:pt x="9594" y="10060"/>
                </a:lnTo>
                <a:cubicBezTo>
                  <a:pt x="9577" y="10107"/>
                  <a:pt x="9493" y="10119"/>
                  <a:pt x="9476" y="10167"/>
                </a:cubicBezTo>
                <a:cubicBezTo>
                  <a:pt x="9326" y="10486"/>
                  <a:pt x="9092" y="10817"/>
                  <a:pt x="8941" y="11149"/>
                </a:cubicBezTo>
                <a:cubicBezTo>
                  <a:pt x="8841" y="11362"/>
                  <a:pt x="9543" y="11244"/>
                  <a:pt x="9426" y="11824"/>
                </a:cubicBezTo>
                <a:cubicBezTo>
                  <a:pt x="9309" y="12380"/>
                  <a:pt x="8858" y="11824"/>
                  <a:pt x="8172" y="12131"/>
                </a:cubicBezTo>
                <a:cubicBezTo>
                  <a:pt x="7955" y="12226"/>
                  <a:pt x="7587" y="12628"/>
                  <a:pt x="7537" y="12818"/>
                </a:cubicBezTo>
                <a:cubicBezTo>
                  <a:pt x="7520" y="12877"/>
                  <a:pt x="7621" y="12924"/>
                  <a:pt x="7604" y="12972"/>
                </a:cubicBezTo>
                <a:cubicBezTo>
                  <a:pt x="7587" y="13102"/>
                  <a:pt x="7353" y="13185"/>
                  <a:pt x="7353" y="13315"/>
                </a:cubicBezTo>
                <a:cubicBezTo>
                  <a:pt x="7353" y="14747"/>
                  <a:pt x="7604" y="12262"/>
                  <a:pt x="7604" y="13694"/>
                </a:cubicBezTo>
                <a:cubicBezTo>
                  <a:pt x="7604" y="13765"/>
                  <a:pt x="7487" y="13812"/>
                  <a:pt x="7487" y="13883"/>
                </a:cubicBezTo>
                <a:cubicBezTo>
                  <a:pt x="7470" y="13966"/>
                  <a:pt x="7537" y="14037"/>
                  <a:pt x="7554" y="14120"/>
                </a:cubicBezTo>
                <a:cubicBezTo>
                  <a:pt x="7554" y="14191"/>
                  <a:pt x="7470" y="14274"/>
                  <a:pt x="7487" y="14345"/>
                </a:cubicBezTo>
                <a:cubicBezTo>
                  <a:pt x="7504" y="14522"/>
                  <a:pt x="7771" y="14676"/>
                  <a:pt x="7805" y="14853"/>
                </a:cubicBezTo>
                <a:cubicBezTo>
                  <a:pt x="7838" y="15114"/>
                  <a:pt x="7571" y="15445"/>
                  <a:pt x="7654" y="15694"/>
                </a:cubicBezTo>
                <a:cubicBezTo>
                  <a:pt x="7755" y="15966"/>
                  <a:pt x="8390" y="15942"/>
                  <a:pt x="8456" y="16238"/>
                </a:cubicBezTo>
                <a:lnTo>
                  <a:pt x="8273" y="16712"/>
                </a:lnTo>
                <a:cubicBezTo>
                  <a:pt x="8139" y="16795"/>
                  <a:pt x="7805" y="16735"/>
                  <a:pt x="7821" y="16854"/>
                </a:cubicBezTo>
                <a:cubicBezTo>
                  <a:pt x="7905" y="17363"/>
                  <a:pt x="8340" y="17232"/>
                  <a:pt x="8156" y="17907"/>
                </a:cubicBezTo>
                <a:lnTo>
                  <a:pt x="8172" y="18250"/>
                </a:lnTo>
                <a:cubicBezTo>
                  <a:pt x="8022" y="18523"/>
                  <a:pt x="7487" y="18546"/>
                  <a:pt x="7453" y="18629"/>
                </a:cubicBezTo>
                <a:cubicBezTo>
                  <a:pt x="7437" y="18653"/>
                  <a:pt x="7520" y="18665"/>
                  <a:pt x="7520" y="18700"/>
                </a:cubicBezTo>
                <a:cubicBezTo>
                  <a:pt x="7554" y="18747"/>
                  <a:pt x="7587" y="18807"/>
                  <a:pt x="7554" y="18854"/>
                </a:cubicBezTo>
                <a:cubicBezTo>
                  <a:pt x="7504" y="18925"/>
                  <a:pt x="7336" y="18937"/>
                  <a:pt x="7303" y="19020"/>
                </a:cubicBezTo>
                <a:cubicBezTo>
                  <a:pt x="7203" y="19233"/>
                  <a:pt x="7671" y="19706"/>
                  <a:pt x="7303" y="20073"/>
                </a:cubicBezTo>
                <a:cubicBezTo>
                  <a:pt x="7153" y="20227"/>
                  <a:pt x="7086" y="20109"/>
                  <a:pt x="7036" y="19990"/>
                </a:cubicBezTo>
                <a:cubicBezTo>
                  <a:pt x="7052" y="19990"/>
                  <a:pt x="7052" y="19990"/>
                  <a:pt x="7069" y="19978"/>
                </a:cubicBezTo>
                <a:cubicBezTo>
                  <a:pt x="7136" y="19943"/>
                  <a:pt x="7036" y="19848"/>
                  <a:pt x="6985" y="19801"/>
                </a:cubicBezTo>
                <a:cubicBezTo>
                  <a:pt x="6634" y="19410"/>
                  <a:pt x="6818" y="19990"/>
                  <a:pt x="6267" y="19623"/>
                </a:cubicBezTo>
                <a:cubicBezTo>
                  <a:pt x="6216" y="19588"/>
                  <a:pt x="6317" y="19517"/>
                  <a:pt x="6317" y="19470"/>
                </a:cubicBezTo>
                <a:cubicBezTo>
                  <a:pt x="6317" y="19398"/>
                  <a:pt x="6216" y="19470"/>
                  <a:pt x="6216" y="19470"/>
                </a:cubicBezTo>
                <a:cubicBezTo>
                  <a:pt x="6116" y="19363"/>
                  <a:pt x="6149" y="19185"/>
                  <a:pt x="6183" y="19209"/>
                </a:cubicBezTo>
                <a:cubicBezTo>
                  <a:pt x="6183" y="19185"/>
                  <a:pt x="6166" y="19174"/>
                  <a:pt x="6166" y="19162"/>
                </a:cubicBezTo>
                <a:cubicBezTo>
                  <a:pt x="6133" y="19043"/>
                  <a:pt x="6083" y="18937"/>
                  <a:pt x="6049" y="18819"/>
                </a:cubicBezTo>
                <a:cubicBezTo>
                  <a:pt x="6033" y="18747"/>
                  <a:pt x="6183" y="18594"/>
                  <a:pt x="6066" y="18594"/>
                </a:cubicBezTo>
                <a:cubicBezTo>
                  <a:pt x="5648" y="18594"/>
                  <a:pt x="6367" y="18960"/>
                  <a:pt x="5949" y="19162"/>
                </a:cubicBezTo>
                <a:cubicBezTo>
                  <a:pt x="5932" y="19162"/>
                  <a:pt x="5915" y="19150"/>
                  <a:pt x="5915" y="19138"/>
                </a:cubicBezTo>
                <a:cubicBezTo>
                  <a:pt x="5899" y="19067"/>
                  <a:pt x="5949" y="18984"/>
                  <a:pt x="5915" y="18925"/>
                </a:cubicBezTo>
                <a:cubicBezTo>
                  <a:pt x="5865" y="18866"/>
                  <a:pt x="5698" y="18759"/>
                  <a:pt x="5682" y="18819"/>
                </a:cubicBezTo>
                <a:cubicBezTo>
                  <a:pt x="5664" y="18913"/>
                  <a:pt x="5832" y="18972"/>
                  <a:pt x="5882" y="19055"/>
                </a:cubicBezTo>
                <a:cubicBezTo>
                  <a:pt x="5915" y="19103"/>
                  <a:pt x="5815" y="19209"/>
                  <a:pt x="5848" y="19268"/>
                </a:cubicBezTo>
                <a:cubicBezTo>
                  <a:pt x="5982" y="19517"/>
                  <a:pt x="6083" y="19387"/>
                  <a:pt x="5982" y="19552"/>
                </a:cubicBezTo>
                <a:cubicBezTo>
                  <a:pt x="5982" y="19564"/>
                  <a:pt x="5982" y="19600"/>
                  <a:pt x="5949" y="19600"/>
                </a:cubicBezTo>
                <a:cubicBezTo>
                  <a:pt x="5915" y="19600"/>
                  <a:pt x="5882" y="19529"/>
                  <a:pt x="5848" y="19552"/>
                </a:cubicBezTo>
                <a:cubicBezTo>
                  <a:pt x="5732" y="19706"/>
                  <a:pt x="5882" y="19907"/>
                  <a:pt x="5748" y="19907"/>
                </a:cubicBezTo>
                <a:cubicBezTo>
                  <a:pt x="5682" y="19907"/>
                  <a:pt x="5765" y="19754"/>
                  <a:pt x="5715" y="19777"/>
                </a:cubicBezTo>
                <a:cubicBezTo>
                  <a:pt x="5431" y="19907"/>
                  <a:pt x="5966" y="20038"/>
                  <a:pt x="5264" y="20038"/>
                </a:cubicBezTo>
                <a:cubicBezTo>
                  <a:pt x="5180" y="20038"/>
                  <a:pt x="5264" y="19919"/>
                  <a:pt x="5197" y="19884"/>
                </a:cubicBezTo>
                <a:cubicBezTo>
                  <a:pt x="5113" y="19848"/>
                  <a:pt x="4962" y="19718"/>
                  <a:pt x="4912" y="19777"/>
                </a:cubicBezTo>
                <a:cubicBezTo>
                  <a:pt x="4862" y="19860"/>
                  <a:pt x="5079" y="19907"/>
                  <a:pt x="5130" y="19990"/>
                </a:cubicBezTo>
                <a:cubicBezTo>
                  <a:pt x="5146" y="20026"/>
                  <a:pt x="4695" y="20050"/>
                  <a:pt x="4645" y="20168"/>
                </a:cubicBezTo>
                <a:cubicBezTo>
                  <a:pt x="4628" y="20215"/>
                  <a:pt x="4812" y="20263"/>
                  <a:pt x="4762" y="20298"/>
                </a:cubicBezTo>
                <a:cubicBezTo>
                  <a:pt x="4678" y="20369"/>
                  <a:pt x="4461" y="20310"/>
                  <a:pt x="4377" y="20369"/>
                </a:cubicBezTo>
                <a:cubicBezTo>
                  <a:pt x="4327" y="20416"/>
                  <a:pt x="4545" y="20428"/>
                  <a:pt x="4528" y="20475"/>
                </a:cubicBezTo>
                <a:cubicBezTo>
                  <a:pt x="4427" y="20961"/>
                  <a:pt x="4294" y="20334"/>
                  <a:pt x="4210" y="20582"/>
                </a:cubicBezTo>
                <a:cubicBezTo>
                  <a:pt x="4193" y="20606"/>
                  <a:pt x="4260" y="20629"/>
                  <a:pt x="4243" y="20653"/>
                </a:cubicBezTo>
                <a:cubicBezTo>
                  <a:pt x="4160" y="20736"/>
                  <a:pt x="3726" y="21103"/>
                  <a:pt x="3709" y="21115"/>
                </a:cubicBezTo>
                <a:cubicBezTo>
                  <a:pt x="3675" y="21138"/>
                  <a:pt x="3625" y="21067"/>
                  <a:pt x="3592" y="21091"/>
                </a:cubicBezTo>
                <a:cubicBezTo>
                  <a:pt x="3491" y="21150"/>
                  <a:pt x="3508" y="21304"/>
                  <a:pt x="3374" y="21316"/>
                </a:cubicBezTo>
                <a:cubicBezTo>
                  <a:pt x="3274" y="21340"/>
                  <a:pt x="3257" y="21138"/>
                  <a:pt x="3140" y="21162"/>
                </a:cubicBezTo>
                <a:cubicBezTo>
                  <a:pt x="3023" y="21186"/>
                  <a:pt x="3074" y="21340"/>
                  <a:pt x="2990" y="21387"/>
                </a:cubicBezTo>
                <a:cubicBezTo>
                  <a:pt x="2923" y="21422"/>
                  <a:pt x="2806" y="21363"/>
                  <a:pt x="2739" y="21387"/>
                </a:cubicBezTo>
                <a:cubicBezTo>
                  <a:pt x="2689" y="21399"/>
                  <a:pt x="2672" y="21446"/>
                  <a:pt x="2622" y="21458"/>
                </a:cubicBezTo>
                <a:cubicBezTo>
                  <a:pt x="2455" y="21529"/>
                  <a:pt x="2505" y="21422"/>
                  <a:pt x="2271" y="21422"/>
                </a:cubicBezTo>
                <a:cubicBezTo>
                  <a:pt x="2154" y="21422"/>
                  <a:pt x="2020" y="21552"/>
                  <a:pt x="1953" y="21493"/>
                </a:cubicBezTo>
                <a:cubicBezTo>
                  <a:pt x="1886" y="21434"/>
                  <a:pt x="2170" y="21387"/>
                  <a:pt x="2137" y="21316"/>
                </a:cubicBezTo>
                <a:cubicBezTo>
                  <a:pt x="2087" y="21257"/>
                  <a:pt x="1986" y="21410"/>
                  <a:pt x="1886" y="21410"/>
                </a:cubicBezTo>
                <a:cubicBezTo>
                  <a:pt x="1753" y="21422"/>
                  <a:pt x="1619" y="21387"/>
                  <a:pt x="1485" y="21351"/>
                </a:cubicBezTo>
                <a:cubicBezTo>
                  <a:pt x="1201" y="21257"/>
                  <a:pt x="1753" y="21127"/>
                  <a:pt x="1803" y="21044"/>
                </a:cubicBezTo>
                <a:cubicBezTo>
                  <a:pt x="1819" y="20996"/>
                  <a:pt x="1702" y="20949"/>
                  <a:pt x="1636" y="20961"/>
                </a:cubicBezTo>
                <a:cubicBezTo>
                  <a:pt x="1569" y="20973"/>
                  <a:pt x="1585" y="21079"/>
                  <a:pt x="1502" y="21091"/>
                </a:cubicBezTo>
                <a:cubicBezTo>
                  <a:pt x="1402" y="21103"/>
                  <a:pt x="1301" y="21055"/>
                  <a:pt x="1201" y="21020"/>
                </a:cubicBezTo>
                <a:cubicBezTo>
                  <a:pt x="1000" y="20961"/>
                  <a:pt x="883" y="20748"/>
                  <a:pt x="783" y="20700"/>
                </a:cubicBezTo>
                <a:cubicBezTo>
                  <a:pt x="733" y="20665"/>
                  <a:pt x="633" y="20689"/>
                  <a:pt x="565" y="20665"/>
                </a:cubicBezTo>
                <a:cubicBezTo>
                  <a:pt x="449" y="20617"/>
                  <a:pt x="248" y="20310"/>
                  <a:pt x="265" y="20227"/>
                </a:cubicBezTo>
                <a:cubicBezTo>
                  <a:pt x="265" y="20156"/>
                  <a:pt x="382" y="20109"/>
                  <a:pt x="415" y="20026"/>
                </a:cubicBezTo>
                <a:cubicBezTo>
                  <a:pt x="432" y="19955"/>
                  <a:pt x="298" y="19777"/>
                  <a:pt x="415" y="19801"/>
                </a:cubicBezTo>
                <a:cubicBezTo>
                  <a:pt x="549" y="19825"/>
                  <a:pt x="449" y="20026"/>
                  <a:pt x="582" y="20061"/>
                </a:cubicBezTo>
                <a:cubicBezTo>
                  <a:pt x="649" y="20097"/>
                  <a:pt x="666" y="19943"/>
                  <a:pt x="749" y="19919"/>
                </a:cubicBezTo>
                <a:cubicBezTo>
                  <a:pt x="783" y="19895"/>
                  <a:pt x="816" y="19919"/>
                  <a:pt x="850" y="19943"/>
                </a:cubicBezTo>
                <a:cubicBezTo>
                  <a:pt x="816" y="19884"/>
                  <a:pt x="800" y="19825"/>
                  <a:pt x="766" y="19765"/>
                </a:cubicBezTo>
                <a:cubicBezTo>
                  <a:pt x="749" y="19683"/>
                  <a:pt x="1000" y="19706"/>
                  <a:pt x="1067" y="19647"/>
                </a:cubicBezTo>
                <a:cubicBezTo>
                  <a:pt x="1100" y="19623"/>
                  <a:pt x="917" y="19647"/>
                  <a:pt x="933" y="19611"/>
                </a:cubicBezTo>
                <a:cubicBezTo>
                  <a:pt x="967" y="19552"/>
                  <a:pt x="1050" y="19517"/>
                  <a:pt x="1134" y="19493"/>
                </a:cubicBezTo>
                <a:cubicBezTo>
                  <a:pt x="1234" y="19446"/>
                  <a:pt x="1435" y="19481"/>
                  <a:pt x="1485" y="19398"/>
                </a:cubicBezTo>
                <a:cubicBezTo>
                  <a:pt x="1552" y="19292"/>
                  <a:pt x="1084" y="19446"/>
                  <a:pt x="984" y="19375"/>
                </a:cubicBezTo>
                <a:cubicBezTo>
                  <a:pt x="917" y="19434"/>
                  <a:pt x="883" y="19434"/>
                  <a:pt x="883" y="19327"/>
                </a:cubicBezTo>
                <a:cubicBezTo>
                  <a:pt x="900" y="19233"/>
                  <a:pt x="1184" y="19209"/>
                  <a:pt x="1151" y="19126"/>
                </a:cubicBezTo>
                <a:cubicBezTo>
                  <a:pt x="1100" y="19032"/>
                  <a:pt x="900" y="19008"/>
                  <a:pt x="766" y="19032"/>
                </a:cubicBezTo>
                <a:cubicBezTo>
                  <a:pt x="549" y="19079"/>
                  <a:pt x="633" y="19446"/>
                  <a:pt x="415" y="19434"/>
                </a:cubicBezTo>
                <a:cubicBezTo>
                  <a:pt x="298" y="19434"/>
                  <a:pt x="382" y="19280"/>
                  <a:pt x="331" y="19221"/>
                </a:cubicBezTo>
                <a:cubicBezTo>
                  <a:pt x="298" y="19185"/>
                  <a:pt x="231" y="19162"/>
                  <a:pt x="164" y="19138"/>
                </a:cubicBezTo>
                <a:cubicBezTo>
                  <a:pt x="164" y="19138"/>
                  <a:pt x="164" y="19150"/>
                  <a:pt x="181" y="19150"/>
                </a:cubicBezTo>
                <a:cubicBezTo>
                  <a:pt x="164" y="19150"/>
                  <a:pt x="164" y="19150"/>
                  <a:pt x="148" y="19162"/>
                </a:cubicBezTo>
                <a:cubicBezTo>
                  <a:pt x="148" y="19150"/>
                  <a:pt x="164" y="19138"/>
                  <a:pt x="164" y="19138"/>
                </a:cubicBezTo>
                <a:cubicBezTo>
                  <a:pt x="114" y="19114"/>
                  <a:pt x="64" y="19091"/>
                  <a:pt x="64" y="19055"/>
                </a:cubicBezTo>
                <a:cubicBezTo>
                  <a:pt x="64" y="18996"/>
                  <a:pt x="265" y="19103"/>
                  <a:pt x="331" y="19067"/>
                </a:cubicBezTo>
                <a:cubicBezTo>
                  <a:pt x="432" y="19008"/>
                  <a:pt x="398" y="18854"/>
                  <a:pt x="516" y="18819"/>
                </a:cubicBezTo>
                <a:cubicBezTo>
                  <a:pt x="599" y="18783"/>
                  <a:pt x="649" y="18913"/>
                  <a:pt x="733" y="18925"/>
                </a:cubicBezTo>
                <a:cubicBezTo>
                  <a:pt x="766" y="18937"/>
                  <a:pt x="716" y="18866"/>
                  <a:pt x="749" y="18854"/>
                </a:cubicBezTo>
                <a:cubicBezTo>
                  <a:pt x="783" y="18830"/>
                  <a:pt x="833" y="18866"/>
                  <a:pt x="867" y="18854"/>
                </a:cubicBezTo>
                <a:cubicBezTo>
                  <a:pt x="933" y="18842"/>
                  <a:pt x="699" y="18842"/>
                  <a:pt x="716" y="18795"/>
                </a:cubicBezTo>
                <a:cubicBezTo>
                  <a:pt x="716" y="18783"/>
                  <a:pt x="1402" y="18570"/>
                  <a:pt x="1351" y="18570"/>
                </a:cubicBezTo>
                <a:cubicBezTo>
                  <a:pt x="816" y="18546"/>
                  <a:pt x="1151" y="18866"/>
                  <a:pt x="633" y="18534"/>
                </a:cubicBezTo>
                <a:cubicBezTo>
                  <a:pt x="616" y="18523"/>
                  <a:pt x="716" y="18534"/>
                  <a:pt x="733" y="18511"/>
                </a:cubicBezTo>
                <a:cubicBezTo>
                  <a:pt x="766" y="18487"/>
                  <a:pt x="733" y="18428"/>
                  <a:pt x="783" y="18416"/>
                </a:cubicBezTo>
                <a:cubicBezTo>
                  <a:pt x="850" y="18381"/>
                  <a:pt x="933" y="18428"/>
                  <a:pt x="1000" y="18392"/>
                </a:cubicBezTo>
                <a:cubicBezTo>
                  <a:pt x="1034" y="18381"/>
                  <a:pt x="984" y="18345"/>
                  <a:pt x="984" y="18321"/>
                </a:cubicBezTo>
                <a:cubicBezTo>
                  <a:pt x="1017" y="18274"/>
                  <a:pt x="1050" y="18239"/>
                  <a:pt x="1084" y="18215"/>
                </a:cubicBezTo>
                <a:cubicBezTo>
                  <a:pt x="1168" y="18179"/>
                  <a:pt x="1351" y="18215"/>
                  <a:pt x="1368" y="18156"/>
                </a:cubicBezTo>
                <a:cubicBezTo>
                  <a:pt x="1385" y="18085"/>
                  <a:pt x="1151" y="18097"/>
                  <a:pt x="1151" y="18037"/>
                </a:cubicBezTo>
                <a:cubicBezTo>
                  <a:pt x="1134" y="18014"/>
                  <a:pt x="1168" y="17978"/>
                  <a:pt x="1201" y="17943"/>
                </a:cubicBezTo>
                <a:cubicBezTo>
                  <a:pt x="1168" y="17943"/>
                  <a:pt x="1117" y="17884"/>
                  <a:pt x="1084" y="17907"/>
                </a:cubicBezTo>
                <a:cubicBezTo>
                  <a:pt x="1000" y="17943"/>
                  <a:pt x="950" y="18002"/>
                  <a:pt x="900" y="18049"/>
                </a:cubicBezTo>
                <a:cubicBezTo>
                  <a:pt x="833" y="18144"/>
                  <a:pt x="867" y="18262"/>
                  <a:pt x="766" y="18333"/>
                </a:cubicBezTo>
                <a:cubicBezTo>
                  <a:pt x="716" y="18369"/>
                  <a:pt x="733" y="18239"/>
                  <a:pt x="716" y="18203"/>
                </a:cubicBezTo>
                <a:cubicBezTo>
                  <a:pt x="616" y="18073"/>
                  <a:pt x="532" y="18108"/>
                  <a:pt x="599" y="17990"/>
                </a:cubicBezTo>
                <a:cubicBezTo>
                  <a:pt x="666" y="17895"/>
                  <a:pt x="933" y="17682"/>
                  <a:pt x="783" y="17706"/>
                </a:cubicBezTo>
                <a:cubicBezTo>
                  <a:pt x="616" y="17741"/>
                  <a:pt x="499" y="18262"/>
                  <a:pt x="298" y="18002"/>
                </a:cubicBezTo>
                <a:cubicBezTo>
                  <a:pt x="248" y="17919"/>
                  <a:pt x="198" y="17824"/>
                  <a:pt x="164" y="17730"/>
                </a:cubicBezTo>
                <a:cubicBezTo>
                  <a:pt x="148" y="17635"/>
                  <a:pt x="398" y="17730"/>
                  <a:pt x="699" y="17659"/>
                </a:cubicBezTo>
                <a:cubicBezTo>
                  <a:pt x="766" y="17647"/>
                  <a:pt x="800" y="17600"/>
                  <a:pt x="816" y="17540"/>
                </a:cubicBezTo>
                <a:cubicBezTo>
                  <a:pt x="699" y="17623"/>
                  <a:pt x="482" y="17446"/>
                  <a:pt x="482" y="17398"/>
                </a:cubicBezTo>
                <a:cubicBezTo>
                  <a:pt x="482" y="17292"/>
                  <a:pt x="716" y="17268"/>
                  <a:pt x="850" y="17221"/>
                </a:cubicBezTo>
                <a:cubicBezTo>
                  <a:pt x="816" y="17091"/>
                  <a:pt x="666" y="17209"/>
                  <a:pt x="532" y="17315"/>
                </a:cubicBezTo>
                <a:cubicBezTo>
                  <a:pt x="532" y="17315"/>
                  <a:pt x="516" y="17315"/>
                  <a:pt x="516" y="17304"/>
                </a:cubicBezTo>
                <a:cubicBezTo>
                  <a:pt x="499" y="17292"/>
                  <a:pt x="482" y="17268"/>
                  <a:pt x="449" y="17244"/>
                </a:cubicBezTo>
                <a:cubicBezTo>
                  <a:pt x="499" y="17280"/>
                  <a:pt x="516" y="17327"/>
                  <a:pt x="532" y="17315"/>
                </a:cubicBezTo>
                <a:cubicBezTo>
                  <a:pt x="449" y="17374"/>
                  <a:pt x="382" y="17422"/>
                  <a:pt x="331" y="17434"/>
                </a:cubicBezTo>
                <a:cubicBezTo>
                  <a:pt x="248" y="17434"/>
                  <a:pt x="281" y="17315"/>
                  <a:pt x="248" y="17268"/>
                </a:cubicBezTo>
                <a:cubicBezTo>
                  <a:pt x="231" y="17244"/>
                  <a:pt x="-70" y="17031"/>
                  <a:pt x="14" y="17019"/>
                </a:cubicBezTo>
                <a:cubicBezTo>
                  <a:pt x="131" y="17019"/>
                  <a:pt x="231" y="17091"/>
                  <a:pt x="331" y="17150"/>
                </a:cubicBezTo>
                <a:cubicBezTo>
                  <a:pt x="331" y="17138"/>
                  <a:pt x="315" y="17114"/>
                  <a:pt x="331" y="17091"/>
                </a:cubicBezTo>
                <a:cubicBezTo>
                  <a:pt x="365" y="17008"/>
                  <a:pt x="565" y="17008"/>
                  <a:pt x="666" y="16948"/>
                </a:cubicBezTo>
                <a:cubicBezTo>
                  <a:pt x="683" y="16937"/>
                  <a:pt x="649" y="16889"/>
                  <a:pt x="616" y="16901"/>
                </a:cubicBezTo>
                <a:cubicBezTo>
                  <a:pt x="482" y="16913"/>
                  <a:pt x="265" y="17031"/>
                  <a:pt x="148" y="16984"/>
                </a:cubicBezTo>
                <a:cubicBezTo>
                  <a:pt x="-3" y="16925"/>
                  <a:pt x="114" y="16653"/>
                  <a:pt x="198" y="16617"/>
                </a:cubicBezTo>
                <a:cubicBezTo>
                  <a:pt x="315" y="16558"/>
                  <a:pt x="449" y="16735"/>
                  <a:pt x="599" y="16735"/>
                </a:cubicBezTo>
                <a:cubicBezTo>
                  <a:pt x="616" y="16747"/>
                  <a:pt x="950" y="16463"/>
                  <a:pt x="1318" y="16593"/>
                </a:cubicBezTo>
                <a:cubicBezTo>
                  <a:pt x="1435" y="16629"/>
                  <a:pt x="1452" y="16747"/>
                  <a:pt x="1569" y="16783"/>
                </a:cubicBezTo>
                <a:cubicBezTo>
                  <a:pt x="1686" y="16818"/>
                  <a:pt x="1468" y="16605"/>
                  <a:pt x="1853" y="16534"/>
                </a:cubicBezTo>
                <a:cubicBezTo>
                  <a:pt x="2338" y="16439"/>
                  <a:pt x="1836" y="17043"/>
                  <a:pt x="2354" y="17019"/>
                </a:cubicBezTo>
                <a:cubicBezTo>
                  <a:pt x="2672" y="16996"/>
                  <a:pt x="2238" y="16806"/>
                  <a:pt x="2254" y="16653"/>
                </a:cubicBezTo>
                <a:cubicBezTo>
                  <a:pt x="2271" y="16487"/>
                  <a:pt x="3123" y="16878"/>
                  <a:pt x="3007" y="16463"/>
                </a:cubicBezTo>
                <a:cubicBezTo>
                  <a:pt x="2990" y="16380"/>
                  <a:pt x="2773" y="16534"/>
                  <a:pt x="2672" y="16510"/>
                </a:cubicBezTo>
                <a:cubicBezTo>
                  <a:pt x="2605" y="16499"/>
                  <a:pt x="2589" y="16428"/>
                  <a:pt x="2589" y="16380"/>
                </a:cubicBezTo>
                <a:cubicBezTo>
                  <a:pt x="2589" y="16250"/>
                  <a:pt x="3057" y="16120"/>
                  <a:pt x="2889" y="16073"/>
                </a:cubicBezTo>
                <a:cubicBezTo>
                  <a:pt x="2471" y="15954"/>
                  <a:pt x="2605" y="16499"/>
                  <a:pt x="2572" y="16558"/>
                </a:cubicBezTo>
                <a:cubicBezTo>
                  <a:pt x="2572" y="16570"/>
                  <a:pt x="2371" y="16605"/>
                  <a:pt x="2204" y="16617"/>
                </a:cubicBezTo>
                <a:cubicBezTo>
                  <a:pt x="2170" y="16629"/>
                  <a:pt x="2187" y="16582"/>
                  <a:pt x="2170" y="16570"/>
                </a:cubicBezTo>
                <a:cubicBezTo>
                  <a:pt x="2054" y="16522"/>
                  <a:pt x="1920" y="16499"/>
                  <a:pt x="1803" y="16451"/>
                </a:cubicBezTo>
                <a:cubicBezTo>
                  <a:pt x="1803" y="16451"/>
                  <a:pt x="1803" y="16451"/>
                  <a:pt x="1786" y="16439"/>
                </a:cubicBezTo>
                <a:cubicBezTo>
                  <a:pt x="1736" y="16522"/>
                  <a:pt x="1686" y="16582"/>
                  <a:pt x="1652" y="16605"/>
                </a:cubicBezTo>
                <a:cubicBezTo>
                  <a:pt x="1636" y="16617"/>
                  <a:pt x="1117" y="16451"/>
                  <a:pt x="984" y="16451"/>
                </a:cubicBezTo>
                <a:cubicBezTo>
                  <a:pt x="933" y="16439"/>
                  <a:pt x="967" y="16510"/>
                  <a:pt x="933" y="16522"/>
                </a:cubicBezTo>
                <a:cubicBezTo>
                  <a:pt x="749" y="16582"/>
                  <a:pt x="532" y="16605"/>
                  <a:pt x="348" y="16570"/>
                </a:cubicBezTo>
                <a:cubicBezTo>
                  <a:pt x="315" y="16570"/>
                  <a:pt x="64" y="16368"/>
                  <a:pt x="98" y="16333"/>
                </a:cubicBezTo>
                <a:cubicBezTo>
                  <a:pt x="181" y="16250"/>
                  <a:pt x="331" y="16215"/>
                  <a:pt x="449" y="16191"/>
                </a:cubicBezTo>
                <a:cubicBezTo>
                  <a:pt x="582" y="16167"/>
                  <a:pt x="833" y="16274"/>
                  <a:pt x="833" y="16179"/>
                </a:cubicBezTo>
                <a:cubicBezTo>
                  <a:pt x="850" y="16096"/>
                  <a:pt x="582" y="16155"/>
                  <a:pt x="449" y="16167"/>
                </a:cubicBezTo>
                <a:cubicBezTo>
                  <a:pt x="365" y="16167"/>
                  <a:pt x="298" y="16250"/>
                  <a:pt x="215" y="16227"/>
                </a:cubicBezTo>
                <a:cubicBezTo>
                  <a:pt x="-136" y="16132"/>
                  <a:pt x="281" y="16002"/>
                  <a:pt x="382" y="16002"/>
                </a:cubicBezTo>
                <a:cubicBezTo>
                  <a:pt x="549" y="16013"/>
                  <a:pt x="833" y="16155"/>
                  <a:pt x="1034" y="16061"/>
                </a:cubicBezTo>
                <a:cubicBezTo>
                  <a:pt x="1234" y="15954"/>
                  <a:pt x="449" y="16096"/>
                  <a:pt x="348" y="15931"/>
                </a:cubicBezTo>
                <a:cubicBezTo>
                  <a:pt x="315" y="15860"/>
                  <a:pt x="733" y="15872"/>
                  <a:pt x="649" y="15836"/>
                </a:cubicBezTo>
                <a:cubicBezTo>
                  <a:pt x="549" y="15800"/>
                  <a:pt x="398" y="15848"/>
                  <a:pt x="315" y="15789"/>
                </a:cubicBezTo>
                <a:cubicBezTo>
                  <a:pt x="47" y="15635"/>
                  <a:pt x="449" y="15327"/>
                  <a:pt x="699" y="15315"/>
                </a:cubicBezTo>
                <a:cubicBezTo>
                  <a:pt x="883" y="15315"/>
                  <a:pt x="1117" y="15339"/>
                  <a:pt x="1218" y="15445"/>
                </a:cubicBezTo>
                <a:cubicBezTo>
                  <a:pt x="1268" y="15493"/>
                  <a:pt x="1117" y="15575"/>
                  <a:pt x="1168" y="15623"/>
                </a:cubicBezTo>
                <a:cubicBezTo>
                  <a:pt x="1218" y="15670"/>
                  <a:pt x="1184" y="15481"/>
                  <a:pt x="1251" y="15469"/>
                </a:cubicBezTo>
                <a:cubicBezTo>
                  <a:pt x="1335" y="15457"/>
                  <a:pt x="1368" y="15575"/>
                  <a:pt x="1452" y="15587"/>
                </a:cubicBezTo>
                <a:cubicBezTo>
                  <a:pt x="1519" y="15587"/>
                  <a:pt x="1318" y="15504"/>
                  <a:pt x="1351" y="15481"/>
                </a:cubicBezTo>
                <a:cubicBezTo>
                  <a:pt x="1435" y="15410"/>
                  <a:pt x="1836" y="15659"/>
                  <a:pt x="2137" y="15457"/>
                </a:cubicBezTo>
                <a:cubicBezTo>
                  <a:pt x="2187" y="15422"/>
                  <a:pt x="2054" y="15398"/>
                  <a:pt x="1986" y="15398"/>
                </a:cubicBezTo>
                <a:cubicBezTo>
                  <a:pt x="1402" y="15374"/>
                  <a:pt x="2271" y="15493"/>
                  <a:pt x="1786" y="15516"/>
                </a:cubicBezTo>
                <a:cubicBezTo>
                  <a:pt x="1702" y="15528"/>
                  <a:pt x="1184" y="15351"/>
                  <a:pt x="950" y="15327"/>
                </a:cubicBezTo>
                <a:cubicBezTo>
                  <a:pt x="867" y="15327"/>
                  <a:pt x="800" y="15291"/>
                  <a:pt x="716" y="15291"/>
                </a:cubicBezTo>
                <a:cubicBezTo>
                  <a:pt x="616" y="15291"/>
                  <a:pt x="432" y="15398"/>
                  <a:pt x="415" y="15327"/>
                </a:cubicBezTo>
                <a:cubicBezTo>
                  <a:pt x="398" y="15244"/>
                  <a:pt x="666" y="15244"/>
                  <a:pt x="699" y="15161"/>
                </a:cubicBezTo>
                <a:cubicBezTo>
                  <a:pt x="733" y="15055"/>
                  <a:pt x="398" y="15007"/>
                  <a:pt x="398" y="14889"/>
                </a:cubicBezTo>
                <a:cubicBezTo>
                  <a:pt x="398" y="14842"/>
                  <a:pt x="565" y="14889"/>
                  <a:pt x="599" y="14924"/>
                </a:cubicBezTo>
                <a:cubicBezTo>
                  <a:pt x="649" y="14984"/>
                  <a:pt x="649" y="15126"/>
                  <a:pt x="749" y="15114"/>
                </a:cubicBezTo>
                <a:cubicBezTo>
                  <a:pt x="850" y="15102"/>
                  <a:pt x="633" y="14913"/>
                  <a:pt x="733" y="14901"/>
                </a:cubicBezTo>
                <a:cubicBezTo>
                  <a:pt x="867" y="14889"/>
                  <a:pt x="933" y="15078"/>
                  <a:pt x="1067" y="15078"/>
                </a:cubicBezTo>
                <a:cubicBezTo>
                  <a:pt x="1168" y="15078"/>
                  <a:pt x="1134" y="14853"/>
                  <a:pt x="1201" y="14901"/>
                </a:cubicBezTo>
                <a:cubicBezTo>
                  <a:pt x="1285" y="14948"/>
                  <a:pt x="1168" y="15055"/>
                  <a:pt x="1168" y="15138"/>
                </a:cubicBezTo>
                <a:cubicBezTo>
                  <a:pt x="1168" y="15150"/>
                  <a:pt x="1134" y="15185"/>
                  <a:pt x="1151" y="15185"/>
                </a:cubicBezTo>
                <a:cubicBezTo>
                  <a:pt x="1251" y="15161"/>
                  <a:pt x="1201" y="15007"/>
                  <a:pt x="1301" y="15007"/>
                </a:cubicBezTo>
                <a:cubicBezTo>
                  <a:pt x="1351" y="15007"/>
                  <a:pt x="1318" y="15090"/>
                  <a:pt x="1368" y="15114"/>
                </a:cubicBezTo>
                <a:cubicBezTo>
                  <a:pt x="1468" y="15150"/>
                  <a:pt x="1636" y="15221"/>
                  <a:pt x="1686" y="15150"/>
                </a:cubicBezTo>
                <a:cubicBezTo>
                  <a:pt x="1719" y="15090"/>
                  <a:pt x="1468" y="15114"/>
                  <a:pt x="1418" y="15067"/>
                </a:cubicBezTo>
                <a:cubicBezTo>
                  <a:pt x="1335" y="14996"/>
                  <a:pt x="1301" y="14913"/>
                  <a:pt x="1301" y="14830"/>
                </a:cubicBezTo>
                <a:cubicBezTo>
                  <a:pt x="1285" y="14723"/>
                  <a:pt x="1535" y="14640"/>
                  <a:pt x="1686" y="14664"/>
                </a:cubicBezTo>
                <a:cubicBezTo>
                  <a:pt x="1753" y="14676"/>
                  <a:pt x="1719" y="14771"/>
                  <a:pt x="1753" y="14818"/>
                </a:cubicBezTo>
                <a:cubicBezTo>
                  <a:pt x="1803" y="14889"/>
                  <a:pt x="1886" y="14936"/>
                  <a:pt x="1920" y="15007"/>
                </a:cubicBezTo>
                <a:cubicBezTo>
                  <a:pt x="1920" y="15031"/>
                  <a:pt x="1836" y="15078"/>
                  <a:pt x="1870" y="15078"/>
                </a:cubicBezTo>
                <a:cubicBezTo>
                  <a:pt x="1920" y="15078"/>
                  <a:pt x="1936" y="15031"/>
                  <a:pt x="1936" y="15007"/>
                </a:cubicBezTo>
                <a:cubicBezTo>
                  <a:pt x="1870" y="14771"/>
                  <a:pt x="1502" y="14617"/>
                  <a:pt x="2087" y="14546"/>
                </a:cubicBezTo>
                <a:cubicBezTo>
                  <a:pt x="2288" y="14522"/>
                  <a:pt x="2321" y="14723"/>
                  <a:pt x="2321" y="14913"/>
                </a:cubicBezTo>
                <a:cubicBezTo>
                  <a:pt x="2338" y="14889"/>
                  <a:pt x="2354" y="14853"/>
                  <a:pt x="2388" y="14842"/>
                </a:cubicBezTo>
                <a:cubicBezTo>
                  <a:pt x="2488" y="14783"/>
                  <a:pt x="2773" y="14913"/>
                  <a:pt x="2739" y="14830"/>
                </a:cubicBezTo>
                <a:cubicBezTo>
                  <a:pt x="2706" y="14735"/>
                  <a:pt x="2471" y="14818"/>
                  <a:pt x="2354" y="14759"/>
                </a:cubicBezTo>
                <a:cubicBezTo>
                  <a:pt x="2271" y="14712"/>
                  <a:pt x="2304" y="14605"/>
                  <a:pt x="2238" y="14546"/>
                </a:cubicBezTo>
                <a:cubicBezTo>
                  <a:pt x="2154" y="14463"/>
                  <a:pt x="1702" y="14356"/>
                  <a:pt x="1636" y="14321"/>
                </a:cubicBezTo>
                <a:cubicBezTo>
                  <a:pt x="1619" y="14309"/>
                  <a:pt x="1686" y="14274"/>
                  <a:pt x="1736" y="14274"/>
                </a:cubicBezTo>
                <a:cubicBezTo>
                  <a:pt x="1803" y="14262"/>
                  <a:pt x="1886" y="14262"/>
                  <a:pt x="1953" y="14285"/>
                </a:cubicBezTo>
                <a:cubicBezTo>
                  <a:pt x="1986" y="14297"/>
                  <a:pt x="1970" y="14356"/>
                  <a:pt x="2003" y="14356"/>
                </a:cubicBezTo>
                <a:cubicBezTo>
                  <a:pt x="2054" y="14368"/>
                  <a:pt x="2254" y="14120"/>
                  <a:pt x="2488" y="14250"/>
                </a:cubicBezTo>
                <a:cubicBezTo>
                  <a:pt x="2555" y="14285"/>
                  <a:pt x="2455" y="14404"/>
                  <a:pt x="2538" y="14427"/>
                </a:cubicBezTo>
                <a:cubicBezTo>
                  <a:pt x="2605" y="14451"/>
                  <a:pt x="2505" y="14297"/>
                  <a:pt x="2572" y="14274"/>
                </a:cubicBezTo>
                <a:cubicBezTo>
                  <a:pt x="2689" y="14226"/>
                  <a:pt x="2940" y="14487"/>
                  <a:pt x="2940" y="14498"/>
                </a:cubicBezTo>
                <a:cubicBezTo>
                  <a:pt x="3040" y="14510"/>
                  <a:pt x="3241" y="14451"/>
                  <a:pt x="3190" y="14392"/>
                </a:cubicBezTo>
                <a:cubicBezTo>
                  <a:pt x="3140" y="14321"/>
                  <a:pt x="2940" y="14439"/>
                  <a:pt x="2856" y="14392"/>
                </a:cubicBezTo>
                <a:cubicBezTo>
                  <a:pt x="2739" y="14321"/>
                  <a:pt x="2973" y="14191"/>
                  <a:pt x="3157" y="14143"/>
                </a:cubicBezTo>
                <a:cubicBezTo>
                  <a:pt x="3023" y="14179"/>
                  <a:pt x="2906" y="14203"/>
                  <a:pt x="2789" y="14203"/>
                </a:cubicBezTo>
                <a:cubicBezTo>
                  <a:pt x="1786" y="14215"/>
                  <a:pt x="2672" y="14132"/>
                  <a:pt x="2639" y="13990"/>
                </a:cubicBezTo>
                <a:cubicBezTo>
                  <a:pt x="2622" y="13895"/>
                  <a:pt x="2404" y="13907"/>
                  <a:pt x="2321" y="13824"/>
                </a:cubicBezTo>
                <a:cubicBezTo>
                  <a:pt x="2204" y="13729"/>
                  <a:pt x="2254" y="13646"/>
                  <a:pt x="2706" y="13682"/>
                </a:cubicBezTo>
                <a:cubicBezTo>
                  <a:pt x="2806" y="13694"/>
                  <a:pt x="2806" y="13824"/>
                  <a:pt x="2906" y="13848"/>
                </a:cubicBezTo>
                <a:cubicBezTo>
                  <a:pt x="2973" y="13860"/>
                  <a:pt x="3023" y="13777"/>
                  <a:pt x="3090" y="13777"/>
                </a:cubicBezTo>
                <a:cubicBezTo>
                  <a:pt x="3190" y="13765"/>
                  <a:pt x="3274" y="13765"/>
                  <a:pt x="3374" y="13777"/>
                </a:cubicBezTo>
                <a:cubicBezTo>
                  <a:pt x="3357" y="13765"/>
                  <a:pt x="3341" y="13741"/>
                  <a:pt x="3324" y="13729"/>
                </a:cubicBezTo>
                <a:cubicBezTo>
                  <a:pt x="3307" y="13658"/>
                  <a:pt x="3441" y="13587"/>
                  <a:pt x="3542" y="13575"/>
                </a:cubicBezTo>
                <a:cubicBezTo>
                  <a:pt x="3592" y="13563"/>
                  <a:pt x="3542" y="13646"/>
                  <a:pt x="3575" y="13682"/>
                </a:cubicBezTo>
                <a:cubicBezTo>
                  <a:pt x="3625" y="13729"/>
                  <a:pt x="3742" y="13729"/>
                  <a:pt x="3775" y="13788"/>
                </a:cubicBezTo>
                <a:cubicBezTo>
                  <a:pt x="3809" y="13836"/>
                  <a:pt x="3709" y="13907"/>
                  <a:pt x="3775" y="13942"/>
                </a:cubicBezTo>
                <a:cubicBezTo>
                  <a:pt x="3859" y="14001"/>
                  <a:pt x="4076" y="14108"/>
                  <a:pt x="4144" y="14025"/>
                </a:cubicBezTo>
                <a:cubicBezTo>
                  <a:pt x="4193" y="13942"/>
                  <a:pt x="3876" y="13907"/>
                  <a:pt x="3859" y="13812"/>
                </a:cubicBezTo>
                <a:cubicBezTo>
                  <a:pt x="3859" y="13753"/>
                  <a:pt x="4043" y="13800"/>
                  <a:pt x="4110" y="13765"/>
                </a:cubicBezTo>
                <a:cubicBezTo>
                  <a:pt x="4144" y="13741"/>
                  <a:pt x="3993" y="13788"/>
                  <a:pt x="3959" y="13765"/>
                </a:cubicBezTo>
                <a:cubicBezTo>
                  <a:pt x="3943" y="13753"/>
                  <a:pt x="4060" y="13706"/>
                  <a:pt x="4026" y="13717"/>
                </a:cubicBezTo>
                <a:cubicBezTo>
                  <a:pt x="3943" y="13729"/>
                  <a:pt x="3876" y="13812"/>
                  <a:pt x="3809" y="13788"/>
                </a:cubicBezTo>
                <a:cubicBezTo>
                  <a:pt x="3692" y="13741"/>
                  <a:pt x="3659" y="13634"/>
                  <a:pt x="3625" y="13552"/>
                </a:cubicBezTo>
                <a:cubicBezTo>
                  <a:pt x="3592" y="13516"/>
                  <a:pt x="3709" y="13587"/>
                  <a:pt x="3759" y="13599"/>
                </a:cubicBezTo>
                <a:cubicBezTo>
                  <a:pt x="3809" y="13623"/>
                  <a:pt x="3592" y="13481"/>
                  <a:pt x="3759" y="13504"/>
                </a:cubicBezTo>
                <a:cubicBezTo>
                  <a:pt x="3775" y="13504"/>
                  <a:pt x="4444" y="13753"/>
                  <a:pt x="4377" y="13433"/>
                </a:cubicBezTo>
                <a:cubicBezTo>
                  <a:pt x="4311" y="13043"/>
                  <a:pt x="3842" y="13777"/>
                  <a:pt x="3943" y="13268"/>
                </a:cubicBezTo>
                <a:cubicBezTo>
                  <a:pt x="3959" y="13161"/>
                  <a:pt x="4361" y="12972"/>
                  <a:pt x="4478" y="13019"/>
                </a:cubicBezTo>
                <a:cubicBezTo>
                  <a:pt x="4578" y="13054"/>
                  <a:pt x="4461" y="13208"/>
                  <a:pt x="4545" y="13279"/>
                </a:cubicBezTo>
                <a:cubicBezTo>
                  <a:pt x="4578" y="13315"/>
                  <a:pt x="4628" y="13220"/>
                  <a:pt x="4678" y="13197"/>
                </a:cubicBezTo>
                <a:cubicBezTo>
                  <a:pt x="4762" y="13173"/>
                  <a:pt x="4996" y="13173"/>
                  <a:pt x="4929" y="13126"/>
                </a:cubicBezTo>
                <a:cubicBezTo>
                  <a:pt x="4879" y="13078"/>
                  <a:pt x="4645" y="13244"/>
                  <a:pt x="4662" y="13173"/>
                </a:cubicBezTo>
                <a:cubicBezTo>
                  <a:pt x="4662" y="13090"/>
                  <a:pt x="4845" y="13067"/>
                  <a:pt x="4929" y="12995"/>
                </a:cubicBezTo>
                <a:cubicBezTo>
                  <a:pt x="5030" y="12924"/>
                  <a:pt x="5030" y="12782"/>
                  <a:pt x="5163" y="12771"/>
                </a:cubicBezTo>
                <a:cubicBezTo>
                  <a:pt x="5264" y="12747"/>
                  <a:pt x="5213" y="12889"/>
                  <a:pt x="5264" y="12948"/>
                </a:cubicBezTo>
                <a:cubicBezTo>
                  <a:pt x="5297" y="12995"/>
                  <a:pt x="5414" y="13019"/>
                  <a:pt x="5414" y="13078"/>
                </a:cubicBezTo>
                <a:cubicBezTo>
                  <a:pt x="5414" y="13149"/>
                  <a:pt x="5264" y="13185"/>
                  <a:pt x="5280" y="13256"/>
                </a:cubicBezTo>
                <a:cubicBezTo>
                  <a:pt x="5297" y="13303"/>
                  <a:pt x="5380" y="13197"/>
                  <a:pt x="5447" y="13208"/>
                </a:cubicBezTo>
                <a:cubicBezTo>
                  <a:pt x="5548" y="13220"/>
                  <a:pt x="5664" y="13398"/>
                  <a:pt x="5715" y="13339"/>
                </a:cubicBezTo>
                <a:cubicBezTo>
                  <a:pt x="5765" y="13244"/>
                  <a:pt x="5514" y="13173"/>
                  <a:pt x="5531" y="13078"/>
                </a:cubicBezTo>
                <a:cubicBezTo>
                  <a:pt x="5531" y="12984"/>
                  <a:pt x="6216" y="13102"/>
                  <a:pt x="6233" y="13102"/>
                </a:cubicBezTo>
                <a:cubicBezTo>
                  <a:pt x="6350" y="13043"/>
                  <a:pt x="6367" y="12912"/>
                  <a:pt x="6350" y="12818"/>
                </a:cubicBezTo>
                <a:cubicBezTo>
                  <a:pt x="6333" y="12771"/>
                  <a:pt x="6133" y="12865"/>
                  <a:pt x="6149" y="12818"/>
                </a:cubicBezTo>
                <a:cubicBezTo>
                  <a:pt x="6200" y="12664"/>
                  <a:pt x="6885" y="12640"/>
                  <a:pt x="6852" y="12522"/>
                </a:cubicBezTo>
                <a:cubicBezTo>
                  <a:pt x="6835" y="12427"/>
                  <a:pt x="6434" y="12427"/>
                  <a:pt x="6517" y="12344"/>
                </a:cubicBezTo>
                <a:cubicBezTo>
                  <a:pt x="6584" y="12262"/>
                  <a:pt x="6885" y="12285"/>
                  <a:pt x="6902" y="12190"/>
                </a:cubicBezTo>
                <a:cubicBezTo>
                  <a:pt x="6952" y="11717"/>
                  <a:pt x="6350" y="12297"/>
                  <a:pt x="6216" y="12380"/>
                </a:cubicBezTo>
                <a:cubicBezTo>
                  <a:pt x="6149" y="12415"/>
                  <a:pt x="5949" y="12451"/>
                  <a:pt x="5999" y="12510"/>
                </a:cubicBezTo>
                <a:cubicBezTo>
                  <a:pt x="6066" y="12593"/>
                  <a:pt x="6267" y="12546"/>
                  <a:pt x="6384" y="12581"/>
                </a:cubicBezTo>
                <a:cubicBezTo>
                  <a:pt x="6400" y="12581"/>
                  <a:pt x="6350" y="12593"/>
                  <a:pt x="6333" y="12605"/>
                </a:cubicBezTo>
                <a:cubicBezTo>
                  <a:pt x="6250" y="12640"/>
                  <a:pt x="6149" y="12664"/>
                  <a:pt x="6066" y="12711"/>
                </a:cubicBezTo>
                <a:cubicBezTo>
                  <a:pt x="5982" y="12759"/>
                  <a:pt x="5564" y="13019"/>
                  <a:pt x="5431" y="12995"/>
                </a:cubicBezTo>
                <a:cubicBezTo>
                  <a:pt x="5347" y="12984"/>
                  <a:pt x="5380" y="12889"/>
                  <a:pt x="5347" y="12842"/>
                </a:cubicBezTo>
                <a:cubicBezTo>
                  <a:pt x="5313" y="12794"/>
                  <a:pt x="5197" y="12759"/>
                  <a:pt x="5230" y="12711"/>
                </a:cubicBezTo>
                <a:cubicBezTo>
                  <a:pt x="5280" y="12628"/>
                  <a:pt x="5447" y="12617"/>
                  <a:pt x="5548" y="12558"/>
                </a:cubicBezTo>
                <a:cubicBezTo>
                  <a:pt x="5564" y="12546"/>
                  <a:pt x="5481" y="12593"/>
                  <a:pt x="5447" y="12581"/>
                </a:cubicBezTo>
                <a:cubicBezTo>
                  <a:pt x="5414" y="12581"/>
                  <a:pt x="5497" y="12522"/>
                  <a:pt x="5481" y="12534"/>
                </a:cubicBezTo>
                <a:cubicBezTo>
                  <a:pt x="5364" y="12569"/>
                  <a:pt x="5180" y="12759"/>
                  <a:pt x="5013" y="12711"/>
                </a:cubicBezTo>
                <a:cubicBezTo>
                  <a:pt x="4762" y="12640"/>
                  <a:pt x="5130" y="12486"/>
                  <a:pt x="5313" y="12404"/>
                </a:cubicBezTo>
                <a:cubicBezTo>
                  <a:pt x="5414" y="12368"/>
                  <a:pt x="5548" y="12368"/>
                  <a:pt x="5615" y="12297"/>
                </a:cubicBezTo>
                <a:cubicBezTo>
                  <a:pt x="5664" y="12262"/>
                  <a:pt x="5464" y="12333"/>
                  <a:pt x="5397" y="12321"/>
                </a:cubicBezTo>
                <a:cubicBezTo>
                  <a:pt x="5364" y="12321"/>
                  <a:pt x="5380" y="12297"/>
                  <a:pt x="5380" y="12273"/>
                </a:cubicBezTo>
                <a:cubicBezTo>
                  <a:pt x="5397" y="12190"/>
                  <a:pt x="5380" y="12108"/>
                  <a:pt x="5447" y="12037"/>
                </a:cubicBezTo>
                <a:cubicBezTo>
                  <a:pt x="5481" y="12001"/>
                  <a:pt x="5581" y="12060"/>
                  <a:pt x="5631" y="12037"/>
                </a:cubicBezTo>
                <a:cubicBezTo>
                  <a:pt x="5664" y="12037"/>
                  <a:pt x="5564" y="12037"/>
                  <a:pt x="5564" y="12013"/>
                </a:cubicBezTo>
                <a:cubicBezTo>
                  <a:pt x="5564" y="11978"/>
                  <a:pt x="5581" y="11942"/>
                  <a:pt x="5598" y="11906"/>
                </a:cubicBezTo>
                <a:cubicBezTo>
                  <a:pt x="5648" y="11871"/>
                  <a:pt x="5765" y="11954"/>
                  <a:pt x="5798" y="11906"/>
                </a:cubicBezTo>
                <a:cubicBezTo>
                  <a:pt x="5832" y="11871"/>
                  <a:pt x="5782" y="11800"/>
                  <a:pt x="5832" y="11753"/>
                </a:cubicBezTo>
                <a:cubicBezTo>
                  <a:pt x="5882" y="11705"/>
                  <a:pt x="6033" y="11717"/>
                  <a:pt x="6066" y="11646"/>
                </a:cubicBezTo>
                <a:cubicBezTo>
                  <a:pt x="6083" y="11599"/>
                  <a:pt x="5848" y="11540"/>
                  <a:pt x="5915" y="11528"/>
                </a:cubicBezTo>
                <a:cubicBezTo>
                  <a:pt x="6033" y="11504"/>
                  <a:pt x="6133" y="11646"/>
                  <a:pt x="6250" y="11622"/>
                </a:cubicBezTo>
                <a:cubicBezTo>
                  <a:pt x="6333" y="11611"/>
                  <a:pt x="6116" y="11551"/>
                  <a:pt x="6066" y="11492"/>
                </a:cubicBezTo>
                <a:cubicBezTo>
                  <a:pt x="5982" y="11409"/>
                  <a:pt x="6233" y="11315"/>
                  <a:pt x="6367" y="11256"/>
                </a:cubicBezTo>
                <a:cubicBezTo>
                  <a:pt x="6500" y="11196"/>
                  <a:pt x="6551" y="11469"/>
                  <a:pt x="6718" y="11516"/>
                </a:cubicBezTo>
                <a:cubicBezTo>
                  <a:pt x="6818" y="11540"/>
                  <a:pt x="6952" y="11516"/>
                  <a:pt x="7019" y="11457"/>
                </a:cubicBezTo>
                <a:cubicBezTo>
                  <a:pt x="7052" y="11421"/>
                  <a:pt x="6785" y="11457"/>
                  <a:pt x="6818" y="11409"/>
                </a:cubicBezTo>
                <a:cubicBezTo>
                  <a:pt x="6868" y="11338"/>
                  <a:pt x="7086" y="11350"/>
                  <a:pt x="7136" y="11279"/>
                </a:cubicBezTo>
                <a:cubicBezTo>
                  <a:pt x="7220" y="11113"/>
                  <a:pt x="6618" y="11551"/>
                  <a:pt x="6768" y="11102"/>
                </a:cubicBezTo>
                <a:cubicBezTo>
                  <a:pt x="6785" y="11031"/>
                  <a:pt x="6818" y="10983"/>
                  <a:pt x="6835" y="10960"/>
                </a:cubicBezTo>
                <a:cubicBezTo>
                  <a:pt x="6768" y="10995"/>
                  <a:pt x="6701" y="11031"/>
                  <a:pt x="6618" y="11054"/>
                </a:cubicBezTo>
                <a:cubicBezTo>
                  <a:pt x="6367" y="11137"/>
                  <a:pt x="7086" y="10829"/>
                  <a:pt x="7036" y="10782"/>
                </a:cubicBezTo>
                <a:cubicBezTo>
                  <a:pt x="7019" y="10759"/>
                  <a:pt x="6985" y="10759"/>
                  <a:pt x="6935" y="10770"/>
                </a:cubicBezTo>
                <a:lnTo>
                  <a:pt x="6935" y="10759"/>
                </a:lnTo>
                <a:cubicBezTo>
                  <a:pt x="6935" y="10735"/>
                  <a:pt x="6818" y="10759"/>
                  <a:pt x="6835" y="10735"/>
                </a:cubicBezTo>
                <a:cubicBezTo>
                  <a:pt x="6885" y="10652"/>
                  <a:pt x="7403" y="10676"/>
                  <a:pt x="7487" y="10652"/>
                </a:cubicBezTo>
                <a:cubicBezTo>
                  <a:pt x="7520" y="10628"/>
                  <a:pt x="7453" y="10569"/>
                  <a:pt x="7487" y="10545"/>
                </a:cubicBezTo>
                <a:cubicBezTo>
                  <a:pt x="7738" y="10380"/>
                  <a:pt x="8072" y="10486"/>
                  <a:pt x="8156" y="10143"/>
                </a:cubicBezTo>
                <a:cubicBezTo>
                  <a:pt x="8156" y="10084"/>
                  <a:pt x="8022" y="10202"/>
                  <a:pt x="7955" y="10226"/>
                </a:cubicBezTo>
                <a:cubicBezTo>
                  <a:pt x="7871" y="10238"/>
                  <a:pt x="7788" y="10226"/>
                  <a:pt x="7704" y="10226"/>
                </a:cubicBezTo>
                <a:cubicBezTo>
                  <a:pt x="7637" y="10238"/>
                  <a:pt x="7520" y="10309"/>
                  <a:pt x="7520" y="10261"/>
                </a:cubicBezTo>
                <a:cubicBezTo>
                  <a:pt x="7554" y="10107"/>
                  <a:pt x="8156" y="10107"/>
                  <a:pt x="7989" y="9906"/>
                </a:cubicBezTo>
                <a:cubicBezTo>
                  <a:pt x="7972" y="9871"/>
                  <a:pt x="7821" y="9894"/>
                  <a:pt x="7704" y="9894"/>
                </a:cubicBezTo>
                <a:cubicBezTo>
                  <a:pt x="7721" y="9918"/>
                  <a:pt x="7755" y="9942"/>
                  <a:pt x="7788" y="9989"/>
                </a:cubicBezTo>
                <a:cubicBezTo>
                  <a:pt x="7704" y="10048"/>
                  <a:pt x="7637" y="10119"/>
                  <a:pt x="7554" y="10178"/>
                </a:cubicBezTo>
                <a:cubicBezTo>
                  <a:pt x="7520" y="10190"/>
                  <a:pt x="7453" y="10261"/>
                  <a:pt x="7437" y="10226"/>
                </a:cubicBezTo>
                <a:cubicBezTo>
                  <a:pt x="7420" y="10167"/>
                  <a:pt x="7420" y="9835"/>
                  <a:pt x="7554" y="9823"/>
                </a:cubicBezTo>
                <a:cubicBezTo>
                  <a:pt x="7554" y="9788"/>
                  <a:pt x="7554" y="9764"/>
                  <a:pt x="7587" y="9717"/>
                </a:cubicBezTo>
                <a:cubicBezTo>
                  <a:pt x="7637" y="9622"/>
                  <a:pt x="7855" y="9670"/>
                  <a:pt x="7972" y="9622"/>
                </a:cubicBezTo>
                <a:cubicBezTo>
                  <a:pt x="8005" y="9610"/>
                  <a:pt x="7888" y="9622"/>
                  <a:pt x="7871" y="9610"/>
                </a:cubicBezTo>
                <a:cubicBezTo>
                  <a:pt x="7821" y="9563"/>
                  <a:pt x="7771" y="9504"/>
                  <a:pt x="7755" y="9457"/>
                </a:cubicBezTo>
                <a:cubicBezTo>
                  <a:pt x="7738" y="9386"/>
                  <a:pt x="7888" y="9113"/>
                  <a:pt x="7989" y="9113"/>
                </a:cubicBezTo>
                <a:cubicBezTo>
                  <a:pt x="8122" y="9101"/>
                  <a:pt x="8189" y="9255"/>
                  <a:pt x="8323" y="9279"/>
                </a:cubicBezTo>
                <a:cubicBezTo>
                  <a:pt x="8373" y="9291"/>
                  <a:pt x="8273" y="9196"/>
                  <a:pt x="8256" y="9149"/>
                </a:cubicBezTo>
                <a:cubicBezTo>
                  <a:pt x="8223" y="9090"/>
                  <a:pt x="8239" y="8983"/>
                  <a:pt x="8156" y="8948"/>
                </a:cubicBezTo>
                <a:cubicBezTo>
                  <a:pt x="8072" y="8912"/>
                  <a:pt x="7921" y="9007"/>
                  <a:pt x="7838" y="8959"/>
                </a:cubicBezTo>
                <a:cubicBezTo>
                  <a:pt x="7571" y="8805"/>
                  <a:pt x="8122" y="8865"/>
                  <a:pt x="8206" y="8841"/>
                </a:cubicBezTo>
                <a:cubicBezTo>
                  <a:pt x="8356" y="8794"/>
                  <a:pt x="8373" y="8640"/>
                  <a:pt x="8607" y="8675"/>
                </a:cubicBezTo>
                <a:cubicBezTo>
                  <a:pt x="8707" y="8699"/>
                  <a:pt x="8758" y="8794"/>
                  <a:pt x="8858" y="8794"/>
                </a:cubicBezTo>
                <a:cubicBezTo>
                  <a:pt x="8941" y="8794"/>
                  <a:pt x="8724" y="8723"/>
                  <a:pt x="8707" y="8675"/>
                </a:cubicBezTo>
                <a:cubicBezTo>
                  <a:pt x="8707" y="8664"/>
                  <a:pt x="8707" y="8664"/>
                  <a:pt x="8707" y="8664"/>
                </a:cubicBezTo>
                <a:cubicBezTo>
                  <a:pt x="8691" y="8664"/>
                  <a:pt x="8674" y="8675"/>
                  <a:pt x="8657" y="8675"/>
                </a:cubicBezTo>
                <a:cubicBezTo>
                  <a:pt x="8624" y="8675"/>
                  <a:pt x="8657" y="8604"/>
                  <a:pt x="8624" y="8592"/>
                </a:cubicBezTo>
                <a:cubicBezTo>
                  <a:pt x="8456" y="8569"/>
                  <a:pt x="8340" y="8782"/>
                  <a:pt x="8156" y="8770"/>
                </a:cubicBezTo>
                <a:cubicBezTo>
                  <a:pt x="7571" y="8711"/>
                  <a:pt x="8473" y="8628"/>
                  <a:pt x="8574" y="8569"/>
                </a:cubicBezTo>
                <a:cubicBezTo>
                  <a:pt x="8607" y="8557"/>
                  <a:pt x="8507" y="8557"/>
                  <a:pt x="8456" y="8557"/>
                </a:cubicBezTo>
                <a:cubicBezTo>
                  <a:pt x="8340" y="8545"/>
                  <a:pt x="8239" y="8581"/>
                  <a:pt x="8122" y="8569"/>
                </a:cubicBezTo>
                <a:cubicBezTo>
                  <a:pt x="7972" y="8545"/>
                  <a:pt x="8022" y="8356"/>
                  <a:pt x="8055" y="8261"/>
                </a:cubicBezTo>
                <a:cubicBezTo>
                  <a:pt x="8172" y="7823"/>
                  <a:pt x="8423" y="8012"/>
                  <a:pt x="8841" y="7894"/>
                </a:cubicBezTo>
                <a:cubicBezTo>
                  <a:pt x="9075" y="7823"/>
                  <a:pt x="8574" y="7705"/>
                  <a:pt x="8507" y="7622"/>
                </a:cubicBezTo>
                <a:cubicBezTo>
                  <a:pt x="8473" y="7575"/>
                  <a:pt x="8657" y="7610"/>
                  <a:pt x="8724" y="7586"/>
                </a:cubicBezTo>
                <a:cubicBezTo>
                  <a:pt x="8791" y="7563"/>
                  <a:pt x="8440" y="7385"/>
                  <a:pt x="8858" y="7480"/>
                </a:cubicBezTo>
                <a:cubicBezTo>
                  <a:pt x="8891" y="7480"/>
                  <a:pt x="8807" y="7527"/>
                  <a:pt x="8807" y="7551"/>
                </a:cubicBezTo>
                <a:cubicBezTo>
                  <a:pt x="8824" y="7717"/>
                  <a:pt x="8908" y="7468"/>
                  <a:pt x="8908" y="7444"/>
                </a:cubicBezTo>
                <a:cubicBezTo>
                  <a:pt x="8908" y="7433"/>
                  <a:pt x="8941" y="7373"/>
                  <a:pt x="8958" y="7397"/>
                </a:cubicBezTo>
                <a:cubicBezTo>
                  <a:pt x="9008" y="7433"/>
                  <a:pt x="8941" y="7539"/>
                  <a:pt x="9025" y="7551"/>
                </a:cubicBezTo>
                <a:cubicBezTo>
                  <a:pt x="9159" y="7563"/>
                  <a:pt x="9343" y="7515"/>
                  <a:pt x="9376" y="7433"/>
                </a:cubicBezTo>
                <a:cubicBezTo>
                  <a:pt x="9426" y="7350"/>
                  <a:pt x="9192" y="7314"/>
                  <a:pt x="9176" y="7231"/>
                </a:cubicBezTo>
                <a:cubicBezTo>
                  <a:pt x="9176" y="7220"/>
                  <a:pt x="9577" y="7054"/>
                  <a:pt x="9710" y="7101"/>
                </a:cubicBezTo>
                <a:cubicBezTo>
                  <a:pt x="9794" y="7125"/>
                  <a:pt x="9627" y="7314"/>
                  <a:pt x="9727" y="7302"/>
                </a:cubicBezTo>
                <a:cubicBezTo>
                  <a:pt x="9827" y="7302"/>
                  <a:pt x="9710" y="7137"/>
                  <a:pt x="9794" y="7101"/>
                </a:cubicBezTo>
                <a:cubicBezTo>
                  <a:pt x="9811" y="7089"/>
                  <a:pt x="9811" y="7089"/>
                  <a:pt x="9827" y="7078"/>
                </a:cubicBezTo>
                <a:cubicBezTo>
                  <a:pt x="9811" y="7066"/>
                  <a:pt x="9794" y="7054"/>
                  <a:pt x="9777" y="7042"/>
                </a:cubicBezTo>
                <a:cubicBezTo>
                  <a:pt x="9727" y="7018"/>
                  <a:pt x="9878" y="6947"/>
                  <a:pt x="9827" y="6936"/>
                </a:cubicBezTo>
                <a:cubicBezTo>
                  <a:pt x="9777" y="6924"/>
                  <a:pt x="9744" y="7007"/>
                  <a:pt x="9677" y="7030"/>
                </a:cubicBezTo>
                <a:cubicBezTo>
                  <a:pt x="9510" y="7078"/>
                  <a:pt x="9309" y="7172"/>
                  <a:pt x="9142" y="7101"/>
                </a:cubicBezTo>
                <a:cubicBezTo>
                  <a:pt x="9075" y="7066"/>
                  <a:pt x="9276" y="6995"/>
                  <a:pt x="9326" y="6936"/>
                </a:cubicBezTo>
                <a:cubicBezTo>
                  <a:pt x="9426" y="6782"/>
                  <a:pt x="9460" y="6426"/>
                  <a:pt x="9710" y="6557"/>
                </a:cubicBezTo>
                <a:cubicBezTo>
                  <a:pt x="9794" y="6604"/>
                  <a:pt x="9460" y="6675"/>
                  <a:pt x="9543" y="6722"/>
                </a:cubicBezTo>
                <a:cubicBezTo>
                  <a:pt x="9610" y="6770"/>
                  <a:pt x="9710" y="6640"/>
                  <a:pt x="9827" y="6628"/>
                </a:cubicBezTo>
                <a:cubicBezTo>
                  <a:pt x="9911" y="6628"/>
                  <a:pt x="9995" y="6651"/>
                  <a:pt x="10061" y="6699"/>
                </a:cubicBezTo>
                <a:cubicBezTo>
                  <a:pt x="10162" y="6770"/>
                  <a:pt x="10346" y="7030"/>
                  <a:pt x="10296" y="6936"/>
                </a:cubicBezTo>
                <a:cubicBezTo>
                  <a:pt x="10262" y="6853"/>
                  <a:pt x="10095" y="6782"/>
                  <a:pt x="10128" y="6687"/>
                </a:cubicBezTo>
                <a:cubicBezTo>
                  <a:pt x="10145" y="6604"/>
                  <a:pt x="10346" y="6592"/>
                  <a:pt x="10412" y="6521"/>
                </a:cubicBezTo>
                <a:cubicBezTo>
                  <a:pt x="10446" y="6486"/>
                  <a:pt x="10312" y="6545"/>
                  <a:pt x="10262" y="6557"/>
                </a:cubicBezTo>
                <a:cubicBezTo>
                  <a:pt x="10011" y="6616"/>
                  <a:pt x="9928" y="6699"/>
                  <a:pt x="9811" y="6474"/>
                </a:cubicBezTo>
                <a:cubicBezTo>
                  <a:pt x="9744" y="6356"/>
                  <a:pt x="9894" y="6426"/>
                  <a:pt x="9911" y="6367"/>
                </a:cubicBezTo>
                <a:cubicBezTo>
                  <a:pt x="9928" y="6356"/>
                  <a:pt x="9861" y="6379"/>
                  <a:pt x="9861" y="6367"/>
                </a:cubicBezTo>
                <a:cubicBezTo>
                  <a:pt x="9811" y="6261"/>
                  <a:pt x="10279" y="6426"/>
                  <a:pt x="10346" y="6367"/>
                </a:cubicBezTo>
                <a:cubicBezTo>
                  <a:pt x="10463" y="6225"/>
                  <a:pt x="9945" y="6107"/>
                  <a:pt x="9911" y="6107"/>
                </a:cubicBezTo>
                <a:cubicBezTo>
                  <a:pt x="9878" y="6107"/>
                  <a:pt x="9945" y="6154"/>
                  <a:pt x="9928" y="6178"/>
                </a:cubicBezTo>
                <a:cubicBezTo>
                  <a:pt x="9878" y="6249"/>
                  <a:pt x="9594" y="6497"/>
                  <a:pt x="9493" y="6462"/>
                </a:cubicBezTo>
                <a:cubicBezTo>
                  <a:pt x="9376" y="6426"/>
                  <a:pt x="9359" y="6296"/>
                  <a:pt x="9409" y="6213"/>
                </a:cubicBezTo>
                <a:cubicBezTo>
                  <a:pt x="9443" y="6142"/>
                  <a:pt x="9610" y="6190"/>
                  <a:pt x="9677" y="6142"/>
                </a:cubicBezTo>
                <a:cubicBezTo>
                  <a:pt x="9727" y="6107"/>
                  <a:pt x="9527" y="6190"/>
                  <a:pt x="9493" y="6154"/>
                </a:cubicBezTo>
                <a:cubicBezTo>
                  <a:pt x="9426" y="6083"/>
                  <a:pt x="9710" y="6036"/>
                  <a:pt x="9794" y="6083"/>
                </a:cubicBezTo>
                <a:cubicBezTo>
                  <a:pt x="9827" y="6095"/>
                  <a:pt x="9761" y="6154"/>
                  <a:pt x="9777" y="6142"/>
                </a:cubicBezTo>
                <a:cubicBezTo>
                  <a:pt x="10045" y="5953"/>
                  <a:pt x="10479" y="6072"/>
                  <a:pt x="10446" y="5811"/>
                </a:cubicBezTo>
                <a:cubicBezTo>
                  <a:pt x="10446" y="5776"/>
                  <a:pt x="10346" y="5847"/>
                  <a:pt x="10296" y="5823"/>
                </a:cubicBezTo>
                <a:cubicBezTo>
                  <a:pt x="10262" y="5811"/>
                  <a:pt x="10312" y="5764"/>
                  <a:pt x="10279" y="5752"/>
                </a:cubicBezTo>
                <a:cubicBezTo>
                  <a:pt x="10262" y="5740"/>
                  <a:pt x="10262" y="5799"/>
                  <a:pt x="10245" y="5799"/>
                </a:cubicBezTo>
                <a:cubicBezTo>
                  <a:pt x="10179" y="5823"/>
                  <a:pt x="10128" y="5811"/>
                  <a:pt x="10078" y="5811"/>
                </a:cubicBezTo>
                <a:cubicBezTo>
                  <a:pt x="9978" y="5823"/>
                  <a:pt x="9844" y="5882"/>
                  <a:pt x="9811" y="5823"/>
                </a:cubicBezTo>
                <a:cubicBezTo>
                  <a:pt x="9594" y="5515"/>
                  <a:pt x="10245" y="5728"/>
                  <a:pt x="10262" y="5728"/>
                </a:cubicBezTo>
                <a:cubicBezTo>
                  <a:pt x="10362" y="5669"/>
                  <a:pt x="10279" y="5539"/>
                  <a:pt x="10329" y="5456"/>
                </a:cubicBezTo>
                <a:cubicBezTo>
                  <a:pt x="10346" y="5420"/>
                  <a:pt x="10379" y="5539"/>
                  <a:pt x="10396" y="5586"/>
                </a:cubicBezTo>
                <a:cubicBezTo>
                  <a:pt x="10412" y="5598"/>
                  <a:pt x="10463" y="5574"/>
                  <a:pt x="10463" y="5586"/>
                </a:cubicBezTo>
                <a:cubicBezTo>
                  <a:pt x="10463" y="5657"/>
                  <a:pt x="10396" y="5728"/>
                  <a:pt x="10429" y="5788"/>
                </a:cubicBezTo>
                <a:cubicBezTo>
                  <a:pt x="10429" y="5811"/>
                  <a:pt x="10797" y="6190"/>
                  <a:pt x="10881" y="6119"/>
                </a:cubicBezTo>
                <a:cubicBezTo>
                  <a:pt x="11081" y="5953"/>
                  <a:pt x="10245" y="5432"/>
                  <a:pt x="10496" y="5350"/>
                </a:cubicBezTo>
                <a:cubicBezTo>
                  <a:pt x="10579" y="5314"/>
                  <a:pt x="10747" y="5409"/>
                  <a:pt x="10881" y="5492"/>
                </a:cubicBezTo>
                <a:cubicBezTo>
                  <a:pt x="10864" y="5456"/>
                  <a:pt x="10864" y="5420"/>
                  <a:pt x="10831" y="5397"/>
                </a:cubicBezTo>
                <a:cubicBezTo>
                  <a:pt x="10747" y="5350"/>
                  <a:pt x="10496" y="5373"/>
                  <a:pt x="10530" y="5290"/>
                </a:cubicBezTo>
                <a:cubicBezTo>
                  <a:pt x="10547" y="5196"/>
                  <a:pt x="10764" y="5207"/>
                  <a:pt x="10897" y="5196"/>
                </a:cubicBezTo>
                <a:cubicBezTo>
                  <a:pt x="11616" y="5113"/>
                  <a:pt x="11014" y="5361"/>
                  <a:pt x="11466" y="5515"/>
                </a:cubicBezTo>
                <a:cubicBezTo>
                  <a:pt x="11784" y="5622"/>
                  <a:pt x="11098" y="5148"/>
                  <a:pt x="11399" y="5148"/>
                </a:cubicBezTo>
                <a:cubicBezTo>
                  <a:pt x="11482" y="5148"/>
                  <a:pt x="11533" y="5219"/>
                  <a:pt x="11600" y="5219"/>
                </a:cubicBezTo>
                <a:cubicBezTo>
                  <a:pt x="11700" y="5207"/>
                  <a:pt x="11850" y="5207"/>
                  <a:pt x="11834" y="5148"/>
                </a:cubicBezTo>
                <a:cubicBezTo>
                  <a:pt x="11733" y="4651"/>
                  <a:pt x="11315" y="5148"/>
                  <a:pt x="11148" y="5125"/>
                </a:cubicBezTo>
                <a:cubicBezTo>
                  <a:pt x="11115" y="5113"/>
                  <a:pt x="11215" y="5089"/>
                  <a:pt x="11198" y="5065"/>
                </a:cubicBezTo>
                <a:cubicBezTo>
                  <a:pt x="11198" y="5042"/>
                  <a:pt x="11148" y="5006"/>
                  <a:pt x="11115" y="5018"/>
                </a:cubicBezTo>
                <a:cubicBezTo>
                  <a:pt x="11065" y="5030"/>
                  <a:pt x="11065" y="5101"/>
                  <a:pt x="10998" y="5101"/>
                </a:cubicBezTo>
                <a:cubicBezTo>
                  <a:pt x="10897" y="5113"/>
                  <a:pt x="10730" y="5125"/>
                  <a:pt x="10680" y="5054"/>
                </a:cubicBezTo>
                <a:cubicBezTo>
                  <a:pt x="10647" y="5006"/>
                  <a:pt x="10663" y="4947"/>
                  <a:pt x="10697" y="4900"/>
                </a:cubicBezTo>
                <a:cubicBezTo>
                  <a:pt x="10613" y="4912"/>
                  <a:pt x="10513" y="4924"/>
                  <a:pt x="10463" y="4959"/>
                </a:cubicBezTo>
                <a:cubicBezTo>
                  <a:pt x="10379" y="5018"/>
                  <a:pt x="10463" y="5172"/>
                  <a:pt x="10362" y="5219"/>
                </a:cubicBezTo>
                <a:cubicBezTo>
                  <a:pt x="10296" y="5255"/>
                  <a:pt x="10362" y="5077"/>
                  <a:pt x="10296" y="5042"/>
                </a:cubicBezTo>
                <a:cubicBezTo>
                  <a:pt x="10212" y="5006"/>
                  <a:pt x="10112" y="5018"/>
                  <a:pt x="10028" y="5030"/>
                </a:cubicBezTo>
                <a:cubicBezTo>
                  <a:pt x="9961" y="5042"/>
                  <a:pt x="9995" y="5136"/>
                  <a:pt x="9945" y="5172"/>
                </a:cubicBezTo>
                <a:cubicBezTo>
                  <a:pt x="9894" y="5207"/>
                  <a:pt x="9827" y="5243"/>
                  <a:pt x="9777" y="5279"/>
                </a:cubicBezTo>
                <a:cubicBezTo>
                  <a:pt x="9710" y="5326"/>
                  <a:pt x="9660" y="5373"/>
                  <a:pt x="9610" y="5420"/>
                </a:cubicBezTo>
                <a:cubicBezTo>
                  <a:pt x="9610" y="5397"/>
                  <a:pt x="9610" y="5385"/>
                  <a:pt x="9610" y="5373"/>
                </a:cubicBezTo>
                <a:cubicBezTo>
                  <a:pt x="9660" y="5290"/>
                  <a:pt x="9761" y="5207"/>
                  <a:pt x="9777" y="5125"/>
                </a:cubicBezTo>
                <a:cubicBezTo>
                  <a:pt x="9794" y="5077"/>
                  <a:pt x="9710" y="5018"/>
                  <a:pt x="9744" y="4971"/>
                </a:cubicBezTo>
                <a:cubicBezTo>
                  <a:pt x="9827" y="4912"/>
                  <a:pt x="9995" y="4935"/>
                  <a:pt x="10078" y="4876"/>
                </a:cubicBezTo>
                <a:cubicBezTo>
                  <a:pt x="10429" y="4639"/>
                  <a:pt x="9527" y="4710"/>
                  <a:pt x="10011" y="4344"/>
                </a:cubicBezTo>
                <a:cubicBezTo>
                  <a:pt x="10362" y="4059"/>
                  <a:pt x="10296" y="4592"/>
                  <a:pt x="10212" y="4852"/>
                </a:cubicBezTo>
                <a:cubicBezTo>
                  <a:pt x="10245" y="4805"/>
                  <a:pt x="10296" y="4770"/>
                  <a:pt x="10346" y="4758"/>
                </a:cubicBezTo>
                <a:cubicBezTo>
                  <a:pt x="10379" y="4746"/>
                  <a:pt x="10412" y="4829"/>
                  <a:pt x="10429" y="4805"/>
                </a:cubicBezTo>
                <a:cubicBezTo>
                  <a:pt x="10479" y="4746"/>
                  <a:pt x="10396" y="4178"/>
                  <a:pt x="10680" y="4450"/>
                </a:cubicBezTo>
                <a:cubicBezTo>
                  <a:pt x="10831" y="4592"/>
                  <a:pt x="10881" y="4698"/>
                  <a:pt x="10881" y="4758"/>
                </a:cubicBezTo>
                <a:cubicBezTo>
                  <a:pt x="10948" y="4734"/>
                  <a:pt x="10998" y="4710"/>
                  <a:pt x="11048" y="4710"/>
                </a:cubicBezTo>
                <a:cubicBezTo>
                  <a:pt x="11115" y="4710"/>
                  <a:pt x="11148" y="4805"/>
                  <a:pt x="11215" y="4805"/>
                </a:cubicBezTo>
                <a:cubicBezTo>
                  <a:pt x="11349" y="4817"/>
                  <a:pt x="11499" y="4793"/>
                  <a:pt x="11616" y="4746"/>
                </a:cubicBezTo>
                <a:cubicBezTo>
                  <a:pt x="11784" y="4675"/>
                  <a:pt x="11265" y="4770"/>
                  <a:pt x="11232" y="4616"/>
                </a:cubicBezTo>
                <a:cubicBezTo>
                  <a:pt x="11232" y="4568"/>
                  <a:pt x="11315" y="4509"/>
                  <a:pt x="11399" y="4509"/>
                </a:cubicBezTo>
                <a:cubicBezTo>
                  <a:pt x="11399" y="4509"/>
                  <a:pt x="11416" y="4509"/>
                  <a:pt x="11433" y="4509"/>
                </a:cubicBezTo>
                <a:cubicBezTo>
                  <a:pt x="11416" y="4497"/>
                  <a:pt x="11399" y="4497"/>
                  <a:pt x="11399" y="4474"/>
                </a:cubicBezTo>
                <a:cubicBezTo>
                  <a:pt x="11399" y="4403"/>
                  <a:pt x="11600" y="4426"/>
                  <a:pt x="11683" y="4379"/>
                </a:cubicBezTo>
                <a:cubicBezTo>
                  <a:pt x="11700" y="4367"/>
                  <a:pt x="11616" y="4367"/>
                  <a:pt x="11600" y="4355"/>
                </a:cubicBezTo>
                <a:cubicBezTo>
                  <a:pt x="11482" y="4296"/>
                  <a:pt x="11433" y="4166"/>
                  <a:pt x="11466" y="4059"/>
                </a:cubicBezTo>
                <a:cubicBezTo>
                  <a:pt x="11482" y="3965"/>
                  <a:pt x="11817" y="4048"/>
                  <a:pt x="11850" y="3953"/>
                </a:cubicBezTo>
                <a:cubicBezTo>
                  <a:pt x="11884" y="3882"/>
                  <a:pt x="11800" y="3811"/>
                  <a:pt x="11767" y="3740"/>
                </a:cubicBezTo>
                <a:cubicBezTo>
                  <a:pt x="11767" y="3823"/>
                  <a:pt x="11750" y="3870"/>
                  <a:pt x="11733" y="3882"/>
                </a:cubicBezTo>
                <a:cubicBezTo>
                  <a:pt x="11616" y="3882"/>
                  <a:pt x="11499" y="3811"/>
                  <a:pt x="11399" y="3858"/>
                </a:cubicBezTo>
                <a:cubicBezTo>
                  <a:pt x="11232" y="3906"/>
                  <a:pt x="11198" y="4059"/>
                  <a:pt x="11098" y="4166"/>
                </a:cubicBezTo>
                <a:cubicBezTo>
                  <a:pt x="11014" y="4130"/>
                  <a:pt x="10864" y="4130"/>
                  <a:pt x="10864" y="4071"/>
                </a:cubicBezTo>
                <a:cubicBezTo>
                  <a:pt x="10897" y="3977"/>
                  <a:pt x="11115" y="3965"/>
                  <a:pt x="11148" y="3870"/>
                </a:cubicBezTo>
                <a:cubicBezTo>
                  <a:pt x="11182" y="3823"/>
                  <a:pt x="10964" y="3929"/>
                  <a:pt x="10948" y="3882"/>
                </a:cubicBezTo>
                <a:cubicBezTo>
                  <a:pt x="10914" y="3811"/>
                  <a:pt x="11098" y="3752"/>
                  <a:pt x="11081" y="3669"/>
                </a:cubicBezTo>
                <a:cubicBezTo>
                  <a:pt x="11081" y="3621"/>
                  <a:pt x="10847" y="3681"/>
                  <a:pt x="10897" y="3657"/>
                </a:cubicBezTo>
                <a:cubicBezTo>
                  <a:pt x="11131" y="3574"/>
                  <a:pt x="11516" y="3645"/>
                  <a:pt x="11349" y="3491"/>
                </a:cubicBezTo>
                <a:cubicBezTo>
                  <a:pt x="11282" y="3444"/>
                  <a:pt x="11031" y="3468"/>
                  <a:pt x="11098" y="3432"/>
                </a:cubicBezTo>
                <a:cubicBezTo>
                  <a:pt x="11182" y="3396"/>
                  <a:pt x="11315" y="3503"/>
                  <a:pt x="11416" y="3468"/>
                </a:cubicBezTo>
                <a:cubicBezTo>
                  <a:pt x="11516" y="3420"/>
                  <a:pt x="11466" y="3266"/>
                  <a:pt x="11566" y="3243"/>
                </a:cubicBezTo>
                <a:cubicBezTo>
                  <a:pt x="11733" y="3207"/>
                  <a:pt x="11767" y="3432"/>
                  <a:pt x="11784" y="3621"/>
                </a:cubicBezTo>
                <a:cubicBezTo>
                  <a:pt x="11784" y="3550"/>
                  <a:pt x="11817" y="3491"/>
                  <a:pt x="11850" y="3432"/>
                </a:cubicBezTo>
                <a:cubicBezTo>
                  <a:pt x="11934" y="3337"/>
                  <a:pt x="11967" y="3669"/>
                  <a:pt x="12084" y="3716"/>
                </a:cubicBezTo>
                <a:cubicBezTo>
                  <a:pt x="12201" y="3763"/>
                  <a:pt x="12352" y="3716"/>
                  <a:pt x="12469" y="3681"/>
                </a:cubicBezTo>
                <a:cubicBezTo>
                  <a:pt x="12486" y="3681"/>
                  <a:pt x="11967" y="3550"/>
                  <a:pt x="12001" y="3468"/>
                </a:cubicBezTo>
                <a:cubicBezTo>
                  <a:pt x="12034" y="3385"/>
                  <a:pt x="12151" y="3278"/>
                  <a:pt x="12269" y="3290"/>
                </a:cubicBezTo>
                <a:cubicBezTo>
                  <a:pt x="12385" y="3290"/>
                  <a:pt x="12369" y="3444"/>
                  <a:pt x="12452" y="3503"/>
                </a:cubicBezTo>
                <a:cubicBezTo>
                  <a:pt x="12536" y="3562"/>
                  <a:pt x="12653" y="3550"/>
                  <a:pt x="12753" y="3610"/>
                </a:cubicBezTo>
                <a:cubicBezTo>
                  <a:pt x="12803" y="3645"/>
                  <a:pt x="12854" y="3799"/>
                  <a:pt x="12887" y="3752"/>
                </a:cubicBezTo>
                <a:cubicBezTo>
                  <a:pt x="13021" y="3468"/>
                  <a:pt x="12034" y="3539"/>
                  <a:pt x="12402" y="2982"/>
                </a:cubicBezTo>
                <a:cubicBezTo>
                  <a:pt x="12469" y="2888"/>
                  <a:pt x="12753" y="2769"/>
                  <a:pt x="12887" y="2840"/>
                </a:cubicBezTo>
                <a:cubicBezTo>
                  <a:pt x="13004" y="2888"/>
                  <a:pt x="12854" y="3444"/>
                  <a:pt x="12854" y="3468"/>
                </a:cubicBezTo>
                <a:cubicBezTo>
                  <a:pt x="12887" y="3491"/>
                  <a:pt x="12937" y="3432"/>
                  <a:pt x="12954" y="3396"/>
                </a:cubicBezTo>
                <a:cubicBezTo>
                  <a:pt x="12970" y="3325"/>
                  <a:pt x="12887" y="3231"/>
                  <a:pt x="12954" y="3172"/>
                </a:cubicBezTo>
                <a:cubicBezTo>
                  <a:pt x="13004" y="3113"/>
                  <a:pt x="13221" y="3207"/>
                  <a:pt x="13238" y="3136"/>
                </a:cubicBezTo>
                <a:cubicBezTo>
                  <a:pt x="13238" y="3065"/>
                  <a:pt x="13004" y="3077"/>
                  <a:pt x="12970" y="3006"/>
                </a:cubicBezTo>
                <a:cubicBezTo>
                  <a:pt x="12937" y="2947"/>
                  <a:pt x="13104" y="2438"/>
                  <a:pt x="13355" y="2651"/>
                </a:cubicBezTo>
                <a:cubicBezTo>
                  <a:pt x="13422" y="2722"/>
                  <a:pt x="13355" y="3385"/>
                  <a:pt x="13355" y="3408"/>
                </a:cubicBezTo>
                <a:cubicBezTo>
                  <a:pt x="13322" y="3491"/>
                  <a:pt x="13104" y="3633"/>
                  <a:pt x="13221" y="3657"/>
                </a:cubicBezTo>
                <a:cubicBezTo>
                  <a:pt x="13522" y="3728"/>
                  <a:pt x="13372" y="3314"/>
                  <a:pt x="13472" y="3266"/>
                </a:cubicBezTo>
                <a:cubicBezTo>
                  <a:pt x="13572" y="3219"/>
                  <a:pt x="13723" y="3266"/>
                  <a:pt x="13823" y="3231"/>
                </a:cubicBezTo>
                <a:cubicBezTo>
                  <a:pt x="13873" y="3207"/>
                  <a:pt x="13740" y="3184"/>
                  <a:pt x="13706" y="3160"/>
                </a:cubicBezTo>
                <a:cubicBezTo>
                  <a:pt x="13589" y="3089"/>
                  <a:pt x="13338" y="2994"/>
                  <a:pt x="13439" y="2829"/>
                </a:cubicBezTo>
                <a:cubicBezTo>
                  <a:pt x="13873" y="2142"/>
                  <a:pt x="13439" y="2923"/>
                  <a:pt x="13940" y="2686"/>
                </a:cubicBezTo>
                <a:cubicBezTo>
                  <a:pt x="14074" y="2627"/>
                  <a:pt x="13940" y="2450"/>
                  <a:pt x="14041" y="2367"/>
                </a:cubicBezTo>
                <a:cubicBezTo>
                  <a:pt x="14074" y="2343"/>
                  <a:pt x="14124" y="2379"/>
                  <a:pt x="14157" y="2402"/>
                </a:cubicBezTo>
                <a:cubicBezTo>
                  <a:pt x="14191" y="2426"/>
                  <a:pt x="14174" y="2473"/>
                  <a:pt x="14208" y="2497"/>
                </a:cubicBezTo>
                <a:cubicBezTo>
                  <a:pt x="14291" y="2545"/>
                  <a:pt x="14392" y="2556"/>
                  <a:pt x="14475" y="2604"/>
                </a:cubicBezTo>
                <a:cubicBezTo>
                  <a:pt x="14542" y="2639"/>
                  <a:pt x="14592" y="2710"/>
                  <a:pt x="14676" y="2734"/>
                </a:cubicBezTo>
                <a:cubicBezTo>
                  <a:pt x="14759" y="2746"/>
                  <a:pt x="14525" y="2651"/>
                  <a:pt x="14492" y="2592"/>
                </a:cubicBezTo>
                <a:cubicBezTo>
                  <a:pt x="14492" y="2580"/>
                  <a:pt x="14559" y="2580"/>
                  <a:pt x="14559" y="2556"/>
                </a:cubicBezTo>
                <a:cubicBezTo>
                  <a:pt x="14592" y="2391"/>
                  <a:pt x="14542" y="2142"/>
                  <a:pt x="14508" y="2154"/>
                </a:cubicBezTo>
                <a:cubicBezTo>
                  <a:pt x="14425" y="2154"/>
                  <a:pt x="13940" y="2450"/>
                  <a:pt x="13806" y="2107"/>
                </a:cubicBezTo>
                <a:cubicBezTo>
                  <a:pt x="13740" y="1917"/>
                  <a:pt x="14225" y="1834"/>
                  <a:pt x="14358" y="1858"/>
                </a:cubicBezTo>
                <a:cubicBezTo>
                  <a:pt x="14475" y="1870"/>
                  <a:pt x="14542" y="1976"/>
                  <a:pt x="14659" y="2000"/>
                </a:cubicBezTo>
                <a:cubicBezTo>
                  <a:pt x="14693" y="2000"/>
                  <a:pt x="14643" y="1929"/>
                  <a:pt x="14676" y="1917"/>
                </a:cubicBezTo>
                <a:cubicBezTo>
                  <a:pt x="14709" y="1893"/>
                  <a:pt x="14776" y="1917"/>
                  <a:pt x="14809" y="1929"/>
                </a:cubicBezTo>
                <a:cubicBezTo>
                  <a:pt x="14910" y="1929"/>
                  <a:pt x="15027" y="1917"/>
                  <a:pt x="15111" y="1941"/>
                </a:cubicBezTo>
                <a:cubicBezTo>
                  <a:pt x="15328" y="1988"/>
                  <a:pt x="15044" y="2331"/>
                  <a:pt x="15495" y="2308"/>
                </a:cubicBezTo>
                <a:cubicBezTo>
                  <a:pt x="15578" y="2296"/>
                  <a:pt x="15629" y="2213"/>
                  <a:pt x="15612" y="2154"/>
                </a:cubicBezTo>
                <a:cubicBezTo>
                  <a:pt x="15612" y="2118"/>
                  <a:pt x="15512" y="2166"/>
                  <a:pt x="15461" y="2154"/>
                </a:cubicBezTo>
                <a:cubicBezTo>
                  <a:pt x="15411" y="2142"/>
                  <a:pt x="15328" y="2130"/>
                  <a:pt x="15328" y="2095"/>
                </a:cubicBezTo>
                <a:cubicBezTo>
                  <a:pt x="15328" y="2047"/>
                  <a:pt x="15528" y="2071"/>
                  <a:pt x="15461" y="1988"/>
                </a:cubicBezTo>
                <a:cubicBezTo>
                  <a:pt x="15394" y="1917"/>
                  <a:pt x="15378" y="1846"/>
                  <a:pt x="15445" y="1621"/>
                </a:cubicBezTo>
                <a:cubicBezTo>
                  <a:pt x="15445" y="1609"/>
                  <a:pt x="15445" y="1609"/>
                  <a:pt x="15445" y="1598"/>
                </a:cubicBezTo>
                <a:cubicBezTo>
                  <a:pt x="15411" y="1645"/>
                  <a:pt x="15361" y="1692"/>
                  <a:pt x="15311" y="1751"/>
                </a:cubicBezTo>
                <a:cubicBezTo>
                  <a:pt x="15227" y="1692"/>
                  <a:pt x="15077" y="1657"/>
                  <a:pt x="15044" y="1586"/>
                </a:cubicBezTo>
                <a:cubicBezTo>
                  <a:pt x="14960" y="1373"/>
                  <a:pt x="15963" y="864"/>
                  <a:pt x="15578" y="1432"/>
                </a:cubicBezTo>
                <a:cubicBezTo>
                  <a:pt x="15729" y="1337"/>
                  <a:pt x="15946" y="1444"/>
                  <a:pt x="15997" y="1408"/>
                </a:cubicBezTo>
                <a:cubicBezTo>
                  <a:pt x="16080" y="1373"/>
                  <a:pt x="15812" y="1373"/>
                  <a:pt x="15779" y="1313"/>
                </a:cubicBezTo>
                <a:cubicBezTo>
                  <a:pt x="15662" y="1112"/>
                  <a:pt x="16164" y="1148"/>
                  <a:pt x="16197" y="1112"/>
                </a:cubicBezTo>
                <a:cubicBezTo>
                  <a:pt x="16264" y="1006"/>
                  <a:pt x="15746" y="876"/>
                  <a:pt x="15746" y="840"/>
                </a:cubicBezTo>
                <a:cubicBezTo>
                  <a:pt x="15763" y="769"/>
                  <a:pt x="15997" y="935"/>
                  <a:pt x="16030" y="876"/>
                </a:cubicBezTo>
                <a:cubicBezTo>
                  <a:pt x="16097" y="793"/>
                  <a:pt x="15879" y="698"/>
                  <a:pt x="15913" y="603"/>
                </a:cubicBezTo>
                <a:cubicBezTo>
                  <a:pt x="15963" y="509"/>
                  <a:pt x="16882" y="568"/>
                  <a:pt x="16899" y="603"/>
                </a:cubicBezTo>
                <a:cubicBezTo>
                  <a:pt x="16933" y="639"/>
                  <a:pt x="16481" y="1219"/>
                  <a:pt x="16498" y="1254"/>
                </a:cubicBezTo>
                <a:cubicBezTo>
                  <a:pt x="16498" y="1266"/>
                  <a:pt x="16515" y="1266"/>
                  <a:pt x="16531" y="1266"/>
                </a:cubicBezTo>
                <a:cubicBezTo>
                  <a:pt x="16498" y="1266"/>
                  <a:pt x="16481" y="1266"/>
                  <a:pt x="16481" y="1278"/>
                </a:cubicBezTo>
                <a:cubicBezTo>
                  <a:pt x="16515" y="1313"/>
                  <a:pt x="16615" y="1254"/>
                  <a:pt x="16665" y="1278"/>
                </a:cubicBezTo>
                <a:cubicBezTo>
                  <a:pt x="16882" y="1384"/>
                  <a:pt x="16381" y="1432"/>
                  <a:pt x="16665" y="1491"/>
                </a:cubicBezTo>
                <a:cubicBezTo>
                  <a:pt x="16765" y="1515"/>
                  <a:pt x="16599" y="1621"/>
                  <a:pt x="16581" y="1692"/>
                </a:cubicBezTo>
                <a:cubicBezTo>
                  <a:pt x="16581" y="1716"/>
                  <a:pt x="16548" y="2059"/>
                  <a:pt x="16832" y="1858"/>
                </a:cubicBezTo>
                <a:cubicBezTo>
                  <a:pt x="16882" y="1822"/>
                  <a:pt x="16832" y="1751"/>
                  <a:pt x="16849" y="1704"/>
                </a:cubicBezTo>
                <a:cubicBezTo>
                  <a:pt x="16866" y="1633"/>
                  <a:pt x="16916" y="1586"/>
                  <a:pt x="16950" y="1527"/>
                </a:cubicBezTo>
                <a:cubicBezTo>
                  <a:pt x="16983" y="1456"/>
                  <a:pt x="16799" y="1538"/>
                  <a:pt x="16849" y="1432"/>
                </a:cubicBezTo>
                <a:cubicBezTo>
                  <a:pt x="16950" y="1231"/>
                  <a:pt x="17217" y="450"/>
                  <a:pt x="17401" y="379"/>
                </a:cubicBezTo>
                <a:cubicBezTo>
                  <a:pt x="17401" y="379"/>
                  <a:pt x="17518" y="686"/>
                  <a:pt x="17518" y="710"/>
                </a:cubicBezTo>
                <a:cubicBezTo>
                  <a:pt x="17484" y="781"/>
                  <a:pt x="17317" y="816"/>
                  <a:pt x="17334" y="899"/>
                </a:cubicBezTo>
                <a:cubicBezTo>
                  <a:pt x="17351" y="947"/>
                  <a:pt x="17501" y="816"/>
                  <a:pt x="17551" y="864"/>
                </a:cubicBezTo>
                <a:cubicBezTo>
                  <a:pt x="17618" y="923"/>
                  <a:pt x="17484" y="1077"/>
                  <a:pt x="17585" y="1112"/>
                </a:cubicBezTo>
                <a:cubicBezTo>
                  <a:pt x="17702" y="1171"/>
                  <a:pt x="17869" y="1112"/>
                  <a:pt x="17969" y="1053"/>
                </a:cubicBezTo>
                <a:cubicBezTo>
                  <a:pt x="18036" y="1006"/>
                  <a:pt x="17819" y="970"/>
                  <a:pt x="17819" y="911"/>
                </a:cubicBezTo>
                <a:cubicBezTo>
                  <a:pt x="17819" y="828"/>
                  <a:pt x="17769" y="722"/>
                  <a:pt x="17835" y="651"/>
                </a:cubicBezTo>
                <a:cubicBezTo>
                  <a:pt x="17886" y="568"/>
                  <a:pt x="18053" y="556"/>
                  <a:pt x="18136" y="485"/>
                </a:cubicBezTo>
                <a:cubicBezTo>
                  <a:pt x="18170" y="461"/>
                  <a:pt x="18053" y="485"/>
                  <a:pt x="18019" y="473"/>
                </a:cubicBezTo>
                <a:cubicBezTo>
                  <a:pt x="17902" y="438"/>
                  <a:pt x="17702" y="414"/>
                  <a:pt x="17702" y="319"/>
                </a:cubicBezTo>
                <a:cubicBezTo>
                  <a:pt x="17685" y="248"/>
                  <a:pt x="17953" y="331"/>
                  <a:pt x="18003" y="272"/>
                </a:cubicBezTo>
                <a:cubicBezTo>
                  <a:pt x="18069" y="189"/>
                  <a:pt x="17919" y="94"/>
                  <a:pt x="17953" y="12"/>
                </a:cubicBezTo>
                <a:cubicBezTo>
                  <a:pt x="17969" y="-47"/>
                  <a:pt x="18086" y="130"/>
                  <a:pt x="18170" y="94"/>
                </a:cubicBezTo>
                <a:cubicBezTo>
                  <a:pt x="18304" y="59"/>
                  <a:pt x="18404" y="-24"/>
                  <a:pt x="18671" y="106"/>
                </a:cubicBezTo>
                <a:cubicBezTo>
                  <a:pt x="18872" y="201"/>
                  <a:pt x="18320" y="710"/>
                  <a:pt x="18270" y="781"/>
                </a:cubicBezTo>
                <a:cubicBezTo>
                  <a:pt x="18253" y="805"/>
                  <a:pt x="18371" y="745"/>
                  <a:pt x="18387" y="722"/>
                </a:cubicBezTo>
                <a:cubicBezTo>
                  <a:pt x="18488" y="662"/>
                  <a:pt x="18537" y="533"/>
                  <a:pt x="18655" y="509"/>
                </a:cubicBezTo>
                <a:cubicBezTo>
                  <a:pt x="18738" y="497"/>
                  <a:pt x="18688" y="615"/>
                  <a:pt x="18671" y="674"/>
                </a:cubicBezTo>
                <a:cubicBezTo>
                  <a:pt x="18621" y="757"/>
                  <a:pt x="18420" y="840"/>
                  <a:pt x="18488" y="923"/>
                </a:cubicBezTo>
                <a:cubicBezTo>
                  <a:pt x="18554" y="994"/>
                  <a:pt x="18722" y="781"/>
                  <a:pt x="18822" y="828"/>
                </a:cubicBezTo>
                <a:cubicBezTo>
                  <a:pt x="18838" y="840"/>
                  <a:pt x="18855" y="852"/>
                  <a:pt x="18855" y="864"/>
                </a:cubicBezTo>
                <a:cubicBezTo>
                  <a:pt x="18889" y="852"/>
                  <a:pt x="18956" y="887"/>
                  <a:pt x="18989" y="876"/>
                </a:cubicBezTo>
                <a:cubicBezTo>
                  <a:pt x="19089" y="805"/>
                  <a:pt x="18838" y="745"/>
                  <a:pt x="18838" y="745"/>
                </a:cubicBezTo>
                <a:cubicBezTo>
                  <a:pt x="18822" y="698"/>
                  <a:pt x="18805" y="296"/>
                  <a:pt x="18872" y="225"/>
                </a:cubicBezTo>
                <a:cubicBezTo>
                  <a:pt x="19173" y="-47"/>
                  <a:pt x="19374" y="473"/>
                  <a:pt x="19390" y="473"/>
                </a:cubicBezTo>
                <a:cubicBezTo>
                  <a:pt x="20477" y="509"/>
                  <a:pt x="18838" y="12"/>
                  <a:pt x="19909" y="248"/>
                </a:cubicBezTo>
                <a:cubicBezTo>
                  <a:pt x="20461" y="367"/>
                  <a:pt x="20059" y="379"/>
                  <a:pt x="19975" y="533"/>
                </a:cubicBezTo>
                <a:cubicBezTo>
                  <a:pt x="19959" y="556"/>
                  <a:pt x="20059" y="544"/>
                  <a:pt x="20092" y="533"/>
                </a:cubicBezTo>
                <a:cubicBezTo>
                  <a:pt x="20193" y="509"/>
                  <a:pt x="20276" y="450"/>
                  <a:pt x="20376" y="438"/>
                </a:cubicBezTo>
                <a:cubicBezTo>
                  <a:pt x="20410" y="438"/>
                  <a:pt x="20376" y="485"/>
                  <a:pt x="20393" y="497"/>
                </a:cubicBezTo>
                <a:cubicBezTo>
                  <a:pt x="20443" y="520"/>
                  <a:pt x="20510" y="520"/>
                  <a:pt x="20561" y="533"/>
                </a:cubicBezTo>
                <a:cubicBezTo>
                  <a:pt x="20577" y="544"/>
                  <a:pt x="20594" y="568"/>
                  <a:pt x="20627" y="580"/>
                </a:cubicBezTo>
                <a:cubicBezTo>
                  <a:pt x="20711" y="627"/>
                  <a:pt x="20845" y="662"/>
                  <a:pt x="20912" y="734"/>
                </a:cubicBezTo>
                <a:cubicBezTo>
                  <a:pt x="20928" y="757"/>
                  <a:pt x="20845" y="757"/>
                  <a:pt x="20811" y="781"/>
                </a:cubicBezTo>
                <a:cubicBezTo>
                  <a:pt x="20728" y="816"/>
                  <a:pt x="20611" y="828"/>
                  <a:pt x="20561" y="887"/>
                </a:cubicBezTo>
                <a:cubicBezTo>
                  <a:pt x="20461" y="982"/>
                  <a:pt x="20544" y="1148"/>
                  <a:pt x="20410" y="1195"/>
                </a:cubicBezTo>
                <a:cubicBezTo>
                  <a:pt x="20042" y="1325"/>
                  <a:pt x="19591" y="1148"/>
                  <a:pt x="19290" y="1384"/>
                </a:cubicBezTo>
                <a:cubicBezTo>
                  <a:pt x="19240" y="1408"/>
                  <a:pt x="19390" y="1349"/>
                  <a:pt x="19457" y="1349"/>
                </a:cubicBezTo>
                <a:cubicBezTo>
                  <a:pt x="19541" y="1349"/>
                  <a:pt x="19607" y="1361"/>
                  <a:pt x="19691" y="1373"/>
                </a:cubicBezTo>
                <a:cubicBezTo>
                  <a:pt x="19708" y="1384"/>
                  <a:pt x="19724" y="1396"/>
                  <a:pt x="19741" y="1396"/>
                </a:cubicBezTo>
                <a:cubicBezTo>
                  <a:pt x="19875" y="1408"/>
                  <a:pt x="20059" y="1337"/>
                  <a:pt x="20143" y="1420"/>
                </a:cubicBezTo>
                <a:cubicBezTo>
                  <a:pt x="20209" y="1479"/>
                  <a:pt x="19942" y="1562"/>
                  <a:pt x="19992" y="1633"/>
                </a:cubicBezTo>
                <a:cubicBezTo>
                  <a:pt x="20042" y="1692"/>
                  <a:pt x="20110" y="1467"/>
                  <a:pt x="20209" y="1479"/>
                </a:cubicBezTo>
                <a:cubicBezTo>
                  <a:pt x="20327" y="1503"/>
                  <a:pt x="20293" y="1692"/>
                  <a:pt x="20243" y="1810"/>
                </a:cubicBezTo>
                <a:cubicBezTo>
                  <a:pt x="20260" y="1787"/>
                  <a:pt x="20276" y="1775"/>
                  <a:pt x="20293" y="1763"/>
                </a:cubicBezTo>
                <a:cubicBezTo>
                  <a:pt x="20410" y="1728"/>
                  <a:pt x="20577" y="1787"/>
                  <a:pt x="20711" y="1751"/>
                </a:cubicBezTo>
                <a:cubicBezTo>
                  <a:pt x="20744" y="1740"/>
                  <a:pt x="20611" y="1704"/>
                  <a:pt x="20611" y="1669"/>
                </a:cubicBezTo>
                <a:cubicBezTo>
                  <a:pt x="20594" y="1586"/>
                  <a:pt x="20611" y="1515"/>
                  <a:pt x="20644" y="1444"/>
                </a:cubicBezTo>
                <a:cubicBezTo>
                  <a:pt x="20661" y="1420"/>
                  <a:pt x="20627" y="1515"/>
                  <a:pt x="20677" y="1515"/>
                </a:cubicBezTo>
                <a:cubicBezTo>
                  <a:pt x="20811" y="1538"/>
                  <a:pt x="20945" y="1515"/>
                  <a:pt x="21079" y="1503"/>
                </a:cubicBezTo>
                <a:cubicBezTo>
                  <a:pt x="21095" y="1503"/>
                  <a:pt x="21112" y="1503"/>
                  <a:pt x="21129" y="1503"/>
                </a:cubicBezTo>
                <a:close/>
                <a:moveTo>
                  <a:pt x="16715" y="5989"/>
                </a:moveTo>
                <a:lnTo>
                  <a:pt x="16715" y="5989"/>
                </a:lnTo>
                <a:moveTo>
                  <a:pt x="16732" y="5977"/>
                </a:moveTo>
                <a:lnTo>
                  <a:pt x="16715" y="5977"/>
                </a:lnTo>
                <a:moveTo>
                  <a:pt x="14007" y="3953"/>
                </a:moveTo>
                <a:cubicBezTo>
                  <a:pt x="14024" y="3953"/>
                  <a:pt x="14024" y="3953"/>
                  <a:pt x="14024" y="3965"/>
                </a:cubicBezTo>
                <a:moveTo>
                  <a:pt x="13840" y="3917"/>
                </a:moveTo>
                <a:lnTo>
                  <a:pt x="13840" y="3917"/>
                </a:lnTo>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68" name="AutoShape 36"/>
          <p:cNvSpPr>
            <a:spLocks/>
          </p:cNvSpPr>
          <p:nvPr/>
        </p:nvSpPr>
        <p:spPr bwMode="auto">
          <a:xfrm>
            <a:off x="18021300" y="1435100"/>
            <a:ext cx="1812925" cy="4883150"/>
          </a:xfrm>
          <a:custGeom>
            <a:avLst/>
            <a:gdLst>
              <a:gd name="T0" fmla="*/ 10800 w 21600"/>
              <a:gd name="T1" fmla="+- 0 10817 35"/>
              <a:gd name="T2" fmla="*/ 10817 h 21565"/>
              <a:gd name="T3" fmla="*/ 10800 w 21600"/>
              <a:gd name="T4" fmla="+- 0 10817 35"/>
              <a:gd name="T5" fmla="*/ 10817 h 21565"/>
              <a:gd name="T6" fmla="*/ 10800 w 21600"/>
              <a:gd name="T7" fmla="+- 0 10817 35"/>
              <a:gd name="T8" fmla="*/ 10817 h 21565"/>
              <a:gd name="T9" fmla="*/ 10800 w 21600"/>
              <a:gd name="T10" fmla="+- 0 10817 35"/>
              <a:gd name="T11" fmla="*/ 10817 h 21565"/>
            </a:gdLst>
            <a:ahLst/>
            <a:cxnLst>
              <a:cxn ang="0">
                <a:pos x="T0" y="T2"/>
              </a:cxn>
              <a:cxn ang="0">
                <a:pos x="T3" y="T5"/>
              </a:cxn>
              <a:cxn ang="0">
                <a:pos x="T6" y="T8"/>
              </a:cxn>
              <a:cxn ang="0">
                <a:pos x="T9" y="T11"/>
              </a:cxn>
            </a:cxnLst>
            <a:rect l="0" t="0" r="r" b="b"/>
            <a:pathLst>
              <a:path w="21600" h="21565">
                <a:moveTo>
                  <a:pt x="2463" y="20792"/>
                </a:moveTo>
                <a:lnTo>
                  <a:pt x="2431" y="20757"/>
                </a:lnTo>
                <a:cubicBezTo>
                  <a:pt x="2431" y="20687"/>
                  <a:pt x="2368" y="20640"/>
                  <a:pt x="2273" y="20616"/>
                </a:cubicBezTo>
                <a:lnTo>
                  <a:pt x="2242" y="20569"/>
                </a:lnTo>
                <a:cubicBezTo>
                  <a:pt x="2304" y="20569"/>
                  <a:pt x="2368" y="20581"/>
                  <a:pt x="2399" y="20605"/>
                </a:cubicBezTo>
                <a:cubicBezTo>
                  <a:pt x="2431" y="20651"/>
                  <a:pt x="2463" y="20722"/>
                  <a:pt x="2463" y="20792"/>
                </a:cubicBezTo>
                <a:close/>
                <a:moveTo>
                  <a:pt x="16578" y="8207"/>
                </a:moveTo>
                <a:cubicBezTo>
                  <a:pt x="16578" y="8230"/>
                  <a:pt x="16578" y="8195"/>
                  <a:pt x="16547" y="8160"/>
                </a:cubicBezTo>
                <a:cubicBezTo>
                  <a:pt x="16578" y="8171"/>
                  <a:pt x="16578" y="8195"/>
                  <a:pt x="16578" y="8207"/>
                </a:cubicBezTo>
                <a:close/>
                <a:moveTo>
                  <a:pt x="18757" y="5092"/>
                </a:moveTo>
                <a:cubicBezTo>
                  <a:pt x="18820" y="5104"/>
                  <a:pt x="18852" y="5116"/>
                  <a:pt x="18915" y="5127"/>
                </a:cubicBezTo>
                <a:cubicBezTo>
                  <a:pt x="18947" y="5139"/>
                  <a:pt x="18852" y="5116"/>
                  <a:pt x="18757" y="5092"/>
                </a:cubicBezTo>
                <a:close/>
                <a:moveTo>
                  <a:pt x="13420" y="18123"/>
                </a:moveTo>
                <a:cubicBezTo>
                  <a:pt x="13484" y="18088"/>
                  <a:pt x="13610" y="18099"/>
                  <a:pt x="13704" y="18088"/>
                </a:cubicBezTo>
                <a:cubicBezTo>
                  <a:pt x="13484" y="18275"/>
                  <a:pt x="13042" y="19083"/>
                  <a:pt x="12946" y="19329"/>
                </a:cubicBezTo>
                <a:cubicBezTo>
                  <a:pt x="12915" y="19387"/>
                  <a:pt x="13042" y="19844"/>
                  <a:pt x="12631" y="19855"/>
                </a:cubicBezTo>
                <a:cubicBezTo>
                  <a:pt x="12568" y="19855"/>
                  <a:pt x="12441" y="19329"/>
                  <a:pt x="12441" y="19293"/>
                </a:cubicBezTo>
                <a:cubicBezTo>
                  <a:pt x="12505" y="18954"/>
                  <a:pt x="13136" y="18778"/>
                  <a:pt x="13294" y="18462"/>
                </a:cubicBezTo>
                <a:cubicBezTo>
                  <a:pt x="13357" y="18322"/>
                  <a:pt x="13136" y="18263"/>
                  <a:pt x="13420" y="18123"/>
                </a:cubicBezTo>
                <a:close/>
                <a:moveTo>
                  <a:pt x="3537" y="21026"/>
                </a:moveTo>
                <a:cubicBezTo>
                  <a:pt x="3978" y="20839"/>
                  <a:pt x="3473" y="20851"/>
                  <a:pt x="3441" y="20616"/>
                </a:cubicBezTo>
                <a:cubicBezTo>
                  <a:pt x="3441" y="20546"/>
                  <a:pt x="3631" y="20499"/>
                  <a:pt x="3663" y="20429"/>
                </a:cubicBezTo>
                <a:cubicBezTo>
                  <a:pt x="3663" y="20406"/>
                  <a:pt x="3537" y="20382"/>
                  <a:pt x="3505" y="20359"/>
                </a:cubicBezTo>
                <a:cubicBezTo>
                  <a:pt x="3094" y="20335"/>
                  <a:pt x="2557" y="20289"/>
                  <a:pt x="2210" y="20382"/>
                </a:cubicBezTo>
                <a:cubicBezTo>
                  <a:pt x="2557" y="20218"/>
                  <a:pt x="3158" y="20265"/>
                  <a:pt x="3631" y="20300"/>
                </a:cubicBezTo>
                <a:cubicBezTo>
                  <a:pt x="3378" y="20148"/>
                  <a:pt x="3221" y="20031"/>
                  <a:pt x="3284" y="20008"/>
                </a:cubicBezTo>
                <a:cubicBezTo>
                  <a:pt x="3410" y="19902"/>
                  <a:pt x="3852" y="20136"/>
                  <a:pt x="4136" y="20089"/>
                </a:cubicBezTo>
                <a:cubicBezTo>
                  <a:pt x="4389" y="20054"/>
                  <a:pt x="3505" y="19914"/>
                  <a:pt x="3631" y="19820"/>
                </a:cubicBezTo>
                <a:cubicBezTo>
                  <a:pt x="3726" y="19738"/>
                  <a:pt x="4168" y="19832"/>
                  <a:pt x="4263" y="19762"/>
                </a:cubicBezTo>
                <a:cubicBezTo>
                  <a:pt x="4420" y="19680"/>
                  <a:pt x="4326" y="19563"/>
                  <a:pt x="4200" y="19481"/>
                </a:cubicBezTo>
                <a:cubicBezTo>
                  <a:pt x="4136" y="19434"/>
                  <a:pt x="3947" y="19469"/>
                  <a:pt x="3821" y="19457"/>
                </a:cubicBezTo>
                <a:cubicBezTo>
                  <a:pt x="3568" y="19422"/>
                  <a:pt x="3631" y="19258"/>
                  <a:pt x="3441" y="19176"/>
                </a:cubicBezTo>
                <a:cubicBezTo>
                  <a:pt x="3315" y="19118"/>
                  <a:pt x="3062" y="19118"/>
                  <a:pt x="2936" y="19059"/>
                </a:cubicBezTo>
                <a:cubicBezTo>
                  <a:pt x="2874" y="19013"/>
                  <a:pt x="2968" y="18954"/>
                  <a:pt x="2905" y="18907"/>
                </a:cubicBezTo>
                <a:cubicBezTo>
                  <a:pt x="2842" y="18848"/>
                  <a:pt x="2463" y="18661"/>
                  <a:pt x="2463" y="18650"/>
                </a:cubicBezTo>
                <a:cubicBezTo>
                  <a:pt x="2463" y="18626"/>
                  <a:pt x="2589" y="18614"/>
                  <a:pt x="2557" y="18603"/>
                </a:cubicBezTo>
                <a:cubicBezTo>
                  <a:pt x="2526" y="18579"/>
                  <a:pt x="2399" y="18591"/>
                  <a:pt x="2336" y="18579"/>
                </a:cubicBezTo>
                <a:cubicBezTo>
                  <a:pt x="2178" y="18532"/>
                  <a:pt x="2052" y="18462"/>
                  <a:pt x="1958" y="18404"/>
                </a:cubicBezTo>
                <a:cubicBezTo>
                  <a:pt x="1799" y="18298"/>
                  <a:pt x="1989" y="18017"/>
                  <a:pt x="1768" y="17889"/>
                </a:cubicBezTo>
                <a:cubicBezTo>
                  <a:pt x="1705" y="17853"/>
                  <a:pt x="1485" y="17900"/>
                  <a:pt x="1389" y="17865"/>
                </a:cubicBezTo>
                <a:cubicBezTo>
                  <a:pt x="1295" y="17818"/>
                  <a:pt x="1326" y="17736"/>
                  <a:pt x="1326" y="17666"/>
                </a:cubicBezTo>
                <a:cubicBezTo>
                  <a:pt x="1262" y="17491"/>
                  <a:pt x="2147" y="17081"/>
                  <a:pt x="1736" y="16894"/>
                </a:cubicBezTo>
                <a:cubicBezTo>
                  <a:pt x="1169" y="16624"/>
                  <a:pt x="1485" y="17350"/>
                  <a:pt x="284" y="16905"/>
                </a:cubicBezTo>
                <a:cubicBezTo>
                  <a:pt x="94" y="16835"/>
                  <a:pt x="410" y="16624"/>
                  <a:pt x="410" y="16542"/>
                </a:cubicBezTo>
                <a:cubicBezTo>
                  <a:pt x="378" y="16402"/>
                  <a:pt x="0" y="15875"/>
                  <a:pt x="0" y="15875"/>
                </a:cubicBezTo>
                <a:cubicBezTo>
                  <a:pt x="126" y="15816"/>
                  <a:pt x="442" y="15922"/>
                  <a:pt x="632" y="15910"/>
                </a:cubicBezTo>
                <a:cubicBezTo>
                  <a:pt x="726" y="16027"/>
                  <a:pt x="852" y="16144"/>
                  <a:pt x="1136" y="15992"/>
                </a:cubicBezTo>
                <a:cubicBezTo>
                  <a:pt x="1831" y="15629"/>
                  <a:pt x="947" y="15161"/>
                  <a:pt x="1136" y="14950"/>
                </a:cubicBezTo>
                <a:cubicBezTo>
                  <a:pt x="1199" y="14868"/>
                  <a:pt x="1515" y="14856"/>
                  <a:pt x="1610" y="14786"/>
                </a:cubicBezTo>
                <a:cubicBezTo>
                  <a:pt x="1673" y="14739"/>
                  <a:pt x="1610" y="14681"/>
                  <a:pt x="1547" y="14634"/>
                </a:cubicBezTo>
                <a:cubicBezTo>
                  <a:pt x="1547" y="14599"/>
                  <a:pt x="1389" y="14587"/>
                  <a:pt x="1420" y="14564"/>
                </a:cubicBezTo>
                <a:cubicBezTo>
                  <a:pt x="1485" y="14482"/>
                  <a:pt x="2494" y="14459"/>
                  <a:pt x="2778" y="14189"/>
                </a:cubicBezTo>
                <a:lnTo>
                  <a:pt x="2747" y="13849"/>
                </a:lnTo>
                <a:cubicBezTo>
                  <a:pt x="3094" y="13182"/>
                  <a:pt x="2273" y="13311"/>
                  <a:pt x="2115" y="12808"/>
                </a:cubicBezTo>
                <a:cubicBezTo>
                  <a:pt x="2084" y="12690"/>
                  <a:pt x="2715" y="12749"/>
                  <a:pt x="2968" y="12667"/>
                </a:cubicBezTo>
                <a:lnTo>
                  <a:pt x="3315" y="12199"/>
                </a:lnTo>
                <a:cubicBezTo>
                  <a:pt x="3189" y="11906"/>
                  <a:pt x="1989" y="11929"/>
                  <a:pt x="1799" y="11660"/>
                </a:cubicBezTo>
                <a:cubicBezTo>
                  <a:pt x="1642" y="11414"/>
                  <a:pt x="2147" y="11087"/>
                  <a:pt x="2084" y="10829"/>
                </a:cubicBezTo>
                <a:cubicBezTo>
                  <a:pt x="2021" y="10653"/>
                  <a:pt x="1515" y="10501"/>
                  <a:pt x="1485" y="10326"/>
                </a:cubicBezTo>
                <a:cubicBezTo>
                  <a:pt x="1452" y="10255"/>
                  <a:pt x="1610" y="10173"/>
                  <a:pt x="1610" y="10103"/>
                </a:cubicBezTo>
                <a:cubicBezTo>
                  <a:pt x="1578" y="10021"/>
                  <a:pt x="1452" y="9951"/>
                  <a:pt x="1485" y="9869"/>
                </a:cubicBezTo>
                <a:cubicBezTo>
                  <a:pt x="1485" y="9799"/>
                  <a:pt x="1705" y="9752"/>
                  <a:pt x="1705" y="9682"/>
                </a:cubicBezTo>
                <a:cubicBezTo>
                  <a:pt x="1705" y="8265"/>
                  <a:pt x="1232" y="10724"/>
                  <a:pt x="1232" y="9307"/>
                </a:cubicBezTo>
                <a:cubicBezTo>
                  <a:pt x="1232" y="9178"/>
                  <a:pt x="1673" y="9096"/>
                  <a:pt x="1705" y="8968"/>
                </a:cubicBezTo>
                <a:cubicBezTo>
                  <a:pt x="1736" y="8921"/>
                  <a:pt x="1547" y="8874"/>
                  <a:pt x="1578" y="8815"/>
                </a:cubicBezTo>
                <a:cubicBezTo>
                  <a:pt x="1673" y="8628"/>
                  <a:pt x="2368" y="8230"/>
                  <a:pt x="2778" y="8136"/>
                </a:cubicBezTo>
                <a:cubicBezTo>
                  <a:pt x="4073" y="7832"/>
                  <a:pt x="4926" y="8382"/>
                  <a:pt x="5146" y="7832"/>
                </a:cubicBezTo>
                <a:cubicBezTo>
                  <a:pt x="5368" y="7258"/>
                  <a:pt x="4042" y="7375"/>
                  <a:pt x="4231" y="7165"/>
                </a:cubicBezTo>
                <a:cubicBezTo>
                  <a:pt x="4516" y="6837"/>
                  <a:pt x="4957" y="6509"/>
                  <a:pt x="5241" y="6193"/>
                </a:cubicBezTo>
                <a:cubicBezTo>
                  <a:pt x="5273" y="6146"/>
                  <a:pt x="5431" y="6134"/>
                  <a:pt x="5463" y="6088"/>
                </a:cubicBezTo>
                <a:lnTo>
                  <a:pt x="5368" y="5654"/>
                </a:lnTo>
                <a:cubicBezTo>
                  <a:pt x="5368" y="5643"/>
                  <a:pt x="5526" y="5291"/>
                  <a:pt x="5526" y="5291"/>
                </a:cubicBezTo>
                <a:lnTo>
                  <a:pt x="5210" y="4835"/>
                </a:lnTo>
                <a:cubicBezTo>
                  <a:pt x="5336" y="4729"/>
                  <a:pt x="5842" y="4835"/>
                  <a:pt x="6094" y="4788"/>
                </a:cubicBezTo>
                <a:lnTo>
                  <a:pt x="6789" y="4566"/>
                </a:lnTo>
                <a:cubicBezTo>
                  <a:pt x="6884" y="4460"/>
                  <a:pt x="6473" y="4366"/>
                  <a:pt x="6536" y="4261"/>
                </a:cubicBezTo>
                <a:cubicBezTo>
                  <a:pt x="6726" y="4050"/>
                  <a:pt x="7768" y="3594"/>
                  <a:pt x="7957" y="3395"/>
                </a:cubicBezTo>
                <a:cubicBezTo>
                  <a:pt x="8305" y="3079"/>
                  <a:pt x="7484" y="3055"/>
                  <a:pt x="7358" y="2798"/>
                </a:cubicBezTo>
                <a:cubicBezTo>
                  <a:pt x="7263" y="2587"/>
                  <a:pt x="7610" y="2716"/>
                  <a:pt x="7799" y="2634"/>
                </a:cubicBezTo>
                <a:cubicBezTo>
                  <a:pt x="8052" y="2517"/>
                  <a:pt x="8052" y="2353"/>
                  <a:pt x="8115" y="2224"/>
                </a:cubicBezTo>
                <a:cubicBezTo>
                  <a:pt x="8146" y="2130"/>
                  <a:pt x="8747" y="1721"/>
                  <a:pt x="8936" y="1721"/>
                </a:cubicBezTo>
                <a:lnTo>
                  <a:pt x="9947" y="1884"/>
                </a:lnTo>
                <a:cubicBezTo>
                  <a:pt x="10578" y="1791"/>
                  <a:pt x="9789" y="1124"/>
                  <a:pt x="9978" y="1030"/>
                </a:cubicBezTo>
                <a:cubicBezTo>
                  <a:pt x="10420" y="819"/>
                  <a:pt x="12599" y="1217"/>
                  <a:pt x="12884" y="1147"/>
                </a:cubicBezTo>
                <a:cubicBezTo>
                  <a:pt x="13925" y="901"/>
                  <a:pt x="12821" y="925"/>
                  <a:pt x="12788" y="819"/>
                </a:cubicBezTo>
                <a:cubicBezTo>
                  <a:pt x="12694" y="679"/>
                  <a:pt x="13231" y="573"/>
                  <a:pt x="13231" y="433"/>
                </a:cubicBezTo>
                <a:cubicBezTo>
                  <a:pt x="13231" y="351"/>
                  <a:pt x="13168" y="269"/>
                  <a:pt x="13073" y="199"/>
                </a:cubicBezTo>
                <a:cubicBezTo>
                  <a:pt x="12978" y="140"/>
                  <a:pt x="12568" y="105"/>
                  <a:pt x="12663" y="46"/>
                </a:cubicBezTo>
                <a:cubicBezTo>
                  <a:pt x="12788" y="-35"/>
                  <a:pt x="13136" y="23"/>
                  <a:pt x="13389" y="0"/>
                </a:cubicBezTo>
                <a:lnTo>
                  <a:pt x="13452" y="0"/>
                </a:lnTo>
                <a:cubicBezTo>
                  <a:pt x="13547" y="23"/>
                  <a:pt x="13704" y="23"/>
                  <a:pt x="13831" y="58"/>
                </a:cubicBezTo>
                <a:cubicBezTo>
                  <a:pt x="14210" y="152"/>
                  <a:pt x="13704" y="140"/>
                  <a:pt x="13957" y="199"/>
                </a:cubicBezTo>
                <a:cubicBezTo>
                  <a:pt x="14494" y="351"/>
                  <a:pt x="15410" y="632"/>
                  <a:pt x="15978" y="726"/>
                </a:cubicBezTo>
                <a:cubicBezTo>
                  <a:pt x="16641" y="831"/>
                  <a:pt x="17179" y="737"/>
                  <a:pt x="17778" y="960"/>
                </a:cubicBezTo>
                <a:cubicBezTo>
                  <a:pt x="17905" y="995"/>
                  <a:pt x="17809" y="1100"/>
                  <a:pt x="17936" y="1124"/>
                </a:cubicBezTo>
                <a:cubicBezTo>
                  <a:pt x="18031" y="1135"/>
                  <a:pt x="18094" y="1077"/>
                  <a:pt x="18156" y="1088"/>
                </a:cubicBezTo>
                <a:cubicBezTo>
                  <a:pt x="18409" y="1124"/>
                  <a:pt x="18505" y="1241"/>
                  <a:pt x="18694" y="1311"/>
                </a:cubicBezTo>
                <a:cubicBezTo>
                  <a:pt x="18757" y="1334"/>
                  <a:pt x="18947" y="1334"/>
                  <a:pt x="18915" y="1369"/>
                </a:cubicBezTo>
                <a:cubicBezTo>
                  <a:pt x="18567" y="1615"/>
                  <a:pt x="18947" y="1627"/>
                  <a:pt x="19042" y="1908"/>
                </a:cubicBezTo>
                <a:cubicBezTo>
                  <a:pt x="19073" y="1955"/>
                  <a:pt x="18947" y="2002"/>
                  <a:pt x="18947" y="2049"/>
                </a:cubicBezTo>
                <a:cubicBezTo>
                  <a:pt x="18883" y="2189"/>
                  <a:pt x="19357" y="2084"/>
                  <a:pt x="19515" y="2130"/>
                </a:cubicBezTo>
                <a:cubicBezTo>
                  <a:pt x="19926" y="2247"/>
                  <a:pt x="19262" y="2411"/>
                  <a:pt x="19452" y="2528"/>
                </a:cubicBezTo>
                <a:cubicBezTo>
                  <a:pt x="19642" y="2692"/>
                  <a:pt x="20399" y="2845"/>
                  <a:pt x="20462" y="3032"/>
                </a:cubicBezTo>
                <a:cubicBezTo>
                  <a:pt x="20494" y="3172"/>
                  <a:pt x="20210" y="3617"/>
                  <a:pt x="20242" y="3676"/>
                </a:cubicBezTo>
                <a:cubicBezTo>
                  <a:pt x="20526" y="4050"/>
                  <a:pt x="21221" y="4179"/>
                  <a:pt x="21600" y="4484"/>
                </a:cubicBezTo>
                <a:cubicBezTo>
                  <a:pt x="21505" y="4531"/>
                  <a:pt x="21409" y="4589"/>
                  <a:pt x="21283" y="4612"/>
                </a:cubicBezTo>
                <a:cubicBezTo>
                  <a:pt x="21157" y="4636"/>
                  <a:pt x="21063" y="4519"/>
                  <a:pt x="20905" y="4531"/>
                </a:cubicBezTo>
                <a:cubicBezTo>
                  <a:pt x="20841" y="4542"/>
                  <a:pt x="20810" y="4601"/>
                  <a:pt x="20746" y="4601"/>
                </a:cubicBezTo>
                <a:cubicBezTo>
                  <a:pt x="20494" y="4612"/>
                  <a:pt x="20210" y="4531"/>
                  <a:pt x="19989" y="4577"/>
                </a:cubicBezTo>
                <a:cubicBezTo>
                  <a:pt x="19831" y="4612"/>
                  <a:pt x="20083" y="4753"/>
                  <a:pt x="19926" y="4788"/>
                </a:cubicBezTo>
                <a:cubicBezTo>
                  <a:pt x="19262" y="4940"/>
                  <a:pt x="19042" y="4659"/>
                  <a:pt x="18567" y="4624"/>
                </a:cubicBezTo>
                <a:cubicBezTo>
                  <a:pt x="18505" y="4624"/>
                  <a:pt x="18631" y="4694"/>
                  <a:pt x="18631" y="4729"/>
                </a:cubicBezTo>
                <a:cubicBezTo>
                  <a:pt x="18631" y="4753"/>
                  <a:pt x="18662" y="4776"/>
                  <a:pt x="18631" y="4800"/>
                </a:cubicBezTo>
                <a:cubicBezTo>
                  <a:pt x="18599" y="4882"/>
                  <a:pt x="18409" y="4952"/>
                  <a:pt x="18473" y="5022"/>
                </a:cubicBezTo>
                <a:cubicBezTo>
                  <a:pt x="18473" y="5034"/>
                  <a:pt x="18505" y="5046"/>
                  <a:pt x="18536" y="5057"/>
                </a:cubicBezTo>
                <a:cubicBezTo>
                  <a:pt x="18315" y="5034"/>
                  <a:pt x="18094" y="5022"/>
                  <a:pt x="17905" y="4987"/>
                </a:cubicBezTo>
                <a:cubicBezTo>
                  <a:pt x="17809" y="4975"/>
                  <a:pt x="17715" y="4882"/>
                  <a:pt x="17683" y="4917"/>
                </a:cubicBezTo>
                <a:cubicBezTo>
                  <a:pt x="17620" y="5046"/>
                  <a:pt x="18473" y="4999"/>
                  <a:pt x="18536" y="5127"/>
                </a:cubicBezTo>
                <a:cubicBezTo>
                  <a:pt x="18599" y="5198"/>
                  <a:pt x="18156" y="5151"/>
                  <a:pt x="17968" y="5186"/>
                </a:cubicBezTo>
                <a:cubicBezTo>
                  <a:pt x="17936" y="5198"/>
                  <a:pt x="18062" y="5198"/>
                  <a:pt x="18126" y="5198"/>
                </a:cubicBezTo>
                <a:cubicBezTo>
                  <a:pt x="18156" y="5209"/>
                  <a:pt x="18505" y="5291"/>
                  <a:pt x="18315" y="5350"/>
                </a:cubicBezTo>
                <a:cubicBezTo>
                  <a:pt x="18284" y="5362"/>
                  <a:pt x="18252" y="5291"/>
                  <a:pt x="18190" y="5303"/>
                </a:cubicBezTo>
                <a:cubicBezTo>
                  <a:pt x="18156" y="5315"/>
                  <a:pt x="18284" y="5362"/>
                  <a:pt x="18221" y="5373"/>
                </a:cubicBezTo>
                <a:cubicBezTo>
                  <a:pt x="17968" y="5432"/>
                  <a:pt x="17241" y="5373"/>
                  <a:pt x="17116" y="5549"/>
                </a:cubicBezTo>
                <a:cubicBezTo>
                  <a:pt x="17116" y="5584"/>
                  <a:pt x="17304" y="5549"/>
                  <a:pt x="17368" y="5561"/>
                </a:cubicBezTo>
                <a:cubicBezTo>
                  <a:pt x="17589" y="5619"/>
                  <a:pt x="17778" y="5701"/>
                  <a:pt x="17873" y="5795"/>
                </a:cubicBezTo>
                <a:cubicBezTo>
                  <a:pt x="18062" y="6005"/>
                  <a:pt x="17116" y="6099"/>
                  <a:pt x="17084" y="6333"/>
                </a:cubicBezTo>
                <a:cubicBezTo>
                  <a:pt x="17052" y="6614"/>
                  <a:pt x="18094" y="6638"/>
                  <a:pt x="18346" y="6849"/>
                </a:cubicBezTo>
                <a:cubicBezTo>
                  <a:pt x="18378" y="6860"/>
                  <a:pt x="17715" y="7165"/>
                  <a:pt x="17589" y="7270"/>
                </a:cubicBezTo>
                <a:cubicBezTo>
                  <a:pt x="17399" y="7411"/>
                  <a:pt x="17336" y="7984"/>
                  <a:pt x="16957" y="8008"/>
                </a:cubicBezTo>
                <a:cubicBezTo>
                  <a:pt x="16894" y="8008"/>
                  <a:pt x="16894" y="7925"/>
                  <a:pt x="16831" y="7937"/>
                </a:cubicBezTo>
                <a:cubicBezTo>
                  <a:pt x="16610" y="7949"/>
                  <a:pt x="16926" y="8136"/>
                  <a:pt x="16705" y="8171"/>
                </a:cubicBezTo>
                <a:cubicBezTo>
                  <a:pt x="16610" y="8195"/>
                  <a:pt x="16641" y="8031"/>
                  <a:pt x="16547" y="8054"/>
                </a:cubicBezTo>
                <a:cubicBezTo>
                  <a:pt x="16515" y="8054"/>
                  <a:pt x="16515" y="8066"/>
                  <a:pt x="16515" y="8078"/>
                </a:cubicBezTo>
                <a:lnTo>
                  <a:pt x="16484" y="8078"/>
                </a:lnTo>
                <a:cubicBezTo>
                  <a:pt x="16420" y="8113"/>
                  <a:pt x="16547" y="8183"/>
                  <a:pt x="16452" y="8207"/>
                </a:cubicBezTo>
                <a:cubicBezTo>
                  <a:pt x="16357" y="8253"/>
                  <a:pt x="15978" y="8230"/>
                  <a:pt x="15884" y="8300"/>
                </a:cubicBezTo>
                <a:cubicBezTo>
                  <a:pt x="15789" y="8347"/>
                  <a:pt x="15820" y="8441"/>
                  <a:pt x="15662" y="8464"/>
                </a:cubicBezTo>
                <a:cubicBezTo>
                  <a:pt x="15473" y="8487"/>
                  <a:pt x="15189" y="8359"/>
                  <a:pt x="15063" y="8417"/>
                </a:cubicBezTo>
                <a:cubicBezTo>
                  <a:pt x="14936" y="8487"/>
                  <a:pt x="15410" y="8581"/>
                  <a:pt x="15315" y="8663"/>
                </a:cubicBezTo>
                <a:cubicBezTo>
                  <a:pt x="15221" y="8722"/>
                  <a:pt x="15000" y="8546"/>
                  <a:pt x="14873" y="8581"/>
                </a:cubicBezTo>
                <a:cubicBezTo>
                  <a:pt x="14715" y="8628"/>
                  <a:pt x="14905" y="8722"/>
                  <a:pt x="14873" y="8792"/>
                </a:cubicBezTo>
                <a:cubicBezTo>
                  <a:pt x="14841" y="8874"/>
                  <a:pt x="14810" y="8991"/>
                  <a:pt x="14588" y="9038"/>
                </a:cubicBezTo>
                <a:cubicBezTo>
                  <a:pt x="14400" y="9073"/>
                  <a:pt x="14178" y="8956"/>
                  <a:pt x="13957" y="8968"/>
                </a:cubicBezTo>
                <a:cubicBezTo>
                  <a:pt x="13831" y="8968"/>
                  <a:pt x="14242" y="9003"/>
                  <a:pt x="14273" y="9049"/>
                </a:cubicBezTo>
                <a:cubicBezTo>
                  <a:pt x="14305" y="9073"/>
                  <a:pt x="14147" y="9085"/>
                  <a:pt x="14083" y="9085"/>
                </a:cubicBezTo>
                <a:cubicBezTo>
                  <a:pt x="14021" y="9085"/>
                  <a:pt x="14178" y="9026"/>
                  <a:pt x="14115" y="9003"/>
                </a:cubicBezTo>
                <a:cubicBezTo>
                  <a:pt x="14052" y="8991"/>
                  <a:pt x="13925" y="8991"/>
                  <a:pt x="13894" y="9014"/>
                </a:cubicBezTo>
                <a:cubicBezTo>
                  <a:pt x="13863" y="9049"/>
                  <a:pt x="14083" y="9085"/>
                  <a:pt x="14021" y="9120"/>
                </a:cubicBezTo>
                <a:cubicBezTo>
                  <a:pt x="13957" y="9143"/>
                  <a:pt x="13768" y="9073"/>
                  <a:pt x="13673" y="9108"/>
                </a:cubicBezTo>
                <a:cubicBezTo>
                  <a:pt x="13610" y="9131"/>
                  <a:pt x="13831" y="9143"/>
                  <a:pt x="13863" y="9178"/>
                </a:cubicBezTo>
                <a:cubicBezTo>
                  <a:pt x="13863" y="9190"/>
                  <a:pt x="13736" y="9166"/>
                  <a:pt x="13704" y="9178"/>
                </a:cubicBezTo>
                <a:cubicBezTo>
                  <a:pt x="13641" y="9225"/>
                  <a:pt x="13704" y="9307"/>
                  <a:pt x="13610" y="9342"/>
                </a:cubicBezTo>
                <a:cubicBezTo>
                  <a:pt x="13484" y="9389"/>
                  <a:pt x="13010" y="9354"/>
                  <a:pt x="13136" y="9389"/>
                </a:cubicBezTo>
                <a:cubicBezTo>
                  <a:pt x="13325" y="9448"/>
                  <a:pt x="13894" y="9354"/>
                  <a:pt x="13831" y="9436"/>
                </a:cubicBezTo>
                <a:cubicBezTo>
                  <a:pt x="13736" y="9529"/>
                  <a:pt x="13452" y="9588"/>
                  <a:pt x="13294" y="9670"/>
                </a:cubicBezTo>
                <a:cubicBezTo>
                  <a:pt x="13231" y="9693"/>
                  <a:pt x="13168" y="9740"/>
                  <a:pt x="13073" y="9752"/>
                </a:cubicBezTo>
                <a:cubicBezTo>
                  <a:pt x="12978" y="9764"/>
                  <a:pt x="12788" y="9752"/>
                  <a:pt x="12788" y="9717"/>
                </a:cubicBezTo>
                <a:cubicBezTo>
                  <a:pt x="12821" y="9682"/>
                  <a:pt x="13042" y="9705"/>
                  <a:pt x="13073" y="9670"/>
                </a:cubicBezTo>
                <a:cubicBezTo>
                  <a:pt x="13168" y="9600"/>
                  <a:pt x="12821" y="9693"/>
                  <a:pt x="12694" y="9705"/>
                </a:cubicBezTo>
                <a:cubicBezTo>
                  <a:pt x="12726" y="9740"/>
                  <a:pt x="12788" y="9775"/>
                  <a:pt x="12852" y="9810"/>
                </a:cubicBezTo>
                <a:cubicBezTo>
                  <a:pt x="12946" y="9892"/>
                  <a:pt x="13104" y="10115"/>
                  <a:pt x="12852" y="10091"/>
                </a:cubicBezTo>
                <a:cubicBezTo>
                  <a:pt x="12788" y="10091"/>
                  <a:pt x="12821" y="9974"/>
                  <a:pt x="12757" y="9998"/>
                </a:cubicBezTo>
                <a:cubicBezTo>
                  <a:pt x="12663" y="10056"/>
                  <a:pt x="12788" y="10150"/>
                  <a:pt x="12663" y="10209"/>
                </a:cubicBezTo>
                <a:cubicBezTo>
                  <a:pt x="12631" y="10244"/>
                  <a:pt x="12473" y="10197"/>
                  <a:pt x="12379" y="10197"/>
                </a:cubicBezTo>
                <a:cubicBezTo>
                  <a:pt x="12157" y="10209"/>
                  <a:pt x="11873" y="10197"/>
                  <a:pt x="11684" y="10244"/>
                </a:cubicBezTo>
                <a:cubicBezTo>
                  <a:pt x="11179" y="10384"/>
                  <a:pt x="12031" y="10443"/>
                  <a:pt x="12410" y="10607"/>
                </a:cubicBezTo>
                <a:cubicBezTo>
                  <a:pt x="12441" y="10618"/>
                  <a:pt x="12284" y="10630"/>
                  <a:pt x="12252" y="10618"/>
                </a:cubicBezTo>
                <a:cubicBezTo>
                  <a:pt x="12252" y="10607"/>
                  <a:pt x="12157" y="10607"/>
                  <a:pt x="12157" y="10618"/>
                </a:cubicBezTo>
                <a:cubicBezTo>
                  <a:pt x="12125" y="10712"/>
                  <a:pt x="12189" y="10806"/>
                  <a:pt x="12157" y="10899"/>
                </a:cubicBezTo>
                <a:cubicBezTo>
                  <a:pt x="12125" y="10958"/>
                  <a:pt x="12000" y="11005"/>
                  <a:pt x="11968" y="11063"/>
                </a:cubicBezTo>
                <a:cubicBezTo>
                  <a:pt x="11936" y="11133"/>
                  <a:pt x="11936" y="11204"/>
                  <a:pt x="12000" y="11274"/>
                </a:cubicBezTo>
                <a:cubicBezTo>
                  <a:pt x="12000" y="11286"/>
                  <a:pt x="12094" y="11250"/>
                  <a:pt x="12125" y="11262"/>
                </a:cubicBezTo>
                <a:cubicBezTo>
                  <a:pt x="12252" y="11344"/>
                  <a:pt x="12599" y="11461"/>
                  <a:pt x="12410" y="11531"/>
                </a:cubicBezTo>
                <a:cubicBezTo>
                  <a:pt x="12221" y="11602"/>
                  <a:pt x="11936" y="11403"/>
                  <a:pt x="11684" y="11438"/>
                </a:cubicBezTo>
                <a:cubicBezTo>
                  <a:pt x="10957" y="11531"/>
                  <a:pt x="12189" y="11777"/>
                  <a:pt x="12094" y="12035"/>
                </a:cubicBezTo>
                <a:cubicBezTo>
                  <a:pt x="12094" y="12082"/>
                  <a:pt x="11779" y="12011"/>
                  <a:pt x="11779" y="12046"/>
                </a:cubicBezTo>
                <a:cubicBezTo>
                  <a:pt x="11746" y="12105"/>
                  <a:pt x="12000" y="12117"/>
                  <a:pt x="12031" y="12164"/>
                </a:cubicBezTo>
                <a:cubicBezTo>
                  <a:pt x="12062" y="12187"/>
                  <a:pt x="11905" y="12175"/>
                  <a:pt x="11905" y="12199"/>
                </a:cubicBezTo>
                <a:cubicBezTo>
                  <a:pt x="11905" y="12246"/>
                  <a:pt x="11905" y="12304"/>
                  <a:pt x="11968" y="12351"/>
                </a:cubicBezTo>
                <a:cubicBezTo>
                  <a:pt x="12000" y="12398"/>
                  <a:pt x="11968" y="12456"/>
                  <a:pt x="12031" y="12503"/>
                </a:cubicBezTo>
                <a:cubicBezTo>
                  <a:pt x="12062" y="12527"/>
                  <a:pt x="12189" y="12480"/>
                  <a:pt x="12189" y="12503"/>
                </a:cubicBezTo>
                <a:cubicBezTo>
                  <a:pt x="12221" y="12515"/>
                  <a:pt x="12062" y="12515"/>
                  <a:pt x="12031" y="12527"/>
                </a:cubicBezTo>
                <a:cubicBezTo>
                  <a:pt x="12000" y="12550"/>
                  <a:pt x="12000" y="12585"/>
                  <a:pt x="12031" y="12608"/>
                </a:cubicBezTo>
                <a:cubicBezTo>
                  <a:pt x="12094" y="12667"/>
                  <a:pt x="12315" y="12702"/>
                  <a:pt x="12347" y="12773"/>
                </a:cubicBezTo>
                <a:cubicBezTo>
                  <a:pt x="12379" y="12843"/>
                  <a:pt x="12189" y="12913"/>
                  <a:pt x="12221" y="12983"/>
                </a:cubicBezTo>
                <a:cubicBezTo>
                  <a:pt x="12221" y="13007"/>
                  <a:pt x="12315" y="12971"/>
                  <a:pt x="12379" y="12983"/>
                </a:cubicBezTo>
                <a:cubicBezTo>
                  <a:pt x="12473" y="12995"/>
                  <a:pt x="12410" y="13077"/>
                  <a:pt x="12505" y="13077"/>
                </a:cubicBezTo>
                <a:cubicBezTo>
                  <a:pt x="12852" y="13077"/>
                  <a:pt x="13515" y="13007"/>
                  <a:pt x="13831" y="13077"/>
                </a:cubicBezTo>
                <a:cubicBezTo>
                  <a:pt x="13957" y="13100"/>
                  <a:pt x="13831" y="13182"/>
                  <a:pt x="13894" y="13229"/>
                </a:cubicBezTo>
                <a:cubicBezTo>
                  <a:pt x="13988" y="13299"/>
                  <a:pt x="14178" y="13346"/>
                  <a:pt x="14368" y="13393"/>
                </a:cubicBezTo>
                <a:cubicBezTo>
                  <a:pt x="14400" y="13405"/>
                  <a:pt x="14526" y="13358"/>
                  <a:pt x="14557" y="13381"/>
                </a:cubicBezTo>
                <a:cubicBezTo>
                  <a:pt x="14620" y="13405"/>
                  <a:pt x="14462" y="13451"/>
                  <a:pt x="14526" y="13463"/>
                </a:cubicBezTo>
                <a:cubicBezTo>
                  <a:pt x="14557" y="13463"/>
                  <a:pt x="16167" y="13229"/>
                  <a:pt x="15315" y="13580"/>
                </a:cubicBezTo>
                <a:cubicBezTo>
                  <a:pt x="15189" y="13639"/>
                  <a:pt x="14905" y="13475"/>
                  <a:pt x="14715" y="13498"/>
                </a:cubicBezTo>
                <a:cubicBezTo>
                  <a:pt x="14557" y="13522"/>
                  <a:pt x="14936" y="13569"/>
                  <a:pt x="15031" y="13615"/>
                </a:cubicBezTo>
                <a:cubicBezTo>
                  <a:pt x="15157" y="13686"/>
                  <a:pt x="15189" y="13791"/>
                  <a:pt x="15378" y="13838"/>
                </a:cubicBezTo>
                <a:cubicBezTo>
                  <a:pt x="15473" y="13849"/>
                  <a:pt x="15536" y="13721"/>
                  <a:pt x="15662" y="13744"/>
                </a:cubicBezTo>
                <a:cubicBezTo>
                  <a:pt x="15820" y="13768"/>
                  <a:pt x="15726" y="13873"/>
                  <a:pt x="15852" y="13908"/>
                </a:cubicBezTo>
                <a:cubicBezTo>
                  <a:pt x="16326" y="14107"/>
                  <a:pt x="16672" y="13978"/>
                  <a:pt x="16578" y="14294"/>
                </a:cubicBezTo>
                <a:cubicBezTo>
                  <a:pt x="16547" y="14412"/>
                  <a:pt x="16263" y="14283"/>
                  <a:pt x="16231" y="14283"/>
                </a:cubicBezTo>
                <a:cubicBezTo>
                  <a:pt x="16073" y="14294"/>
                  <a:pt x="16041" y="14365"/>
                  <a:pt x="15915" y="14400"/>
                </a:cubicBezTo>
                <a:cubicBezTo>
                  <a:pt x="15631" y="14517"/>
                  <a:pt x="15915" y="14622"/>
                  <a:pt x="15031" y="14774"/>
                </a:cubicBezTo>
                <a:cubicBezTo>
                  <a:pt x="15000" y="14786"/>
                  <a:pt x="15189" y="14891"/>
                  <a:pt x="15189" y="14903"/>
                </a:cubicBezTo>
                <a:cubicBezTo>
                  <a:pt x="15126" y="14938"/>
                  <a:pt x="14968" y="14880"/>
                  <a:pt x="14841" y="14891"/>
                </a:cubicBezTo>
                <a:cubicBezTo>
                  <a:pt x="14620" y="14903"/>
                  <a:pt x="14400" y="14973"/>
                  <a:pt x="14147" y="14973"/>
                </a:cubicBezTo>
                <a:cubicBezTo>
                  <a:pt x="13894" y="14973"/>
                  <a:pt x="14115" y="14798"/>
                  <a:pt x="14115" y="14716"/>
                </a:cubicBezTo>
                <a:cubicBezTo>
                  <a:pt x="14147" y="14634"/>
                  <a:pt x="13957" y="14646"/>
                  <a:pt x="13863" y="14599"/>
                </a:cubicBezTo>
                <a:cubicBezTo>
                  <a:pt x="13863" y="14587"/>
                  <a:pt x="13894" y="14564"/>
                  <a:pt x="13863" y="14540"/>
                </a:cubicBezTo>
                <a:cubicBezTo>
                  <a:pt x="13736" y="14470"/>
                  <a:pt x="13704" y="14365"/>
                  <a:pt x="13484" y="14329"/>
                </a:cubicBezTo>
                <a:cubicBezTo>
                  <a:pt x="13325" y="14306"/>
                  <a:pt x="13104" y="14365"/>
                  <a:pt x="13010" y="14423"/>
                </a:cubicBezTo>
                <a:cubicBezTo>
                  <a:pt x="12978" y="14459"/>
                  <a:pt x="13262" y="14412"/>
                  <a:pt x="13294" y="14435"/>
                </a:cubicBezTo>
                <a:cubicBezTo>
                  <a:pt x="13420" y="14517"/>
                  <a:pt x="13325" y="14622"/>
                  <a:pt x="13452" y="14692"/>
                </a:cubicBezTo>
                <a:cubicBezTo>
                  <a:pt x="13547" y="14751"/>
                  <a:pt x="14021" y="14739"/>
                  <a:pt x="13925" y="14798"/>
                </a:cubicBezTo>
                <a:cubicBezTo>
                  <a:pt x="13547" y="15067"/>
                  <a:pt x="12631" y="14657"/>
                  <a:pt x="12441" y="14681"/>
                </a:cubicBezTo>
                <a:cubicBezTo>
                  <a:pt x="12189" y="14704"/>
                  <a:pt x="12062" y="14833"/>
                  <a:pt x="11779" y="14833"/>
                </a:cubicBezTo>
                <a:cubicBezTo>
                  <a:pt x="11589" y="14833"/>
                  <a:pt x="11558" y="14681"/>
                  <a:pt x="11367" y="14692"/>
                </a:cubicBezTo>
                <a:cubicBezTo>
                  <a:pt x="11210" y="14704"/>
                  <a:pt x="11367" y="14821"/>
                  <a:pt x="11273" y="14880"/>
                </a:cubicBezTo>
                <a:cubicBezTo>
                  <a:pt x="11242" y="14903"/>
                  <a:pt x="11147" y="14856"/>
                  <a:pt x="11052" y="14856"/>
                </a:cubicBezTo>
                <a:cubicBezTo>
                  <a:pt x="10799" y="14868"/>
                  <a:pt x="10516" y="14868"/>
                  <a:pt x="10294" y="14915"/>
                </a:cubicBezTo>
                <a:cubicBezTo>
                  <a:pt x="10231" y="14926"/>
                  <a:pt x="10389" y="14962"/>
                  <a:pt x="10452" y="14985"/>
                </a:cubicBezTo>
                <a:cubicBezTo>
                  <a:pt x="10704" y="15044"/>
                  <a:pt x="11021" y="14950"/>
                  <a:pt x="11210" y="14926"/>
                </a:cubicBezTo>
                <a:cubicBezTo>
                  <a:pt x="11526" y="14915"/>
                  <a:pt x="11841" y="15067"/>
                  <a:pt x="12125" y="15032"/>
                </a:cubicBezTo>
                <a:cubicBezTo>
                  <a:pt x="12252" y="15009"/>
                  <a:pt x="11873" y="14868"/>
                  <a:pt x="12031" y="14880"/>
                </a:cubicBezTo>
                <a:cubicBezTo>
                  <a:pt x="12221" y="14880"/>
                  <a:pt x="12284" y="15009"/>
                  <a:pt x="12473" y="15044"/>
                </a:cubicBezTo>
                <a:cubicBezTo>
                  <a:pt x="12663" y="15067"/>
                  <a:pt x="12946" y="14985"/>
                  <a:pt x="13104" y="15044"/>
                </a:cubicBezTo>
                <a:cubicBezTo>
                  <a:pt x="13199" y="15079"/>
                  <a:pt x="12852" y="15149"/>
                  <a:pt x="12915" y="15208"/>
                </a:cubicBezTo>
                <a:cubicBezTo>
                  <a:pt x="12978" y="15243"/>
                  <a:pt x="13231" y="15219"/>
                  <a:pt x="13325" y="15184"/>
                </a:cubicBezTo>
                <a:cubicBezTo>
                  <a:pt x="13389" y="15161"/>
                  <a:pt x="13136" y="15102"/>
                  <a:pt x="13199" y="15090"/>
                </a:cubicBezTo>
                <a:cubicBezTo>
                  <a:pt x="13357" y="15067"/>
                  <a:pt x="13484" y="15137"/>
                  <a:pt x="13610" y="15149"/>
                </a:cubicBezTo>
                <a:cubicBezTo>
                  <a:pt x="13863" y="15172"/>
                  <a:pt x="14083" y="15231"/>
                  <a:pt x="14305" y="15196"/>
                </a:cubicBezTo>
                <a:cubicBezTo>
                  <a:pt x="14462" y="15172"/>
                  <a:pt x="14336" y="15044"/>
                  <a:pt x="14462" y="15009"/>
                </a:cubicBezTo>
                <a:cubicBezTo>
                  <a:pt x="14620" y="14973"/>
                  <a:pt x="14841" y="15044"/>
                  <a:pt x="15000" y="15009"/>
                </a:cubicBezTo>
                <a:cubicBezTo>
                  <a:pt x="15221" y="14973"/>
                  <a:pt x="15252" y="14821"/>
                  <a:pt x="15504" y="14810"/>
                </a:cubicBezTo>
                <a:cubicBezTo>
                  <a:pt x="15694" y="14798"/>
                  <a:pt x="16010" y="14915"/>
                  <a:pt x="15915" y="14973"/>
                </a:cubicBezTo>
                <a:cubicBezTo>
                  <a:pt x="15757" y="15055"/>
                  <a:pt x="15378" y="14973"/>
                  <a:pt x="15126" y="15009"/>
                </a:cubicBezTo>
                <a:cubicBezTo>
                  <a:pt x="15094" y="15009"/>
                  <a:pt x="15189" y="15044"/>
                  <a:pt x="15221" y="15055"/>
                </a:cubicBezTo>
                <a:cubicBezTo>
                  <a:pt x="15315" y="15126"/>
                  <a:pt x="15504" y="15196"/>
                  <a:pt x="15504" y="15278"/>
                </a:cubicBezTo>
                <a:cubicBezTo>
                  <a:pt x="15536" y="15301"/>
                  <a:pt x="15347" y="15266"/>
                  <a:pt x="15283" y="15290"/>
                </a:cubicBezTo>
                <a:cubicBezTo>
                  <a:pt x="15063" y="15336"/>
                  <a:pt x="14810" y="15383"/>
                  <a:pt x="14684" y="15465"/>
                </a:cubicBezTo>
                <a:cubicBezTo>
                  <a:pt x="14557" y="15547"/>
                  <a:pt x="14652" y="15653"/>
                  <a:pt x="14557" y="15734"/>
                </a:cubicBezTo>
                <a:cubicBezTo>
                  <a:pt x="14494" y="15781"/>
                  <a:pt x="14400" y="15559"/>
                  <a:pt x="14242" y="15582"/>
                </a:cubicBezTo>
                <a:cubicBezTo>
                  <a:pt x="14147" y="15606"/>
                  <a:pt x="14400" y="15734"/>
                  <a:pt x="14305" y="15711"/>
                </a:cubicBezTo>
                <a:cubicBezTo>
                  <a:pt x="13988" y="15664"/>
                  <a:pt x="14430" y="15266"/>
                  <a:pt x="13925" y="15290"/>
                </a:cubicBezTo>
                <a:cubicBezTo>
                  <a:pt x="13925" y="15290"/>
                  <a:pt x="14021" y="15805"/>
                  <a:pt x="13452" y="15957"/>
                </a:cubicBezTo>
                <a:cubicBezTo>
                  <a:pt x="13262" y="16004"/>
                  <a:pt x="12978" y="15969"/>
                  <a:pt x="12757" y="15980"/>
                </a:cubicBezTo>
                <a:cubicBezTo>
                  <a:pt x="12663" y="15992"/>
                  <a:pt x="13010" y="16015"/>
                  <a:pt x="13010" y="16050"/>
                </a:cubicBezTo>
                <a:cubicBezTo>
                  <a:pt x="13136" y="16191"/>
                  <a:pt x="12663" y="16097"/>
                  <a:pt x="12599" y="16121"/>
                </a:cubicBezTo>
                <a:cubicBezTo>
                  <a:pt x="12536" y="16132"/>
                  <a:pt x="12788" y="16132"/>
                  <a:pt x="12788" y="16168"/>
                </a:cubicBezTo>
                <a:cubicBezTo>
                  <a:pt x="12821" y="16179"/>
                  <a:pt x="12694" y="16156"/>
                  <a:pt x="12631" y="16168"/>
                </a:cubicBezTo>
                <a:cubicBezTo>
                  <a:pt x="12599" y="16179"/>
                  <a:pt x="12568" y="16203"/>
                  <a:pt x="12536" y="16203"/>
                </a:cubicBezTo>
                <a:cubicBezTo>
                  <a:pt x="12473" y="16203"/>
                  <a:pt x="10863" y="16121"/>
                  <a:pt x="10989" y="16226"/>
                </a:cubicBezTo>
                <a:cubicBezTo>
                  <a:pt x="11021" y="16250"/>
                  <a:pt x="11115" y="16250"/>
                  <a:pt x="11210" y="16250"/>
                </a:cubicBezTo>
                <a:cubicBezTo>
                  <a:pt x="11242" y="16250"/>
                  <a:pt x="11273" y="16214"/>
                  <a:pt x="11304" y="16214"/>
                </a:cubicBezTo>
                <a:cubicBezTo>
                  <a:pt x="11367" y="16226"/>
                  <a:pt x="11367" y="16296"/>
                  <a:pt x="11463" y="16285"/>
                </a:cubicBezTo>
                <a:cubicBezTo>
                  <a:pt x="11526" y="16285"/>
                  <a:pt x="11431" y="16214"/>
                  <a:pt x="11526" y="16214"/>
                </a:cubicBezTo>
                <a:cubicBezTo>
                  <a:pt x="12031" y="16168"/>
                  <a:pt x="12441" y="16214"/>
                  <a:pt x="12663" y="16402"/>
                </a:cubicBezTo>
                <a:cubicBezTo>
                  <a:pt x="12663" y="16425"/>
                  <a:pt x="12505" y="16390"/>
                  <a:pt x="12473" y="16402"/>
                </a:cubicBezTo>
                <a:cubicBezTo>
                  <a:pt x="12347" y="16448"/>
                  <a:pt x="12631" y="16519"/>
                  <a:pt x="12284" y="16519"/>
                </a:cubicBezTo>
                <a:cubicBezTo>
                  <a:pt x="12031" y="16519"/>
                  <a:pt x="11716" y="16390"/>
                  <a:pt x="11558" y="16460"/>
                </a:cubicBezTo>
                <a:cubicBezTo>
                  <a:pt x="11399" y="16530"/>
                  <a:pt x="12031" y="16495"/>
                  <a:pt x="12221" y="16542"/>
                </a:cubicBezTo>
                <a:cubicBezTo>
                  <a:pt x="12347" y="16577"/>
                  <a:pt x="12599" y="16788"/>
                  <a:pt x="12505" y="16847"/>
                </a:cubicBezTo>
                <a:cubicBezTo>
                  <a:pt x="12441" y="16894"/>
                  <a:pt x="12125" y="16811"/>
                  <a:pt x="12094" y="16858"/>
                </a:cubicBezTo>
                <a:cubicBezTo>
                  <a:pt x="12062" y="16917"/>
                  <a:pt x="12757" y="17233"/>
                  <a:pt x="12536" y="17338"/>
                </a:cubicBezTo>
                <a:cubicBezTo>
                  <a:pt x="12379" y="17408"/>
                  <a:pt x="12000" y="17303"/>
                  <a:pt x="11779" y="17338"/>
                </a:cubicBezTo>
                <a:cubicBezTo>
                  <a:pt x="11684" y="17338"/>
                  <a:pt x="11810" y="17385"/>
                  <a:pt x="11873" y="17408"/>
                </a:cubicBezTo>
                <a:cubicBezTo>
                  <a:pt x="12000" y="17467"/>
                  <a:pt x="12505" y="17526"/>
                  <a:pt x="12505" y="17619"/>
                </a:cubicBezTo>
                <a:cubicBezTo>
                  <a:pt x="12505" y="17701"/>
                  <a:pt x="12094" y="17748"/>
                  <a:pt x="12125" y="17842"/>
                </a:cubicBezTo>
                <a:cubicBezTo>
                  <a:pt x="12125" y="17912"/>
                  <a:pt x="12441" y="17912"/>
                  <a:pt x="12568" y="17971"/>
                </a:cubicBezTo>
                <a:cubicBezTo>
                  <a:pt x="12599" y="17994"/>
                  <a:pt x="12441" y="17994"/>
                  <a:pt x="12410" y="18006"/>
                </a:cubicBezTo>
                <a:cubicBezTo>
                  <a:pt x="12284" y="18088"/>
                  <a:pt x="12157" y="18181"/>
                  <a:pt x="12125" y="18275"/>
                </a:cubicBezTo>
                <a:cubicBezTo>
                  <a:pt x="12062" y="18345"/>
                  <a:pt x="12505" y="18603"/>
                  <a:pt x="12473" y="18626"/>
                </a:cubicBezTo>
                <a:cubicBezTo>
                  <a:pt x="12410" y="18650"/>
                  <a:pt x="12252" y="18603"/>
                  <a:pt x="12157" y="18638"/>
                </a:cubicBezTo>
                <a:cubicBezTo>
                  <a:pt x="11905" y="18731"/>
                  <a:pt x="12441" y="18919"/>
                  <a:pt x="12347" y="19071"/>
                </a:cubicBezTo>
                <a:cubicBezTo>
                  <a:pt x="12347" y="19106"/>
                  <a:pt x="12094" y="19071"/>
                  <a:pt x="12062" y="19106"/>
                </a:cubicBezTo>
                <a:cubicBezTo>
                  <a:pt x="12000" y="19141"/>
                  <a:pt x="12221" y="19188"/>
                  <a:pt x="12157" y="19223"/>
                </a:cubicBezTo>
                <a:cubicBezTo>
                  <a:pt x="11810" y="19610"/>
                  <a:pt x="11968" y="18942"/>
                  <a:pt x="11810" y="19340"/>
                </a:cubicBezTo>
                <a:cubicBezTo>
                  <a:pt x="11716" y="19586"/>
                  <a:pt x="11684" y="19972"/>
                  <a:pt x="11147" y="20160"/>
                </a:cubicBezTo>
                <a:cubicBezTo>
                  <a:pt x="11115" y="20171"/>
                  <a:pt x="11021" y="20160"/>
                  <a:pt x="10989" y="20136"/>
                </a:cubicBezTo>
                <a:cubicBezTo>
                  <a:pt x="10989" y="20113"/>
                  <a:pt x="11083" y="20089"/>
                  <a:pt x="11052" y="20066"/>
                </a:cubicBezTo>
                <a:cubicBezTo>
                  <a:pt x="11052" y="20031"/>
                  <a:pt x="10516" y="20054"/>
                  <a:pt x="10516" y="20054"/>
                </a:cubicBezTo>
                <a:cubicBezTo>
                  <a:pt x="10484" y="20043"/>
                  <a:pt x="10578" y="19996"/>
                  <a:pt x="10547" y="19996"/>
                </a:cubicBezTo>
                <a:cubicBezTo>
                  <a:pt x="10231" y="20008"/>
                  <a:pt x="10200" y="20066"/>
                  <a:pt x="10041" y="20124"/>
                </a:cubicBezTo>
                <a:cubicBezTo>
                  <a:pt x="9758" y="20207"/>
                  <a:pt x="9947" y="20031"/>
                  <a:pt x="9852" y="20043"/>
                </a:cubicBezTo>
                <a:cubicBezTo>
                  <a:pt x="9630" y="20089"/>
                  <a:pt x="9347" y="20113"/>
                  <a:pt x="9284" y="20113"/>
                </a:cubicBezTo>
                <a:cubicBezTo>
                  <a:pt x="9126" y="20124"/>
                  <a:pt x="9000" y="20101"/>
                  <a:pt x="8841" y="20101"/>
                </a:cubicBezTo>
                <a:cubicBezTo>
                  <a:pt x="8715" y="20101"/>
                  <a:pt x="8526" y="20066"/>
                  <a:pt x="8494" y="20113"/>
                </a:cubicBezTo>
                <a:cubicBezTo>
                  <a:pt x="8431" y="20183"/>
                  <a:pt x="8778" y="20253"/>
                  <a:pt x="8683" y="20312"/>
                </a:cubicBezTo>
                <a:cubicBezTo>
                  <a:pt x="8526" y="20370"/>
                  <a:pt x="8242" y="20300"/>
                  <a:pt x="8021" y="20324"/>
                </a:cubicBezTo>
                <a:cubicBezTo>
                  <a:pt x="7831" y="20347"/>
                  <a:pt x="7799" y="20429"/>
                  <a:pt x="7705" y="20487"/>
                </a:cubicBezTo>
                <a:cubicBezTo>
                  <a:pt x="6884" y="20932"/>
                  <a:pt x="7926" y="20792"/>
                  <a:pt x="7895" y="21096"/>
                </a:cubicBezTo>
                <a:cubicBezTo>
                  <a:pt x="7863" y="21190"/>
                  <a:pt x="7705" y="21272"/>
                  <a:pt x="7515" y="21342"/>
                </a:cubicBezTo>
                <a:cubicBezTo>
                  <a:pt x="7358" y="21401"/>
                  <a:pt x="6852" y="21284"/>
                  <a:pt x="6757" y="21284"/>
                </a:cubicBezTo>
                <a:cubicBezTo>
                  <a:pt x="6000" y="21260"/>
                  <a:pt x="6221" y="21459"/>
                  <a:pt x="5431" y="21459"/>
                </a:cubicBezTo>
                <a:cubicBezTo>
                  <a:pt x="5179" y="21459"/>
                  <a:pt x="4957" y="21401"/>
                  <a:pt x="4737" y="21389"/>
                </a:cubicBezTo>
                <a:cubicBezTo>
                  <a:pt x="4610" y="21389"/>
                  <a:pt x="4420" y="21424"/>
                  <a:pt x="4294" y="21401"/>
                </a:cubicBezTo>
                <a:cubicBezTo>
                  <a:pt x="4073" y="21354"/>
                  <a:pt x="4642" y="21319"/>
                  <a:pt x="4642" y="21319"/>
                </a:cubicBezTo>
                <a:cubicBezTo>
                  <a:pt x="4642" y="21248"/>
                  <a:pt x="4452" y="21190"/>
                  <a:pt x="4483" y="21120"/>
                </a:cubicBezTo>
                <a:cubicBezTo>
                  <a:pt x="4483" y="21049"/>
                  <a:pt x="4737" y="21014"/>
                  <a:pt x="4800" y="20956"/>
                </a:cubicBezTo>
                <a:cubicBezTo>
                  <a:pt x="4800" y="20956"/>
                  <a:pt x="4231" y="20663"/>
                  <a:pt x="3789" y="20406"/>
                </a:cubicBezTo>
                <a:cubicBezTo>
                  <a:pt x="3757" y="20452"/>
                  <a:pt x="3600" y="20499"/>
                  <a:pt x="3600" y="20558"/>
                </a:cubicBezTo>
                <a:cubicBezTo>
                  <a:pt x="3631" y="20804"/>
                  <a:pt x="4263" y="20780"/>
                  <a:pt x="3568" y="21014"/>
                </a:cubicBezTo>
                <a:cubicBezTo>
                  <a:pt x="3568" y="21026"/>
                  <a:pt x="3568" y="21026"/>
                  <a:pt x="3537" y="21026"/>
                </a:cubicBezTo>
                <a:close/>
                <a:moveTo>
                  <a:pt x="2905" y="21178"/>
                </a:moveTo>
                <a:lnTo>
                  <a:pt x="2905" y="21178"/>
                </a:lnTo>
                <a:cubicBezTo>
                  <a:pt x="2905" y="21178"/>
                  <a:pt x="2905" y="21178"/>
                  <a:pt x="2905" y="21178"/>
                </a:cubicBezTo>
                <a:close/>
                <a:moveTo>
                  <a:pt x="8242" y="16027"/>
                </a:moveTo>
                <a:cubicBezTo>
                  <a:pt x="8305" y="16250"/>
                  <a:pt x="8526" y="16425"/>
                  <a:pt x="8052" y="16601"/>
                </a:cubicBezTo>
                <a:cubicBezTo>
                  <a:pt x="7957" y="16636"/>
                  <a:pt x="7831" y="16659"/>
                  <a:pt x="7768" y="16706"/>
                </a:cubicBezTo>
                <a:cubicBezTo>
                  <a:pt x="7610" y="16835"/>
                  <a:pt x="7641" y="16987"/>
                  <a:pt x="7515" y="17127"/>
                </a:cubicBezTo>
                <a:lnTo>
                  <a:pt x="7105" y="17467"/>
                </a:lnTo>
                <a:cubicBezTo>
                  <a:pt x="6283" y="17362"/>
                  <a:pt x="7515" y="16179"/>
                  <a:pt x="8242" y="16027"/>
                </a:cubicBezTo>
                <a:close/>
                <a:moveTo>
                  <a:pt x="6252" y="15325"/>
                </a:moveTo>
                <a:cubicBezTo>
                  <a:pt x="6283" y="15770"/>
                  <a:pt x="6283" y="16027"/>
                  <a:pt x="5336" y="16320"/>
                </a:cubicBezTo>
                <a:cubicBezTo>
                  <a:pt x="5115" y="16390"/>
                  <a:pt x="4989" y="16484"/>
                  <a:pt x="4737" y="16519"/>
                </a:cubicBezTo>
                <a:cubicBezTo>
                  <a:pt x="4516" y="16530"/>
                  <a:pt x="4294" y="16437"/>
                  <a:pt x="4073" y="16448"/>
                </a:cubicBezTo>
                <a:cubicBezTo>
                  <a:pt x="3726" y="16472"/>
                  <a:pt x="3600" y="16952"/>
                  <a:pt x="2936" y="16800"/>
                </a:cubicBezTo>
                <a:cubicBezTo>
                  <a:pt x="2747" y="16765"/>
                  <a:pt x="3284" y="16566"/>
                  <a:pt x="3284" y="16413"/>
                </a:cubicBezTo>
                <a:cubicBezTo>
                  <a:pt x="3284" y="16331"/>
                  <a:pt x="2557" y="15816"/>
                  <a:pt x="3473" y="15770"/>
                </a:cubicBezTo>
                <a:cubicBezTo>
                  <a:pt x="3694" y="15758"/>
                  <a:pt x="3915" y="15875"/>
                  <a:pt x="4104" y="15828"/>
                </a:cubicBezTo>
                <a:lnTo>
                  <a:pt x="4263" y="15395"/>
                </a:lnTo>
                <a:cubicBezTo>
                  <a:pt x="4768" y="15149"/>
                  <a:pt x="5683" y="15243"/>
                  <a:pt x="6252" y="15325"/>
                </a:cubicBezTo>
                <a:close/>
                <a:moveTo>
                  <a:pt x="3410" y="21565"/>
                </a:moveTo>
                <a:cubicBezTo>
                  <a:pt x="3473" y="21494"/>
                  <a:pt x="3346" y="21459"/>
                  <a:pt x="3158" y="21424"/>
                </a:cubicBezTo>
                <a:lnTo>
                  <a:pt x="3031" y="21307"/>
                </a:lnTo>
                <a:cubicBezTo>
                  <a:pt x="3284" y="21366"/>
                  <a:pt x="3694" y="21401"/>
                  <a:pt x="3568" y="21506"/>
                </a:cubicBezTo>
                <a:cubicBezTo>
                  <a:pt x="3568" y="21529"/>
                  <a:pt x="3505" y="21553"/>
                  <a:pt x="3410" y="21565"/>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70" name="AutoShape 38"/>
          <p:cNvSpPr>
            <a:spLocks/>
          </p:cNvSpPr>
          <p:nvPr/>
        </p:nvSpPr>
        <p:spPr bwMode="auto">
          <a:xfrm>
            <a:off x="19177000" y="889000"/>
            <a:ext cx="2009775" cy="3646488"/>
          </a:xfrm>
          <a:custGeom>
            <a:avLst/>
            <a:gdLst>
              <a:gd name="T0" fmla="+- 0 10787 28"/>
              <a:gd name="T1" fmla="*/ T0 w 21518"/>
              <a:gd name="T2" fmla="*/ 10787 h 21574"/>
              <a:gd name="T3" fmla="+- 0 10787 28"/>
              <a:gd name="T4" fmla="*/ T3 w 21518"/>
              <a:gd name="T5" fmla="*/ 10787 h 21574"/>
              <a:gd name="T6" fmla="+- 0 10787 28"/>
              <a:gd name="T7" fmla="*/ T6 w 21518"/>
              <a:gd name="T8" fmla="*/ 10787 h 21574"/>
              <a:gd name="T9" fmla="+- 0 10787 28"/>
              <a:gd name="T10" fmla="*/ T9 w 21518"/>
              <a:gd name="T11" fmla="*/ 10787 h 21574"/>
            </a:gdLst>
            <a:ahLst/>
            <a:cxnLst>
              <a:cxn ang="0">
                <a:pos x="T1" y="T2"/>
              </a:cxn>
              <a:cxn ang="0">
                <a:pos x="T4" y="T5"/>
              </a:cxn>
              <a:cxn ang="0">
                <a:pos x="T7" y="T8"/>
              </a:cxn>
              <a:cxn ang="0">
                <a:pos x="T10" y="T11"/>
              </a:cxn>
            </a:cxnLst>
            <a:rect l="0" t="0" r="r" b="b"/>
            <a:pathLst>
              <a:path w="21518" h="21574">
                <a:moveTo>
                  <a:pt x="12120" y="14321"/>
                </a:moveTo>
                <a:cubicBezTo>
                  <a:pt x="12205" y="14399"/>
                  <a:pt x="12290" y="14462"/>
                  <a:pt x="12375" y="14541"/>
                </a:cubicBezTo>
                <a:cubicBezTo>
                  <a:pt x="12460" y="14603"/>
                  <a:pt x="12545" y="14698"/>
                  <a:pt x="12659" y="14745"/>
                </a:cubicBezTo>
                <a:cubicBezTo>
                  <a:pt x="12829" y="14823"/>
                  <a:pt x="13226" y="14807"/>
                  <a:pt x="13226" y="14917"/>
                </a:cubicBezTo>
                <a:cubicBezTo>
                  <a:pt x="13226" y="15027"/>
                  <a:pt x="12857" y="14792"/>
                  <a:pt x="12659" y="14823"/>
                </a:cubicBezTo>
                <a:cubicBezTo>
                  <a:pt x="12233" y="14886"/>
                  <a:pt x="12602" y="15686"/>
                  <a:pt x="12886" y="15717"/>
                </a:cubicBezTo>
                <a:lnTo>
                  <a:pt x="13084" y="15262"/>
                </a:lnTo>
                <a:cubicBezTo>
                  <a:pt x="13226" y="15184"/>
                  <a:pt x="13510" y="15246"/>
                  <a:pt x="13567" y="15152"/>
                </a:cubicBezTo>
                <a:cubicBezTo>
                  <a:pt x="13596" y="15137"/>
                  <a:pt x="12545" y="14525"/>
                  <a:pt x="13084" y="14478"/>
                </a:cubicBezTo>
                <a:cubicBezTo>
                  <a:pt x="13311" y="14462"/>
                  <a:pt x="13454" y="14698"/>
                  <a:pt x="13680" y="14682"/>
                </a:cubicBezTo>
                <a:cubicBezTo>
                  <a:pt x="13680" y="14682"/>
                  <a:pt x="13851" y="14227"/>
                  <a:pt x="13879" y="14227"/>
                </a:cubicBezTo>
                <a:cubicBezTo>
                  <a:pt x="14021" y="14211"/>
                  <a:pt x="14078" y="14352"/>
                  <a:pt x="14164" y="14415"/>
                </a:cubicBezTo>
                <a:cubicBezTo>
                  <a:pt x="14276" y="14478"/>
                  <a:pt x="14532" y="14525"/>
                  <a:pt x="14476" y="14603"/>
                </a:cubicBezTo>
                <a:cubicBezTo>
                  <a:pt x="14390" y="14698"/>
                  <a:pt x="14049" y="14603"/>
                  <a:pt x="13965" y="14682"/>
                </a:cubicBezTo>
                <a:cubicBezTo>
                  <a:pt x="13879" y="14760"/>
                  <a:pt x="13993" y="14870"/>
                  <a:pt x="14021" y="14980"/>
                </a:cubicBezTo>
                <a:cubicBezTo>
                  <a:pt x="14049" y="15074"/>
                  <a:pt x="14078" y="15168"/>
                  <a:pt x="14078" y="15262"/>
                </a:cubicBezTo>
                <a:lnTo>
                  <a:pt x="13766" y="15623"/>
                </a:lnTo>
                <a:cubicBezTo>
                  <a:pt x="13510" y="15654"/>
                  <a:pt x="13369" y="15246"/>
                  <a:pt x="13198" y="15356"/>
                </a:cubicBezTo>
                <a:cubicBezTo>
                  <a:pt x="13084" y="15435"/>
                  <a:pt x="13226" y="15545"/>
                  <a:pt x="13226" y="15654"/>
                </a:cubicBezTo>
                <a:cubicBezTo>
                  <a:pt x="13255" y="15749"/>
                  <a:pt x="13340" y="15843"/>
                  <a:pt x="13283" y="15937"/>
                </a:cubicBezTo>
                <a:cubicBezTo>
                  <a:pt x="13198" y="16125"/>
                  <a:pt x="12602" y="16423"/>
                  <a:pt x="12602" y="16627"/>
                </a:cubicBezTo>
                <a:cubicBezTo>
                  <a:pt x="12602" y="16909"/>
                  <a:pt x="12914" y="17270"/>
                  <a:pt x="12999" y="17537"/>
                </a:cubicBezTo>
                <a:cubicBezTo>
                  <a:pt x="13028" y="17646"/>
                  <a:pt x="12943" y="17772"/>
                  <a:pt x="13084" y="17851"/>
                </a:cubicBezTo>
                <a:cubicBezTo>
                  <a:pt x="13198" y="17929"/>
                  <a:pt x="13454" y="17992"/>
                  <a:pt x="13652" y="17976"/>
                </a:cubicBezTo>
                <a:cubicBezTo>
                  <a:pt x="13851" y="17976"/>
                  <a:pt x="13965" y="17772"/>
                  <a:pt x="14135" y="17819"/>
                </a:cubicBezTo>
                <a:lnTo>
                  <a:pt x="14361" y="18415"/>
                </a:lnTo>
                <a:cubicBezTo>
                  <a:pt x="13795" y="18886"/>
                  <a:pt x="14305" y="17756"/>
                  <a:pt x="13198" y="18039"/>
                </a:cubicBezTo>
                <a:lnTo>
                  <a:pt x="12999" y="18525"/>
                </a:lnTo>
                <a:cubicBezTo>
                  <a:pt x="12744" y="18494"/>
                  <a:pt x="12602" y="17803"/>
                  <a:pt x="12602" y="17693"/>
                </a:cubicBezTo>
                <a:cubicBezTo>
                  <a:pt x="12631" y="17239"/>
                  <a:pt x="12006" y="17176"/>
                  <a:pt x="12034" y="17098"/>
                </a:cubicBezTo>
                <a:cubicBezTo>
                  <a:pt x="12034" y="16972"/>
                  <a:pt x="12318" y="16909"/>
                  <a:pt x="12403" y="16799"/>
                </a:cubicBezTo>
                <a:cubicBezTo>
                  <a:pt x="12545" y="16658"/>
                  <a:pt x="12857" y="16015"/>
                  <a:pt x="12801" y="15858"/>
                </a:cubicBezTo>
                <a:cubicBezTo>
                  <a:pt x="12744" y="15702"/>
                  <a:pt x="12347" y="15607"/>
                  <a:pt x="12261" y="15435"/>
                </a:cubicBezTo>
                <a:cubicBezTo>
                  <a:pt x="12233" y="15403"/>
                  <a:pt x="12233" y="14886"/>
                  <a:pt x="12205" y="14839"/>
                </a:cubicBezTo>
                <a:lnTo>
                  <a:pt x="11637" y="14462"/>
                </a:lnTo>
                <a:cubicBezTo>
                  <a:pt x="11694" y="14368"/>
                  <a:pt x="11949" y="14368"/>
                  <a:pt x="12120" y="14321"/>
                </a:cubicBezTo>
                <a:close/>
                <a:moveTo>
                  <a:pt x="17171" y="17772"/>
                </a:moveTo>
                <a:cubicBezTo>
                  <a:pt x="18506" y="17380"/>
                  <a:pt x="16348" y="17787"/>
                  <a:pt x="15980" y="17552"/>
                </a:cubicBezTo>
                <a:cubicBezTo>
                  <a:pt x="15866" y="17474"/>
                  <a:pt x="15923" y="17349"/>
                  <a:pt x="15866" y="17254"/>
                </a:cubicBezTo>
                <a:cubicBezTo>
                  <a:pt x="15837" y="17145"/>
                  <a:pt x="15639" y="17019"/>
                  <a:pt x="15781" y="16941"/>
                </a:cubicBezTo>
                <a:cubicBezTo>
                  <a:pt x="15895" y="16862"/>
                  <a:pt x="16178" y="17019"/>
                  <a:pt x="16348" y="16972"/>
                </a:cubicBezTo>
                <a:cubicBezTo>
                  <a:pt x="16548" y="16909"/>
                  <a:pt x="16462" y="16674"/>
                  <a:pt x="16689" y="16627"/>
                </a:cubicBezTo>
                <a:cubicBezTo>
                  <a:pt x="16831" y="16611"/>
                  <a:pt x="17144" y="17082"/>
                  <a:pt x="17257" y="17050"/>
                </a:cubicBezTo>
                <a:lnTo>
                  <a:pt x="17313" y="16501"/>
                </a:lnTo>
                <a:cubicBezTo>
                  <a:pt x="17398" y="16391"/>
                  <a:pt x="17540" y="16297"/>
                  <a:pt x="17711" y="16235"/>
                </a:cubicBezTo>
                <a:cubicBezTo>
                  <a:pt x="17853" y="16172"/>
                  <a:pt x="18137" y="16266"/>
                  <a:pt x="18222" y="16188"/>
                </a:cubicBezTo>
                <a:cubicBezTo>
                  <a:pt x="18364" y="16062"/>
                  <a:pt x="17853" y="15984"/>
                  <a:pt x="17626" y="15921"/>
                </a:cubicBezTo>
                <a:cubicBezTo>
                  <a:pt x="17455" y="15858"/>
                  <a:pt x="17257" y="15811"/>
                  <a:pt x="17058" y="15796"/>
                </a:cubicBezTo>
                <a:cubicBezTo>
                  <a:pt x="16888" y="15780"/>
                  <a:pt x="16689" y="15843"/>
                  <a:pt x="16519" y="15811"/>
                </a:cubicBezTo>
                <a:cubicBezTo>
                  <a:pt x="16491" y="15796"/>
                  <a:pt x="15951" y="15388"/>
                  <a:pt x="15951" y="15388"/>
                </a:cubicBezTo>
                <a:cubicBezTo>
                  <a:pt x="15752" y="15341"/>
                  <a:pt x="14873" y="15356"/>
                  <a:pt x="14787" y="15168"/>
                </a:cubicBezTo>
                <a:cubicBezTo>
                  <a:pt x="14760" y="15074"/>
                  <a:pt x="15185" y="15137"/>
                  <a:pt x="15270" y="15058"/>
                </a:cubicBezTo>
                <a:lnTo>
                  <a:pt x="15185" y="14462"/>
                </a:lnTo>
                <a:cubicBezTo>
                  <a:pt x="15015" y="14243"/>
                  <a:pt x="14248" y="14133"/>
                  <a:pt x="14021" y="13882"/>
                </a:cubicBezTo>
                <a:lnTo>
                  <a:pt x="13766" y="13286"/>
                </a:lnTo>
                <a:cubicBezTo>
                  <a:pt x="13624" y="13207"/>
                  <a:pt x="13226" y="13254"/>
                  <a:pt x="13198" y="13145"/>
                </a:cubicBezTo>
                <a:cubicBezTo>
                  <a:pt x="13170" y="12988"/>
                  <a:pt x="13822" y="13239"/>
                  <a:pt x="13993" y="13380"/>
                </a:cubicBezTo>
                <a:cubicBezTo>
                  <a:pt x="14191" y="13553"/>
                  <a:pt x="14419" y="14070"/>
                  <a:pt x="14674" y="14180"/>
                </a:cubicBezTo>
                <a:cubicBezTo>
                  <a:pt x="15441" y="14509"/>
                  <a:pt x="15469" y="13631"/>
                  <a:pt x="16064" y="13866"/>
                </a:cubicBezTo>
                <a:lnTo>
                  <a:pt x="16008" y="14415"/>
                </a:lnTo>
                <a:cubicBezTo>
                  <a:pt x="16178" y="14682"/>
                  <a:pt x="17740" y="14901"/>
                  <a:pt x="17768" y="14964"/>
                </a:cubicBezTo>
                <a:cubicBezTo>
                  <a:pt x="17967" y="15513"/>
                  <a:pt x="16774" y="14760"/>
                  <a:pt x="16689" y="14776"/>
                </a:cubicBezTo>
                <a:cubicBezTo>
                  <a:pt x="16689" y="14776"/>
                  <a:pt x="16378" y="15152"/>
                  <a:pt x="16378" y="15137"/>
                </a:cubicBezTo>
                <a:cubicBezTo>
                  <a:pt x="16348" y="15137"/>
                  <a:pt x="15781" y="14133"/>
                  <a:pt x="15497" y="14776"/>
                </a:cubicBezTo>
                <a:cubicBezTo>
                  <a:pt x="15412" y="14933"/>
                  <a:pt x="16661" y="15623"/>
                  <a:pt x="17171" y="15451"/>
                </a:cubicBezTo>
                <a:cubicBezTo>
                  <a:pt x="17371" y="15388"/>
                  <a:pt x="17229" y="15090"/>
                  <a:pt x="17455" y="15090"/>
                </a:cubicBezTo>
                <a:cubicBezTo>
                  <a:pt x="17598" y="15074"/>
                  <a:pt x="17654" y="15200"/>
                  <a:pt x="17768" y="15262"/>
                </a:cubicBezTo>
                <a:cubicBezTo>
                  <a:pt x="17853" y="15309"/>
                  <a:pt x="18137" y="15356"/>
                  <a:pt x="18051" y="15419"/>
                </a:cubicBezTo>
                <a:cubicBezTo>
                  <a:pt x="17967" y="15513"/>
                  <a:pt x="17484" y="15372"/>
                  <a:pt x="17540" y="15466"/>
                </a:cubicBezTo>
                <a:cubicBezTo>
                  <a:pt x="17598" y="15560"/>
                  <a:pt x="17910" y="15498"/>
                  <a:pt x="18108" y="15482"/>
                </a:cubicBezTo>
                <a:cubicBezTo>
                  <a:pt x="19357" y="15372"/>
                  <a:pt x="17881" y="15027"/>
                  <a:pt x="18336" y="14760"/>
                </a:cubicBezTo>
                <a:cubicBezTo>
                  <a:pt x="18477" y="14698"/>
                  <a:pt x="18733" y="14839"/>
                  <a:pt x="18903" y="14823"/>
                </a:cubicBezTo>
                <a:cubicBezTo>
                  <a:pt x="19102" y="14792"/>
                  <a:pt x="19271" y="14541"/>
                  <a:pt x="19357" y="14635"/>
                </a:cubicBezTo>
                <a:cubicBezTo>
                  <a:pt x="19443" y="14745"/>
                  <a:pt x="19017" y="14823"/>
                  <a:pt x="19017" y="14948"/>
                </a:cubicBezTo>
                <a:cubicBezTo>
                  <a:pt x="19017" y="15090"/>
                  <a:pt x="19726" y="15074"/>
                  <a:pt x="19641" y="15200"/>
                </a:cubicBezTo>
                <a:cubicBezTo>
                  <a:pt x="19584" y="15294"/>
                  <a:pt x="19215" y="15231"/>
                  <a:pt x="19159" y="15325"/>
                </a:cubicBezTo>
                <a:lnTo>
                  <a:pt x="19698" y="15764"/>
                </a:lnTo>
                <a:cubicBezTo>
                  <a:pt x="19698" y="15890"/>
                  <a:pt x="19471" y="15968"/>
                  <a:pt x="19357" y="16078"/>
                </a:cubicBezTo>
                <a:lnTo>
                  <a:pt x="19130" y="16470"/>
                </a:lnTo>
                <a:cubicBezTo>
                  <a:pt x="19102" y="16486"/>
                  <a:pt x="18080" y="16564"/>
                  <a:pt x="18051" y="16564"/>
                </a:cubicBezTo>
                <a:cubicBezTo>
                  <a:pt x="17994" y="16596"/>
                  <a:pt x="18307" y="16549"/>
                  <a:pt x="18336" y="16596"/>
                </a:cubicBezTo>
                <a:cubicBezTo>
                  <a:pt x="18421" y="16752"/>
                  <a:pt x="17967" y="16941"/>
                  <a:pt x="18137" y="17066"/>
                </a:cubicBezTo>
                <a:cubicBezTo>
                  <a:pt x="18279" y="17160"/>
                  <a:pt x="18620" y="17113"/>
                  <a:pt x="18733" y="17223"/>
                </a:cubicBezTo>
                <a:cubicBezTo>
                  <a:pt x="18875" y="17317"/>
                  <a:pt x="17938" y="18039"/>
                  <a:pt x="17171" y="17772"/>
                </a:cubicBezTo>
                <a:close/>
                <a:moveTo>
                  <a:pt x="17711" y="18948"/>
                </a:moveTo>
                <a:cubicBezTo>
                  <a:pt x="17881" y="18588"/>
                  <a:pt x="18421" y="18211"/>
                  <a:pt x="18761" y="17898"/>
                </a:cubicBezTo>
                <a:cubicBezTo>
                  <a:pt x="19641" y="17035"/>
                  <a:pt x="20180" y="16046"/>
                  <a:pt x="20776" y="15121"/>
                </a:cubicBezTo>
                <a:cubicBezTo>
                  <a:pt x="21230" y="14447"/>
                  <a:pt x="21372" y="14274"/>
                  <a:pt x="21429" y="13553"/>
                </a:cubicBezTo>
                <a:cubicBezTo>
                  <a:pt x="21458" y="13443"/>
                  <a:pt x="21571" y="13317"/>
                  <a:pt x="21486" y="13207"/>
                </a:cubicBezTo>
                <a:cubicBezTo>
                  <a:pt x="21258" y="12847"/>
                  <a:pt x="18733" y="12329"/>
                  <a:pt x="18080" y="12078"/>
                </a:cubicBezTo>
                <a:cubicBezTo>
                  <a:pt x="17994" y="12047"/>
                  <a:pt x="19017" y="11184"/>
                  <a:pt x="18307" y="10886"/>
                </a:cubicBezTo>
                <a:cubicBezTo>
                  <a:pt x="18051" y="10776"/>
                  <a:pt x="17512" y="10886"/>
                  <a:pt x="17342" y="10729"/>
                </a:cubicBezTo>
                <a:cubicBezTo>
                  <a:pt x="16605" y="10023"/>
                  <a:pt x="17512" y="10352"/>
                  <a:pt x="17285" y="10148"/>
                </a:cubicBezTo>
                <a:cubicBezTo>
                  <a:pt x="16944" y="9866"/>
                  <a:pt x="16576" y="10086"/>
                  <a:pt x="16150" y="9803"/>
                </a:cubicBezTo>
                <a:cubicBezTo>
                  <a:pt x="15781" y="9568"/>
                  <a:pt x="16037" y="9552"/>
                  <a:pt x="16235" y="9333"/>
                </a:cubicBezTo>
                <a:cubicBezTo>
                  <a:pt x="16348" y="9192"/>
                  <a:pt x="15668" y="9192"/>
                  <a:pt x="15668" y="9129"/>
                </a:cubicBezTo>
                <a:cubicBezTo>
                  <a:pt x="15695" y="9019"/>
                  <a:pt x="15695" y="8454"/>
                  <a:pt x="15695" y="8439"/>
                </a:cubicBezTo>
                <a:cubicBezTo>
                  <a:pt x="15099" y="8156"/>
                  <a:pt x="15809" y="8329"/>
                  <a:pt x="15980" y="8219"/>
                </a:cubicBezTo>
                <a:cubicBezTo>
                  <a:pt x="16093" y="8125"/>
                  <a:pt x="15383" y="7560"/>
                  <a:pt x="15299" y="7497"/>
                </a:cubicBezTo>
                <a:cubicBezTo>
                  <a:pt x="14816" y="7137"/>
                  <a:pt x="14276" y="6713"/>
                  <a:pt x="13709" y="6399"/>
                </a:cubicBezTo>
                <a:cubicBezTo>
                  <a:pt x="13624" y="6353"/>
                  <a:pt x="13170" y="6164"/>
                  <a:pt x="13084" y="6070"/>
                </a:cubicBezTo>
                <a:cubicBezTo>
                  <a:pt x="12659" y="5631"/>
                  <a:pt x="14021" y="4517"/>
                  <a:pt x="13482" y="4250"/>
                </a:cubicBezTo>
                <a:cubicBezTo>
                  <a:pt x="13340" y="4156"/>
                  <a:pt x="13084" y="4156"/>
                  <a:pt x="12914" y="4094"/>
                </a:cubicBezTo>
                <a:cubicBezTo>
                  <a:pt x="12602" y="3968"/>
                  <a:pt x="12460" y="3749"/>
                  <a:pt x="12148" y="3639"/>
                </a:cubicBezTo>
                <a:cubicBezTo>
                  <a:pt x="12120" y="3639"/>
                  <a:pt x="11154" y="3560"/>
                  <a:pt x="11126" y="3560"/>
                </a:cubicBezTo>
                <a:cubicBezTo>
                  <a:pt x="10956" y="3482"/>
                  <a:pt x="10899" y="3356"/>
                  <a:pt x="10785" y="3247"/>
                </a:cubicBezTo>
                <a:cubicBezTo>
                  <a:pt x="10161" y="2682"/>
                  <a:pt x="10899" y="2729"/>
                  <a:pt x="10587" y="2321"/>
                </a:cubicBezTo>
                <a:cubicBezTo>
                  <a:pt x="10445" y="2133"/>
                  <a:pt x="9906" y="2305"/>
                  <a:pt x="10019" y="2196"/>
                </a:cubicBezTo>
                <a:cubicBezTo>
                  <a:pt x="10161" y="2054"/>
                  <a:pt x="10360" y="1960"/>
                  <a:pt x="10530" y="1835"/>
                </a:cubicBezTo>
                <a:cubicBezTo>
                  <a:pt x="9622" y="1600"/>
                  <a:pt x="10814" y="1223"/>
                  <a:pt x="10445" y="878"/>
                </a:cubicBezTo>
                <a:cubicBezTo>
                  <a:pt x="9877" y="329"/>
                  <a:pt x="8997" y="533"/>
                  <a:pt x="8260" y="94"/>
                </a:cubicBezTo>
                <a:lnTo>
                  <a:pt x="8231" y="15"/>
                </a:lnTo>
                <a:cubicBezTo>
                  <a:pt x="8202" y="15"/>
                  <a:pt x="8174" y="15"/>
                  <a:pt x="8146" y="31"/>
                </a:cubicBezTo>
                <a:cubicBezTo>
                  <a:pt x="8146" y="15"/>
                  <a:pt x="8117" y="15"/>
                  <a:pt x="8117" y="0"/>
                </a:cubicBezTo>
                <a:lnTo>
                  <a:pt x="8117" y="31"/>
                </a:lnTo>
                <a:cubicBezTo>
                  <a:pt x="7550" y="94"/>
                  <a:pt x="7663" y="454"/>
                  <a:pt x="7181" y="533"/>
                </a:cubicBezTo>
                <a:cubicBezTo>
                  <a:pt x="6755" y="596"/>
                  <a:pt x="6925" y="266"/>
                  <a:pt x="6443" y="564"/>
                </a:cubicBezTo>
                <a:cubicBezTo>
                  <a:pt x="6386" y="611"/>
                  <a:pt x="6443" y="690"/>
                  <a:pt x="6415" y="752"/>
                </a:cubicBezTo>
                <a:cubicBezTo>
                  <a:pt x="6386" y="768"/>
                  <a:pt x="6074" y="1097"/>
                  <a:pt x="6074" y="1113"/>
                </a:cubicBezTo>
                <a:cubicBezTo>
                  <a:pt x="5988" y="1239"/>
                  <a:pt x="6159" y="1646"/>
                  <a:pt x="6187" y="1756"/>
                </a:cubicBezTo>
                <a:cubicBezTo>
                  <a:pt x="6187" y="1803"/>
                  <a:pt x="6130" y="1835"/>
                  <a:pt x="6130" y="1882"/>
                </a:cubicBezTo>
                <a:cubicBezTo>
                  <a:pt x="6130" y="1976"/>
                  <a:pt x="6159" y="2054"/>
                  <a:pt x="6187" y="2149"/>
                </a:cubicBezTo>
                <a:cubicBezTo>
                  <a:pt x="6273" y="2274"/>
                  <a:pt x="6471" y="2368"/>
                  <a:pt x="6500" y="2494"/>
                </a:cubicBezTo>
                <a:cubicBezTo>
                  <a:pt x="6642" y="3043"/>
                  <a:pt x="6386" y="2666"/>
                  <a:pt x="6046" y="2839"/>
                </a:cubicBezTo>
                <a:cubicBezTo>
                  <a:pt x="5648" y="3058"/>
                  <a:pt x="6017" y="3121"/>
                  <a:pt x="5904" y="3388"/>
                </a:cubicBezTo>
                <a:cubicBezTo>
                  <a:pt x="5875" y="3450"/>
                  <a:pt x="5762" y="3482"/>
                  <a:pt x="5733" y="3545"/>
                </a:cubicBezTo>
                <a:cubicBezTo>
                  <a:pt x="5733" y="3560"/>
                  <a:pt x="5364" y="3372"/>
                  <a:pt x="5308" y="3356"/>
                </a:cubicBezTo>
                <a:cubicBezTo>
                  <a:pt x="5222" y="3325"/>
                  <a:pt x="4172" y="3121"/>
                  <a:pt x="4087" y="3184"/>
                </a:cubicBezTo>
                <a:cubicBezTo>
                  <a:pt x="3973" y="3247"/>
                  <a:pt x="4058" y="3372"/>
                  <a:pt x="3973" y="3435"/>
                </a:cubicBezTo>
                <a:cubicBezTo>
                  <a:pt x="3633" y="3764"/>
                  <a:pt x="3179" y="3560"/>
                  <a:pt x="2696" y="3607"/>
                </a:cubicBezTo>
                <a:cubicBezTo>
                  <a:pt x="2554" y="3607"/>
                  <a:pt x="2412" y="3654"/>
                  <a:pt x="2299" y="3639"/>
                </a:cubicBezTo>
                <a:lnTo>
                  <a:pt x="2186" y="3592"/>
                </a:lnTo>
                <a:cubicBezTo>
                  <a:pt x="2129" y="3529"/>
                  <a:pt x="2129" y="3435"/>
                  <a:pt x="2071" y="3372"/>
                </a:cubicBezTo>
                <a:cubicBezTo>
                  <a:pt x="1873" y="3184"/>
                  <a:pt x="1220" y="2698"/>
                  <a:pt x="880" y="2588"/>
                </a:cubicBezTo>
                <a:cubicBezTo>
                  <a:pt x="141" y="2352"/>
                  <a:pt x="113" y="2682"/>
                  <a:pt x="170" y="2933"/>
                </a:cubicBezTo>
                <a:lnTo>
                  <a:pt x="0" y="3262"/>
                </a:lnTo>
                <a:lnTo>
                  <a:pt x="28" y="3262"/>
                </a:lnTo>
                <a:lnTo>
                  <a:pt x="0" y="3278"/>
                </a:lnTo>
                <a:lnTo>
                  <a:pt x="113" y="3356"/>
                </a:lnTo>
                <a:cubicBezTo>
                  <a:pt x="85" y="3388"/>
                  <a:pt x="-28" y="3403"/>
                  <a:pt x="113" y="3450"/>
                </a:cubicBezTo>
                <a:cubicBezTo>
                  <a:pt x="596" y="3654"/>
                  <a:pt x="1419" y="4031"/>
                  <a:pt x="1930" y="4156"/>
                </a:cubicBezTo>
                <a:cubicBezTo>
                  <a:pt x="2526" y="4297"/>
                  <a:pt x="3009" y="4172"/>
                  <a:pt x="3547" y="4470"/>
                </a:cubicBezTo>
                <a:cubicBezTo>
                  <a:pt x="3662" y="4517"/>
                  <a:pt x="3576" y="4658"/>
                  <a:pt x="3690" y="4690"/>
                </a:cubicBezTo>
                <a:cubicBezTo>
                  <a:pt x="3775" y="4705"/>
                  <a:pt x="3831" y="4627"/>
                  <a:pt x="3888" y="4642"/>
                </a:cubicBezTo>
                <a:cubicBezTo>
                  <a:pt x="4115" y="4690"/>
                  <a:pt x="4200" y="4847"/>
                  <a:pt x="4371" y="4941"/>
                </a:cubicBezTo>
                <a:cubicBezTo>
                  <a:pt x="4427" y="4972"/>
                  <a:pt x="4598" y="4972"/>
                  <a:pt x="4570" y="5019"/>
                </a:cubicBezTo>
                <a:cubicBezTo>
                  <a:pt x="4257" y="5348"/>
                  <a:pt x="4598" y="5364"/>
                  <a:pt x="4683" y="5741"/>
                </a:cubicBezTo>
                <a:cubicBezTo>
                  <a:pt x="4712" y="5803"/>
                  <a:pt x="4598" y="5866"/>
                  <a:pt x="4598" y="5929"/>
                </a:cubicBezTo>
                <a:cubicBezTo>
                  <a:pt x="4570" y="5945"/>
                  <a:pt x="4570" y="5945"/>
                  <a:pt x="4570" y="5945"/>
                </a:cubicBezTo>
                <a:cubicBezTo>
                  <a:pt x="4570" y="6102"/>
                  <a:pt x="4995" y="5976"/>
                  <a:pt x="5109" y="6039"/>
                </a:cubicBezTo>
                <a:cubicBezTo>
                  <a:pt x="5478" y="6196"/>
                  <a:pt x="4881" y="6415"/>
                  <a:pt x="5052" y="6572"/>
                </a:cubicBezTo>
                <a:cubicBezTo>
                  <a:pt x="5222" y="6792"/>
                  <a:pt x="5904" y="6996"/>
                  <a:pt x="5960" y="7247"/>
                </a:cubicBezTo>
                <a:cubicBezTo>
                  <a:pt x="5988" y="7435"/>
                  <a:pt x="5733" y="8031"/>
                  <a:pt x="5762" y="8109"/>
                </a:cubicBezTo>
                <a:cubicBezTo>
                  <a:pt x="6017" y="8611"/>
                  <a:pt x="6642" y="8784"/>
                  <a:pt x="6982" y="9192"/>
                </a:cubicBezTo>
                <a:cubicBezTo>
                  <a:pt x="7096" y="9082"/>
                  <a:pt x="7238" y="8988"/>
                  <a:pt x="7635" y="9113"/>
                </a:cubicBezTo>
                <a:cubicBezTo>
                  <a:pt x="7833" y="9176"/>
                  <a:pt x="7720" y="9396"/>
                  <a:pt x="7919" y="9458"/>
                </a:cubicBezTo>
                <a:cubicBezTo>
                  <a:pt x="8089" y="9521"/>
                  <a:pt x="8316" y="9396"/>
                  <a:pt x="8515" y="9427"/>
                </a:cubicBezTo>
                <a:cubicBezTo>
                  <a:pt x="8600" y="9427"/>
                  <a:pt x="8600" y="9521"/>
                  <a:pt x="8657" y="9552"/>
                </a:cubicBezTo>
                <a:cubicBezTo>
                  <a:pt x="8827" y="9599"/>
                  <a:pt x="8827" y="9411"/>
                  <a:pt x="8997" y="9568"/>
                </a:cubicBezTo>
                <a:cubicBezTo>
                  <a:pt x="9310" y="9929"/>
                  <a:pt x="9083" y="10243"/>
                  <a:pt x="9196" y="10399"/>
                </a:cubicBezTo>
                <a:cubicBezTo>
                  <a:pt x="9281" y="10541"/>
                  <a:pt x="10047" y="10227"/>
                  <a:pt x="9707" y="10682"/>
                </a:cubicBezTo>
                <a:cubicBezTo>
                  <a:pt x="9622" y="10792"/>
                  <a:pt x="9338" y="10760"/>
                  <a:pt x="9168" y="10823"/>
                </a:cubicBezTo>
                <a:cubicBezTo>
                  <a:pt x="8997" y="10886"/>
                  <a:pt x="8799" y="10933"/>
                  <a:pt x="8685" y="11027"/>
                </a:cubicBezTo>
                <a:cubicBezTo>
                  <a:pt x="8628" y="11058"/>
                  <a:pt x="8714" y="11137"/>
                  <a:pt x="8657" y="11168"/>
                </a:cubicBezTo>
                <a:cubicBezTo>
                  <a:pt x="8600" y="11199"/>
                  <a:pt x="8458" y="11121"/>
                  <a:pt x="8430" y="11152"/>
                </a:cubicBezTo>
                <a:cubicBezTo>
                  <a:pt x="8345" y="11262"/>
                  <a:pt x="8316" y="11403"/>
                  <a:pt x="8316" y="11529"/>
                </a:cubicBezTo>
                <a:cubicBezTo>
                  <a:pt x="8316" y="11607"/>
                  <a:pt x="8401" y="11686"/>
                  <a:pt x="8345" y="11764"/>
                </a:cubicBezTo>
                <a:cubicBezTo>
                  <a:pt x="8316" y="11905"/>
                  <a:pt x="7976" y="11968"/>
                  <a:pt x="7919" y="12094"/>
                </a:cubicBezTo>
                <a:cubicBezTo>
                  <a:pt x="7862" y="12188"/>
                  <a:pt x="8004" y="12297"/>
                  <a:pt x="7947" y="12376"/>
                </a:cubicBezTo>
                <a:cubicBezTo>
                  <a:pt x="7805" y="12549"/>
                  <a:pt x="7493" y="12517"/>
                  <a:pt x="7464" y="12752"/>
                </a:cubicBezTo>
                <a:cubicBezTo>
                  <a:pt x="7437" y="12800"/>
                  <a:pt x="7606" y="12847"/>
                  <a:pt x="7606" y="12909"/>
                </a:cubicBezTo>
                <a:cubicBezTo>
                  <a:pt x="7521" y="13207"/>
                  <a:pt x="6755" y="13160"/>
                  <a:pt x="6727" y="13427"/>
                </a:cubicBezTo>
                <a:cubicBezTo>
                  <a:pt x="6698" y="13537"/>
                  <a:pt x="6556" y="13819"/>
                  <a:pt x="6528" y="13835"/>
                </a:cubicBezTo>
                <a:cubicBezTo>
                  <a:pt x="6415" y="13835"/>
                  <a:pt x="6273" y="13678"/>
                  <a:pt x="6159" y="13725"/>
                </a:cubicBezTo>
                <a:cubicBezTo>
                  <a:pt x="5904" y="13851"/>
                  <a:pt x="6301" y="14164"/>
                  <a:pt x="6046" y="14258"/>
                </a:cubicBezTo>
                <a:cubicBezTo>
                  <a:pt x="5960" y="14290"/>
                  <a:pt x="5790" y="14086"/>
                  <a:pt x="5818" y="14148"/>
                </a:cubicBezTo>
                <a:cubicBezTo>
                  <a:pt x="5818" y="14227"/>
                  <a:pt x="6017" y="14258"/>
                  <a:pt x="6074" y="14337"/>
                </a:cubicBezTo>
                <a:cubicBezTo>
                  <a:pt x="6329" y="14854"/>
                  <a:pt x="5988" y="14509"/>
                  <a:pt x="5591" y="14760"/>
                </a:cubicBezTo>
                <a:cubicBezTo>
                  <a:pt x="5506" y="14823"/>
                  <a:pt x="5676" y="14980"/>
                  <a:pt x="5563" y="14980"/>
                </a:cubicBezTo>
                <a:cubicBezTo>
                  <a:pt x="5393" y="14964"/>
                  <a:pt x="5478" y="14776"/>
                  <a:pt x="5336" y="14760"/>
                </a:cubicBezTo>
                <a:cubicBezTo>
                  <a:pt x="5109" y="14729"/>
                  <a:pt x="4825" y="14776"/>
                  <a:pt x="4712" y="14886"/>
                </a:cubicBezTo>
                <a:cubicBezTo>
                  <a:pt x="4257" y="15309"/>
                  <a:pt x="5222" y="15011"/>
                  <a:pt x="5166" y="15262"/>
                </a:cubicBezTo>
                <a:cubicBezTo>
                  <a:pt x="5109" y="15419"/>
                  <a:pt x="4371" y="15686"/>
                  <a:pt x="4342" y="15858"/>
                </a:cubicBezTo>
                <a:cubicBezTo>
                  <a:pt x="4200" y="16894"/>
                  <a:pt x="4371" y="15827"/>
                  <a:pt x="4654" y="16219"/>
                </a:cubicBezTo>
                <a:cubicBezTo>
                  <a:pt x="4683" y="16235"/>
                  <a:pt x="4400" y="16517"/>
                  <a:pt x="4627" y="16596"/>
                </a:cubicBezTo>
                <a:cubicBezTo>
                  <a:pt x="4654" y="16611"/>
                  <a:pt x="4712" y="16533"/>
                  <a:pt x="4739" y="16549"/>
                </a:cubicBezTo>
                <a:cubicBezTo>
                  <a:pt x="4796" y="16596"/>
                  <a:pt x="4712" y="16705"/>
                  <a:pt x="4825" y="16721"/>
                </a:cubicBezTo>
                <a:cubicBezTo>
                  <a:pt x="4881" y="16737"/>
                  <a:pt x="4768" y="16580"/>
                  <a:pt x="4853" y="16580"/>
                </a:cubicBezTo>
                <a:cubicBezTo>
                  <a:pt x="4939" y="16564"/>
                  <a:pt x="4967" y="16627"/>
                  <a:pt x="4995" y="16674"/>
                </a:cubicBezTo>
                <a:cubicBezTo>
                  <a:pt x="5166" y="16925"/>
                  <a:pt x="4967" y="17333"/>
                  <a:pt x="5052" y="17427"/>
                </a:cubicBezTo>
                <a:cubicBezTo>
                  <a:pt x="5109" y="17490"/>
                  <a:pt x="5279" y="17458"/>
                  <a:pt x="5364" y="17505"/>
                </a:cubicBezTo>
                <a:cubicBezTo>
                  <a:pt x="5478" y="17584"/>
                  <a:pt x="5535" y="17678"/>
                  <a:pt x="5619" y="17756"/>
                </a:cubicBezTo>
                <a:cubicBezTo>
                  <a:pt x="5648" y="17787"/>
                  <a:pt x="5591" y="17835"/>
                  <a:pt x="5619" y="17866"/>
                </a:cubicBezTo>
                <a:cubicBezTo>
                  <a:pt x="5676" y="17913"/>
                  <a:pt x="5790" y="17913"/>
                  <a:pt x="5847" y="17945"/>
                </a:cubicBezTo>
                <a:cubicBezTo>
                  <a:pt x="5875" y="17960"/>
                  <a:pt x="5733" y="17945"/>
                  <a:pt x="5733" y="17960"/>
                </a:cubicBezTo>
                <a:cubicBezTo>
                  <a:pt x="5705" y="17992"/>
                  <a:pt x="5762" y="18023"/>
                  <a:pt x="5790" y="18055"/>
                </a:cubicBezTo>
                <a:cubicBezTo>
                  <a:pt x="5932" y="18148"/>
                  <a:pt x="6244" y="18195"/>
                  <a:pt x="6216" y="18306"/>
                </a:cubicBezTo>
                <a:cubicBezTo>
                  <a:pt x="6187" y="18399"/>
                  <a:pt x="5733" y="18321"/>
                  <a:pt x="5705" y="18415"/>
                </a:cubicBezTo>
                <a:cubicBezTo>
                  <a:pt x="5648" y="18541"/>
                  <a:pt x="5988" y="18619"/>
                  <a:pt x="6046" y="18729"/>
                </a:cubicBezTo>
                <a:cubicBezTo>
                  <a:pt x="6074" y="18776"/>
                  <a:pt x="5932" y="18823"/>
                  <a:pt x="5960" y="18886"/>
                </a:cubicBezTo>
                <a:cubicBezTo>
                  <a:pt x="5988" y="18917"/>
                  <a:pt x="6159" y="18917"/>
                  <a:pt x="6159" y="18964"/>
                </a:cubicBezTo>
                <a:cubicBezTo>
                  <a:pt x="6130" y="19168"/>
                  <a:pt x="5847" y="18948"/>
                  <a:pt x="5960" y="19121"/>
                </a:cubicBezTo>
                <a:cubicBezTo>
                  <a:pt x="5988" y="19184"/>
                  <a:pt x="6130" y="19231"/>
                  <a:pt x="6102" y="19278"/>
                </a:cubicBezTo>
                <a:cubicBezTo>
                  <a:pt x="6074" y="19341"/>
                  <a:pt x="5790" y="19262"/>
                  <a:pt x="5762" y="19309"/>
                </a:cubicBezTo>
                <a:cubicBezTo>
                  <a:pt x="5733" y="19717"/>
                  <a:pt x="6046" y="19764"/>
                  <a:pt x="6273" y="19937"/>
                </a:cubicBezTo>
                <a:cubicBezTo>
                  <a:pt x="6329" y="19968"/>
                  <a:pt x="6046" y="19999"/>
                  <a:pt x="6102" y="20046"/>
                </a:cubicBezTo>
                <a:cubicBezTo>
                  <a:pt x="6130" y="20125"/>
                  <a:pt x="6187" y="20188"/>
                  <a:pt x="6273" y="20250"/>
                </a:cubicBezTo>
                <a:cubicBezTo>
                  <a:pt x="6897" y="20705"/>
                  <a:pt x="6415" y="20235"/>
                  <a:pt x="7011" y="20172"/>
                </a:cubicBezTo>
                <a:cubicBezTo>
                  <a:pt x="7124" y="20172"/>
                  <a:pt x="6897" y="20345"/>
                  <a:pt x="7011" y="20392"/>
                </a:cubicBezTo>
                <a:cubicBezTo>
                  <a:pt x="7181" y="20439"/>
                  <a:pt x="7380" y="20360"/>
                  <a:pt x="7578" y="20360"/>
                </a:cubicBezTo>
                <a:cubicBezTo>
                  <a:pt x="7748" y="20376"/>
                  <a:pt x="7833" y="20533"/>
                  <a:pt x="7976" y="20533"/>
                </a:cubicBezTo>
                <a:cubicBezTo>
                  <a:pt x="8117" y="20533"/>
                  <a:pt x="8174" y="20439"/>
                  <a:pt x="8288" y="20439"/>
                </a:cubicBezTo>
                <a:cubicBezTo>
                  <a:pt x="8345" y="20423"/>
                  <a:pt x="8288" y="20486"/>
                  <a:pt x="8316" y="20501"/>
                </a:cubicBezTo>
                <a:cubicBezTo>
                  <a:pt x="8401" y="20517"/>
                  <a:pt x="8458" y="20501"/>
                  <a:pt x="8543" y="20486"/>
                </a:cubicBezTo>
                <a:cubicBezTo>
                  <a:pt x="8572" y="20470"/>
                  <a:pt x="8572" y="20376"/>
                  <a:pt x="8600" y="20407"/>
                </a:cubicBezTo>
                <a:cubicBezTo>
                  <a:pt x="8883" y="20752"/>
                  <a:pt x="8430" y="20815"/>
                  <a:pt x="8543" y="20831"/>
                </a:cubicBezTo>
                <a:cubicBezTo>
                  <a:pt x="8600" y="20831"/>
                  <a:pt x="9253" y="20564"/>
                  <a:pt x="9338" y="20533"/>
                </a:cubicBezTo>
                <a:cubicBezTo>
                  <a:pt x="9366" y="20517"/>
                  <a:pt x="9422" y="20439"/>
                  <a:pt x="9451" y="20423"/>
                </a:cubicBezTo>
                <a:cubicBezTo>
                  <a:pt x="9310" y="20658"/>
                  <a:pt x="8940" y="20925"/>
                  <a:pt x="9622" y="21066"/>
                </a:cubicBezTo>
                <a:cubicBezTo>
                  <a:pt x="9736" y="21098"/>
                  <a:pt x="9962" y="20956"/>
                  <a:pt x="10019" y="21019"/>
                </a:cubicBezTo>
                <a:cubicBezTo>
                  <a:pt x="10076" y="21113"/>
                  <a:pt x="9622" y="21254"/>
                  <a:pt x="9792" y="21286"/>
                </a:cubicBezTo>
                <a:cubicBezTo>
                  <a:pt x="9962" y="21333"/>
                  <a:pt x="9934" y="21066"/>
                  <a:pt x="10104" y="21051"/>
                </a:cubicBezTo>
                <a:cubicBezTo>
                  <a:pt x="10246" y="21035"/>
                  <a:pt x="10133" y="21207"/>
                  <a:pt x="10076" y="21270"/>
                </a:cubicBezTo>
                <a:cubicBezTo>
                  <a:pt x="9991" y="21348"/>
                  <a:pt x="9820" y="21380"/>
                  <a:pt x="9678" y="21443"/>
                </a:cubicBezTo>
                <a:cubicBezTo>
                  <a:pt x="9622" y="21490"/>
                  <a:pt x="9395" y="21599"/>
                  <a:pt x="9480" y="21568"/>
                </a:cubicBezTo>
                <a:cubicBezTo>
                  <a:pt x="10360" y="21380"/>
                  <a:pt x="10019" y="21066"/>
                  <a:pt x="10473" y="20909"/>
                </a:cubicBezTo>
                <a:cubicBezTo>
                  <a:pt x="10615" y="20862"/>
                  <a:pt x="10246" y="21113"/>
                  <a:pt x="10389" y="21160"/>
                </a:cubicBezTo>
                <a:cubicBezTo>
                  <a:pt x="10587" y="21223"/>
                  <a:pt x="10842" y="21145"/>
                  <a:pt x="11041" y="21082"/>
                </a:cubicBezTo>
                <a:cubicBezTo>
                  <a:pt x="11183" y="21051"/>
                  <a:pt x="11240" y="20925"/>
                  <a:pt x="11353" y="20878"/>
                </a:cubicBezTo>
                <a:cubicBezTo>
                  <a:pt x="11524" y="20799"/>
                  <a:pt x="12290" y="20752"/>
                  <a:pt x="12375" y="20690"/>
                </a:cubicBezTo>
                <a:cubicBezTo>
                  <a:pt x="12460" y="20643"/>
                  <a:pt x="12177" y="20564"/>
                  <a:pt x="12261" y="20517"/>
                </a:cubicBezTo>
                <a:cubicBezTo>
                  <a:pt x="12403" y="20454"/>
                  <a:pt x="12631" y="20501"/>
                  <a:pt x="12829" y="20486"/>
                </a:cubicBezTo>
                <a:cubicBezTo>
                  <a:pt x="12886" y="20486"/>
                  <a:pt x="12999" y="20501"/>
                  <a:pt x="13028" y="20470"/>
                </a:cubicBezTo>
                <a:cubicBezTo>
                  <a:pt x="13084" y="20423"/>
                  <a:pt x="12972" y="20360"/>
                  <a:pt x="12999" y="20329"/>
                </a:cubicBezTo>
                <a:cubicBezTo>
                  <a:pt x="13028" y="20298"/>
                  <a:pt x="13028" y="20407"/>
                  <a:pt x="13084" y="20423"/>
                </a:cubicBezTo>
                <a:cubicBezTo>
                  <a:pt x="13113" y="20439"/>
                  <a:pt x="13851" y="20188"/>
                  <a:pt x="13908" y="20141"/>
                </a:cubicBezTo>
                <a:cubicBezTo>
                  <a:pt x="13937" y="20125"/>
                  <a:pt x="13795" y="19811"/>
                  <a:pt x="14078" y="19843"/>
                </a:cubicBezTo>
                <a:cubicBezTo>
                  <a:pt x="14135" y="19843"/>
                  <a:pt x="15185" y="20376"/>
                  <a:pt x="14929" y="19795"/>
                </a:cubicBezTo>
                <a:cubicBezTo>
                  <a:pt x="14873" y="19686"/>
                  <a:pt x="14361" y="19670"/>
                  <a:pt x="14447" y="19545"/>
                </a:cubicBezTo>
                <a:cubicBezTo>
                  <a:pt x="14503" y="19435"/>
                  <a:pt x="14873" y="19497"/>
                  <a:pt x="15071" y="19529"/>
                </a:cubicBezTo>
                <a:cubicBezTo>
                  <a:pt x="15185" y="19545"/>
                  <a:pt x="15185" y="19717"/>
                  <a:pt x="15299" y="19686"/>
                </a:cubicBezTo>
                <a:cubicBezTo>
                  <a:pt x="15582" y="19576"/>
                  <a:pt x="15156" y="19043"/>
                  <a:pt x="15497" y="19152"/>
                </a:cubicBezTo>
                <a:cubicBezTo>
                  <a:pt x="15781" y="19262"/>
                  <a:pt x="15015" y="19654"/>
                  <a:pt x="15895" y="19497"/>
                </a:cubicBezTo>
                <a:cubicBezTo>
                  <a:pt x="17257" y="19247"/>
                  <a:pt x="16093" y="19404"/>
                  <a:pt x="16378" y="19168"/>
                </a:cubicBezTo>
                <a:cubicBezTo>
                  <a:pt x="16406" y="19152"/>
                  <a:pt x="16434" y="19200"/>
                  <a:pt x="16491" y="19200"/>
                </a:cubicBezTo>
                <a:cubicBezTo>
                  <a:pt x="16548" y="19200"/>
                  <a:pt x="16632" y="19200"/>
                  <a:pt x="16661" y="19168"/>
                </a:cubicBezTo>
                <a:cubicBezTo>
                  <a:pt x="16689" y="19137"/>
                  <a:pt x="16576" y="19027"/>
                  <a:pt x="16661" y="19027"/>
                </a:cubicBezTo>
                <a:cubicBezTo>
                  <a:pt x="16689" y="19027"/>
                  <a:pt x="17144" y="19247"/>
                  <a:pt x="17285" y="19215"/>
                </a:cubicBezTo>
                <a:cubicBezTo>
                  <a:pt x="17484" y="19184"/>
                  <a:pt x="17626" y="19090"/>
                  <a:pt x="17740" y="19011"/>
                </a:cubicBezTo>
                <a:cubicBezTo>
                  <a:pt x="17768" y="19011"/>
                  <a:pt x="17768" y="18996"/>
                  <a:pt x="17768" y="18980"/>
                </a:cubicBezTo>
                <a:cubicBezTo>
                  <a:pt x="17768" y="18980"/>
                  <a:pt x="17711" y="18948"/>
                  <a:pt x="17711" y="18948"/>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71" name="AutoShape 39"/>
          <p:cNvSpPr>
            <a:spLocks/>
          </p:cNvSpPr>
          <p:nvPr/>
        </p:nvSpPr>
        <p:spPr bwMode="auto">
          <a:xfrm>
            <a:off x="20510500" y="10566400"/>
            <a:ext cx="1976438" cy="2403475"/>
          </a:xfrm>
          <a:custGeom>
            <a:avLst/>
            <a:gdLst>
              <a:gd name="T0" fmla="*/ 10691 w 21383"/>
              <a:gd name="T1" fmla="*/ 10748 h 21496"/>
              <a:gd name="T2" fmla="*/ 10691 w 21383"/>
              <a:gd name="T3" fmla="*/ 10748 h 21496"/>
              <a:gd name="T4" fmla="*/ 10691 w 21383"/>
              <a:gd name="T5" fmla="*/ 10748 h 21496"/>
              <a:gd name="T6" fmla="*/ 10691 w 21383"/>
              <a:gd name="T7" fmla="*/ 10748 h 21496"/>
            </a:gdLst>
            <a:ahLst/>
            <a:cxnLst>
              <a:cxn ang="0">
                <a:pos x="T0" y="T1"/>
              </a:cxn>
              <a:cxn ang="0">
                <a:pos x="T2" y="T3"/>
              </a:cxn>
              <a:cxn ang="0">
                <a:pos x="T4" y="T5"/>
              </a:cxn>
              <a:cxn ang="0">
                <a:pos x="T6" y="T7"/>
              </a:cxn>
            </a:cxnLst>
            <a:rect l="0" t="0" r="r" b="b"/>
            <a:pathLst>
              <a:path w="21383" h="21496">
                <a:moveTo>
                  <a:pt x="13080" y="11499"/>
                </a:moveTo>
                <a:cubicBezTo>
                  <a:pt x="12936" y="11356"/>
                  <a:pt x="12736" y="11238"/>
                  <a:pt x="12506" y="11167"/>
                </a:cubicBezTo>
                <a:cubicBezTo>
                  <a:pt x="12162" y="11072"/>
                  <a:pt x="11674" y="11523"/>
                  <a:pt x="11301" y="11214"/>
                </a:cubicBezTo>
                <a:cubicBezTo>
                  <a:pt x="11244" y="11144"/>
                  <a:pt x="11416" y="11049"/>
                  <a:pt x="11359" y="10977"/>
                </a:cubicBezTo>
                <a:cubicBezTo>
                  <a:pt x="11272" y="10764"/>
                  <a:pt x="9580" y="10100"/>
                  <a:pt x="9265" y="10147"/>
                </a:cubicBezTo>
                <a:cubicBezTo>
                  <a:pt x="9093" y="10195"/>
                  <a:pt x="9006" y="10361"/>
                  <a:pt x="8863" y="10432"/>
                </a:cubicBezTo>
                <a:cubicBezTo>
                  <a:pt x="8777" y="10455"/>
                  <a:pt x="8920" y="10290"/>
                  <a:pt x="8978" y="10242"/>
                </a:cubicBezTo>
                <a:cubicBezTo>
                  <a:pt x="9064" y="10171"/>
                  <a:pt x="9179" y="10100"/>
                  <a:pt x="9265" y="10029"/>
                </a:cubicBezTo>
                <a:cubicBezTo>
                  <a:pt x="9379" y="9933"/>
                  <a:pt x="9465" y="9863"/>
                  <a:pt x="9580" y="9792"/>
                </a:cubicBezTo>
                <a:cubicBezTo>
                  <a:pt x="9752" y="9697"/>
                  <a:pt x="9924" y="9626"/>
                  <a:pt x="10096" y="9555"/>
                </a:cubicBezTo>
                <a:cubicBezTo>
                  <a:pt x="10585" y="9768"/>
                  <a:pt x="10527" y="9982"/>
                  <a:pt x="11014" y="10195"/>
                </a:cubicBezTo>
                <a:cubicBezTo>
                  <a:pt x="11101" y="10242"/>
                  <a:pt x="11215" y="10266"/>
                  <a:pt x="11330" y="10266"/>
                </a:cubicBezTo>
                <a:cubicBezTo>
                  <a:pt x="11387" y="10266"/>
                  <a:pt x="11416" y="10171"/>
                  <a:pt x="11473" y="10195"/>
                </a:cubicBezTo>
                <a:cubicBezTo>
                  <a:pt x="11617" y="10242"/>
                  <a:pt x="11732" y="10384"/>
                  <a:pt x="11903" y="10432"/>
                </a:cubicBezTo>
                <a:cubicBezTo>
                  <a:pt x="12076" y="10455"/>
                  <a:pt x="12678" y="10171"/>
                  <a:pt x="12793" y="10337"/>
                </a:cubicBezTo>
                <a:cubicBezTo>
                  <a:pt x="12821" y="10361"/>
                  <a:pt x="12764" y="10384"/>
                  <a:pt x="12764" y="10408"/>
                </a:cubicBezTo>
                <a:cubicBezTo>
                  <a:pt x="12736" y="10432"/>
                  <a:pt x="12707" y="10480"/>
                  <a:pt x="12736" y="10504"/>
                </a:cubicBezTo>
                <a:cubicBezTo>
                  <a:pt x="12850" y="10598"/>
                  <a:pt x="13051" y="10598"/>
                  <a:pt x="13137" y="10717"/>
                </a:cubicBezTo>
                <a:cubicBezTo>
                  <a:pt x="13137" y="10740"/>
                  <a:pt x="13080" y="11451"/>
                  <a:pt x="13366" y="11618"/>
                </a:cubicBezTo>
                <a:cubicBezTo>
                  <a:pt x="13683" y="11807"/>
                  <a:pt x="14973" y="11451"/>
                  <a:pt x="14456" y="12162"/>
                </a:cubicBezTo>
                <a:cubicBezTo>
                  <a:pt x="14170" y="12543"/>
                  <a:pt x="13395" y="12068"/>
                  <a:pt x="13224" y="11902"/>
                </a:cubicBezTo>
                <a:cubicBezTo>
                  <a:pt x="13194" y="11854"/>
                  <a:pt x="13309" y="11831"/>
                  <a:pt x="13309" y="11783"/>
                </a:cubicBezTo>
                <a:cubicBezTo>
                  <a:pt x="13280" y="11712"/>
                  <a:pt x="13194" y="11641"/>
                  <a:pt x="13109" y="11593"/>
                </a:cubicBezTo>
                <a:cubicBezTo>
                  <a:pt x="13051" y="11593"/>
                  <a:pt x="12994" y="11712"/>
                  <a:pt x="12965" y="11664"/>
                </a:cubicBezTo>
                <a:cubicBezTo>
                  <a:pt x="12965" y="11618"/>
                  <a:pt x="13137" y="11547"/>
                  <a:pt x="13080" y="11499"/>
                </a:cubicBezTo>
                <a:close/>
                <a:moveTo>
                  <a:pt x="3269" y="13514"/>
                </a:moveTo>
                <a:cubicBezTo>
                  <a:pt x="3040" y="13680"/>
                  <a:pt x="2954" y="13443"/>
                  <a:pt x="2753" y="13420"/>
                </a:cubicBezTo>
                <a:cubicBezTo>
                  <a:pt x="2638" y="13420"/>
                  <a:pt x="2523" y="13538"/>
                  <a:pt x="2409" y="13514"/>
                </a:cubicBezTo>
                <a:cubicBezTo>
                  <a:pt x="2208" y="13467"/>
                  <a:pt x="2294" y="12921"/>
                  <a:pt x="2122" y="13040"/>
                </a:cubicBezTo>
                <a:cubicBezTo>
                  <a:pt x="2036" y="13087"/>
                  <a:pt x="2179" y="13253"/>
                  <a:pt x="2122" y="13348"/>
                </a:cubicBezTo>
                <a:cubicBezTo>
                  <a:pt x="1892" y="13751"/>
                  <a:pt x="1749" y="13063"/>
                  <a:pt x="2380" y="12376"/>
                </a:cubicBezTo>
                <a:cubicBezTo>
                  <a:pt x="2466" y="12495"/>
                  <a:pt x="2581" y="12613"/>
                  <a:pt x="2638" y="12756"/>
                </a:cubicBezTo>
                <a:cubicBezTo>
                  <a:pt x="2638" y="12779"/>
                  <a:pt x="2552" y="12993"/>
                  <a:pt x="2696" y="13016"/>
                </a:cubicBezTo>
                <a:cubicBezTo>
                  <a:pt x="2839" y="13040"/>
                  <a:pt x="3585" y="13301"/>
                  <a:pt x="3269" y="13514"/>
                </a:cubicBezTo>
                <a:close/>
                <a:moveTo>
                  <a:pt x="3757" y="10693"/>
                </a:moveTo>
                <a:cubicBezTo>
                  <a:pt x="4101" y="10171"/>
                  <a:pt x="3241" y="10740"/>
                  <a:pt x="3212" y="10717"/>
                </a:cubicBezTo>
                <a:cubicBezTo>
                  <a:pt x="3011" y="10645"/>
                  <a:pt x="2839" y="10337"/>
                  <a:pt x="2667" y="10432"/>
                </a:cubicBezTo>
                <a:cubicBezTo>
                  <a:pt x="2609" y="10432"/>
                  <a:pt x="2811" y="10787"/>
                  <a:pt x="2782" y="10929"/>
                </a:cubicBezTo>
                <a:cubicBezTo>
                  <a:pt x="3068" y="10929"/>
                  <a:pt x="3585" y="10929"/>
                  <a:pt x="3757" y="10693"/>
                </a:cubicBezTo>
                <a:close/>
                <a:moveTo>
                  <a:pt x="15432" y="1517"/>
                </a:moveTo>
                <a:cubicBezTo>
                  <a:pt x="15461" y="1493"/>
                  <a:pt x="15461" y="1493"/>
                  <a:pt x="15461" y="1493"/>
                </a:cubicBezTo>
                <a:lnTo>
                  <a:pt x="15490" y="1493"/>
                </a:lnTo>
                <a:cubicBezTo>
                  <a:pt x="15518" y="1493"/>
                  <a:pt x="16407" y="1256"/>
                  <a:pt x="16407" y="1256"/>
                </a:cubicBezTo>
                <a:cubicBezTo>
                  <a:pt x="17038" y="853"/>
                  <a:pt x="15231" y="188"/>
                  <a:pt x="16349" y="0"/>
                </a:cubicBezTo>
                <a:cubicBezTo>
                  <a:pt x="16349" y="0"/>
                  <a:pt x="16349" y="0"/>
                  <a:pt x="16378" y="0"/>
                </a:cubicBezTo>
                <a:lnTo>
                  <a:pt x="16464" y="0"/>
                </a:lnTo>
                <a:cubicBezTo>
                  <a:pt x="16493" y="0"/>
                  <a:pt x="16493" y="0"/>
                  <a:pt x="16493" y="0"/>
                </a:cubicBezTo>
                <a:lnTo>
                  <a:pt x="16522" y="0"/>
                </a:lnTo>
                <a:cubicBezTo>
                  <a:pt x="16580" y="0"/>
                  <a:pt x="16637" y="0"/>
                  <a:pt x="16665" y="23"/>
                </a:cubicBezTo>
                <a:cubicBezTo>
                  <a:pt x="16694" y="23"/>
                  <a:pt x="16723" y="23"/>
                  <a:pt x="16723" y="23"/>
                </a:cubicBezTo>
                <a:cubicBezTo>
                  <a:pt x="17354" y="142"/>
                  <a:pt x="18214" y="639"/>
                  <a:pt x="17784" y="1067"/>
                </a:cubicBezTo>
                <a:cubicBezTo>
                  <a:pt x="17469" y="1351"/>
                  <a:pt x="17153" y="1208"/>
                  <a:pt x="17038" y="1683"/>
                </a:cubicBezTo>
                <a:lnTo>
                  <a:pt x="17268" y="2370"/>
                </a:lnTo>
                <a:cubicBezTo>
                  <a:pt x="17239" y="2536"/>
                  <a:pt x="16837" y="3082"/>
                  <a:pt x="16637" y="3177"/>
                </a:cubicBezTo>
                <a:lnTo>
                  <a:pt x="16608" y="3437"/>
                </a:lnTo>
                <a:cubicBezTo>
                  <a:pt x="16121" y="3224"/>
                  <a:pt x="17038" y="3201"/>
                  <a:pt x="16580" y="2868"/>
                </a:cubicBezTo>
                <a:cubicBezTo>
                  <a:pt x="16349" y="2726"/>
                  <a:pt x="15432" y="3058"/>
                  <a:pt x="15145" y="3034"/>
                </a:cubicBezTo>
                <a:cubicBezTo>
                  <a:pt x="14227" y="2987"/>
                  <a:pt x="14112" y="2489"/>
                  <a:pt x="13510" y="3105"/>
                </a:cubicBezTo>
                <a:cubicBezTo>
                  <a:pt x="13366" y="3248"/>
                  <a:pt x="13224" y="3366"/>
                  <a:pt x="13051" y="3460"/>
                </a:cubicBezTo>
                <a:cubicBezTo>
                  <a:pt x="12248" y="3817"/>
                  <a:pt x="12678" y="2987"/>
                  <a:pt x="11875" y="3390"/>
                </a:cubicBezTo>
                <a:cubicBezTo>
                  <a:pt x="11559" y="3556"/>
                  <a:pt x="11790" y="3959"/>
                  <a:pt x="11158" y="4196"/>
                </a:cubicBezTo>
                <a:cubicBezTo>
                  <a:pt x="10612" y="4386"/>
                  <a:pt x="10555" y="3817"/>
                  <a:pt x="10039" y="4362"/>
                </a:cubicBezTo>
                <a:cubicBezTo>
                  <a:pt x="9839" y="4575"/>
                  <a:pt x="10183" y="4552"/>
                  <a:pt x="10269" y="4598"/>
                </a:cubicBezTo>
                <a:cubicBezTo>
                  <a:pt x="10527" y="4717"/>
                  <a:pt x="10498" y="5073"/>
                  <a:pt x="10728" y="5263"/>
                </a:cubicBezTo>
                <a:cubicBezTo>
                  <a:pt x="10785" y="5310"/>
                  <a:pt x="10899" y="5287"/>
                  <a:pt x="11014" y="5263"/>
                </a:cubicBezTo>
                <a:cubicBezTo>
                  <a:pt x="11043" y="5263"/>
                  <a:pt x="11072" y="5239"/>
                  <a:pt x="11101" y="5191"/>
                </a:cubicBezTo>
                <a:cubicBezTo>
                  <a:pt x="11101" y="5144"/>
                  <a:pt x="10985" y="5050"/>
                  <a:pt x="11072" y="5050"/>
                </a:cubicBezTo>
                <a:cubicBezTo>
                  <a:pt x="11187" y="5026"/>
                  <a:pt x="11187" y="5239"/>
                  <a:pt x="11301" y="5263"/>
                </a:cubicBezTo>
                <a:cubicBezTo>
                  <a:pt x="11617" y="5334"/>
                  <a:pt x="12276" y="5429"/>
                  <a:pt x="12392" y="5785"/>
                </a:cubicBezTo>
                <a:cubicBezTo>
                  <a:pt x="12621" y="6472"/>
                  <a:pt x="11645" y="5476"/>
                  <a:pt x="11645" y="5476"/>
                </a:cubicBezTo>
                <a:cubicBezTo>
                  <a:pt x="11330" y="5334"/>
                  <a:pt x="10412" y="5239"/>
                  <a:pt x="10326" y="5690"/>
                </a:cubicBezTo>
                <a:cubicBezTo>
                  <a:pt x="10240" y="5974"/>
                  <a:pt x="10985" y="5879"/>
                  <a:pt x="11215" y="6069"/>
                </a:cubicBezTo>
                <a:cubicBezTo>
                  <a:pt x="11387" y="6211"/>
                  <a:pt x="11359" y="6686"/>
                  <a:pt x="11158" y="6615"/>
                </a:cubicBezTo>
                <a:cubicBezTo>
                  <a:pt x="10699" y="6472"/>
                  <a:pt x="10670" y="6046"/>
                  <a:pt x="10211" y="5856"/>
                </a:cubicBezTo>
                <a:cubicBezTo>
                  <a:pt x="10096" y="5832"/>
                  <a:pt x="9982" y="5879"/>
                  <a:pt x="9867" y="5856"/>
                </a:cubicBezTo>
                <a:cubicBezTo>
                  <a:pt x="9723" y="5856"/>
                  <a:pt x="9551" y="5737"/>
                  <a:pt x="9465" y="5832"/>
                </a:cubicBezTo>
                <a:cubicBezTo>
                  <a:pt x="8806" y="6425"/>
                  <a:pt x="10728" y="6591"/>
                  <a:pt x="10585" y="6804"/>
                </a:cubicBezTo>
                <a:cubicBezTo>
                  <a:pt x="10527" y="6875"/>
                  <a:pt x="9780" y="6851"/>
                  <a:pt x="9551" y="6804"/>
                </a:cubicBezTo>
                <a:cubicBezTo>
                  <a:pt x="9465" y="6780"/>
                  <a:pt x="9265" y="6022"/>
                  <a:pt x="9265" y="6022"/>
                </a:cubicBezTo>
                <a:cubicBezTo>
                  <a:pt x="9035" y="5785"/>
                  <a:pt x="8232" y="5927"/>
                  <a:pt x="7916" y="5737"/>
                </a:cubicBezTo>
                <a:cubicBezTo>
                  <a:pt x="7314" y="5358"/>
                  <a:pt x="7916" y="5429"/>
                  <a:pt x="7916" y="4955"/>
                </a:cubicBezTo>
                <a:cubicBezTo>
                  <a:pt x="7916" y="4860"/>
                  <a:pt x="7601" y="5120"/>
                  <a:pt x="7429" y="5239"/>
                </a:cubicBezTo>
                <a:cubicBezTo>
                  <a:pt x="7285" y="5358"/>
                  <a:pt x="7057" y="5452"/>
                  <a:pt x="7027" y="5619"/>
                </a:cubicBezTo>
                <a:cubicBezTo>
                  <a:pt x="6998" y="5737"/>
                  <a:pt x="7285" y="5761"/>
                  <a:pt x="7314" y="5879"/>
                </a:cubicBezTo>
                <a:lnTo>
                  <a:pt x="7113" y="6591"/>
                </a:lnTo>
                <a:cubicBezTo>
                  <a:pt x="7199" y="7041"/>
                  <a:pt x="7859" y="7254"/>
                  <a:pt x="8175" y="7540"/>
                </a:cubicBezTo>
                <a:lnTo>
                  <a:pt x="8548" y="8155"/>
                </a:lnTo>
                <a:cubicBezTo>
                  <a:pt x="8748" y="8322"/>
                  <a:pt x="10211" y="8914"/>
                  <a:pt x="9982" y="9199"/>
                </a:cubicBezTo>
                <a:cubicBezTo>
                  <a:pt x="9924" y="9270"/>
                  <a:pt x="8806" y="8796"/>
                  <a:pt x="8720" y="8819"/>
                </a:cubicBezTo>
                <a:cubicBezTo>
                  <a:pt x="8633" y="8819"/>
                  <a:pt x="8720" y="8962"/>
                  <a:pt x="8720" y="9033"/>
                </a:cubicBezTo>
                <a:cubicBezTo>
                  <a:pt x="8662" y="9199"/>
                  <a:pt x="8347" y="9555"/>
                  <a:pt x="8548" y="9530"/>
                </a:cubicBezTo>
                <a:cubicBezTo>
                  <a:pt x="8605" y="9508"/>
                  <a:pt x="8576" y="9388"/>
                  <a:pt x="8633" y="9412"/>
                </a:cubicBezTo>
                <a:cubicBezTo>
                  <a:pt x="8720" y="9436"/>
                  <a:pt x="8692" y="9555"/>
                  <a:pt x="8777" y="9602"/>
                </a:cubicBezTo>
                <a:cubicBezTo>
                  <a:pt x="8978" y="9721"/>
                  <a:pt x="9609" y="9721"/>
                  <a:pt x="9121" y="10076"/>
                </a:cubicBezTo>
                <a:cubicBezTo>
                  <a:pt x="8720" y="10361"/>
                  <a:pt x="8318" y="10384"/>
                  <a:pt x="7773" y="10574"/>
                </a:cubicBezTo>
                <a:cubicBezTo>
                  <a:pt x="7686" y="10598"/>
                  <a:pt x="7945" y="10669"/>
                  <a:pt x="8031" y="10645"/>
                </a:cubicBezTo>
                <a:cubicBezTo>
                  <a:pt x="8118" y="10622"/>
                  <a:pt x="8175" y="10504"/>
                  <a:pt x="8289" y="10504"/>
                </a:cubicBezTo>
                <a:cubicBezTo>
                  <a:pt x="8404" y="10504"/>
                  <a:pt x="8404" y="10645"/>
                  <a:pt x="8490" y="10693"/>
                </a:cubicBezTo>
                <a:cubicBezTo>
                  <a:pt x="8548" y="10717"/>
                  <a:pt x="8605" y="10669"/>
                  <a:pt x="8662" y="10645"/>
                </a:cubicBezTo>
                <a:cubicBezTo>
                  <a:pt x="8891" y="10645"/>
                  <a:pt x="9121" y="10598"/>
                  <a:pt x="9322" y="10669"/>
                </a:cubicBezTo>
                <a:cubicBezTo>
                  <a:pt x="9494" y="10717"/>
                  <a:pt x="9465" y="10953"/>
                  <a:pt x="9638" y="10977"/>
                </a:cubicBezTo>
                <a:cubicBezTo>
                  <a:pt x="9839" y="11024"/>
                  <a:pt x="10039" y="10764"/>
                  <a:pt x="10211" y="10835"/>
                </a:cubicBezTo>
                <a:cubicBezTo>
                  <a:pt x="10383" y="10906"/>
                  <a:pt x="10183" y="11214"/>
                  <a:pt x="10355" y="11285"/>
                </a:cubicBezTo>
                <a:cubicBezTo>
                  <a:pt x="10585" y="11404"/>
                  <a:pt x="10871" y="11072"/>
                  <a:pt x="11072" y="11191"/>
                </a:cubicBezTo>
                <a:cubicBezTo>
                  <a:pt x="11187" y="11238"/>
                  <a:pt x="11072" y="11618"/>
                  <a:pt x="11531" y="11641"/>
                </a:cubicBezTo>
                <a:cubicBezTo>
                  <a:pt x="12104" y="11664"/>
                  <a:pt x="12276" y="11499"/>
                  <a:pt x="12678" y="11879"/>
                </a:cubicBezTo>
                <a:cubicBezTo>
                  <a:pt x="12994" y="12162"/>
                  <a:pt x="12506" y="12044"/>
                  <a:pt x="12506" y="12210"/>
                </a:cubicBezTo>
                <a:cubicBezTo>
                  <a:pt x="12506" y="12329"/>
                  <a:pt x="12678" y="12399"/>
                  <a:pt x="12707" y="12495"/>
                </a:cubicBezTo>
                <a:cubicBezTo>
                  <a:pt x="12764" y="12613"/>
                  <a:pt x="12678" y="12756"/>
                  <a:pt x="12736" y="12851"/>
                </a:cubicBezTo>
                <a:cubicBezTo>
                  <a:pt x="12879" y="13063"/>
                  <a:pt x="13252" y="13158"/>
                  <a:pt x="12936" y="13562"/>
                </a:cubicBezTo>
                <a:cubicBezTo>
                  <a:pt x="12879" y="13633"/>
                  <a:pt x="12764" y="13585"/>
                  <a:pt x="12678" y="13562"/>
                </a:cubicBezTo>
                <a:cubicBezTo>
                  <a:pt x="12621" y="13514"/>
                  <a:pt x="12678" y="13443"/>
                  <a:pt x="12649" y="13396"/>
                </a:cubicBezTo>
                <a:cubicBezTo>
                  <a:pt x="12621" y="13348"/>
                  <a:pt x="12276" y="13158"/>
                  <a:pt x="12248" y="13158"/>
                </a:cubicBezTo>
                <a:cubicBezTo>
                  <a:pt x="12190" y="13136"/>
                  <a:pt x="12162" y="13253"/>
                  <a:pt x="12104" y="13230"/>
                </a:cubicBezTo>
                <a:cubicBezTo>
                  <a:pt x="11903" y="13111"/>
                  <a:pt x="11588" y="12637"/>
                  <a:pt x="11301" y="12566"/>
                </a:cubicBezTo>
                <a:cubicBezTo>
                  <a:pt x="10928" y="12471"/>
                  <a:pt x="11128" y="12827"/>
                  <a:pt x="10928" y="12874"/>
                </a:cubicBezTo>
                <a:cubicBezTo>
                  <a:pt x="10585" y="12969"/>
                  <a:pt x="9609" y="13206"/>
                  <a:pt x="9695" y="13325"/>
                </a:cubicBezTo>
                <a:cubicBezTo>
                  <a:pt x="9780" y="13490"/>
                  <a:pt x="10125" y="13420"/>
                  <a:pt x="10326" y="13490"/>
                </a:cubicBezTo>
                <a:cubicBezTo>
                  <a:pt x="10412" y="13514"/>
                  <a:pt x="10154" y="13562"/>
                  <a:pt x="10154" y="13633"/>
                </a:cubicBezTo>
                <a:cubicBezTo>
                  <a:pt x="10154" y="13704"/>
                  <a:pt x="10297" y="13704"/>
                  <a:pt x="10326" y="13751"/>
                </a:cubicBezTo>
                <a:cubicBezTo>
                  <a:pt x="10383" y="13846"/>
                  <a:pt x="10297" y="13988"/>
                  <a:pt x="10383" y="14060"/>
                </a:cubicBezTo>
                <a:cubicBezTo>
                  <a:pt x="10699" y="14321"/>
                  <a:pt x="11244" y="14178"/>
                  <a:pt x="11531" y="14463"/>
                </a:cubicBezTo>
                <a:cubicBezTo>
                  <a:pt x="11703" y="14628"/>
                  <a:pt x="11072" y="14676"/>
                  <a:pt x="10814" y="14676"/>
                </a:cubicBezTo>
                <a:cubicBezTo>
                  <a:pt x="10412" y="14700"/>
                  <a:pt x="10096" y="14676"/>
                  <a:pt x="9982" y="14653"/>
                </a:cubicBezTo>
                <a:cubicBezTo>
                  <a:pt x="9895" y="14628"/>
                  <a:pt x="9953" y="14510"/>
                  <a:pt x="9895" y="14439"/>
                </a:cubicBezTo>
                <a:cubicBezTo>
                  <a:pt x="9867" y="14415"/>
                  <a:pt x="9780" y="14415"/>
                  <a:pt x="9752" y="14415"/>
                </a:cubicBezTo>
                <a:cubicBezTo>
                  <a:pt x="9523" y="14415"/>
                  <a:pt x="9208" y="14273"/>
                  <a:pt x="9064" y="14415"/>
                </a:cubicBezTo>
                <a:cubicBezTo>
                  <a:pt x="8834" y="14676"/>
                  <a:pt x="9780" y="15269"/>
                  <a:pt x="9895" y="15435"/>
                </a:cubicBezTo>
                <a:cubicBezTo>
                  <a:pt x="9924" y="15530"/>
                  <a:pt x="9839" y="15624"/>
                  <a:pt x="9867" y="15696"/>
                </a:cubicBezTo>
                <a:cubicBezTo>
                  <a:pt x="9924" y="15767"/>
                  <a:pt x="10096" y="15696"/>
                  <a:pt x="10154" y="15767"/>
                </a:cubicBezTo>
                <a:cubicBezTo>
                  <a:pt x="10269" y="15932"/>
                  <a:pt x="10612" y="16455"/>
                  <a:pt x="10728" y="16668"/>
                </a:cubicBezTo>
                <a:cubicBezTo>
                  <a:pt x="10842" y="16881"/>
                  <a:pt x="10498" y="16739"/>
                  <a:pt x="10498" y="16810"/>
                </a:cubicBezTo>
                <a:cubicBezTo>
                  <a:pt x="10498" y="16881"/>
                  <a:pt x="10612" y="16905"/>
                  <a:pt x="10642" y="16952"/>
                </a:cubicBezTo>
                <a:cubicBezTo>
                  <a:pt x="10642" y="17000"/>
                  <a:pt x="10527" y="17071"/>
                  <a:pt x="10555" y="17118"/>
                </a:cubicBezTo>
                <a:cubicBezTo>
                  <a:pt x="10585" y="17166"/>
                  <a:pt x="11244" y="17474"/>
                  <a:pt x="11187" y="17663"/>
                </a:cubicBezTo>
                <a:cubicBezTo>
                  <a:pt x="11128" y="17735"/>
                  <a:pt x="10928" y="17735"/>
                  <a:pt x="10814" y="17711"/>
                </a:cubicBezTo>
                <a:cubicBezTo>
                  <a:pt x="10728" y="17663"/>
                  <a:pt x="10756" y="17521"/>
                  <a:pt x="10670" y="17474"/>
                </a:cubicBezTo>
                <a:cubicBezTo>
                  <a:pt x="10612" y="17426"/>
                  <a:pt x="10498" y="17545"/>
                  <a:pt x="10412" y="17498"/>
                </a:cubicBezTo>
                <a:cubicBezTo>
                  <a:pt x="9924" y="17190"/>
                  <a:pt x="9723" y="16241"/>
                  <a:pt x="9006" y="17071"/>
                </a:cubicBezTo>
                <a:cubicBezTo>
                  <a:pt x="8978" y="17118"/>
                  <a:pt x="9035" y="17616"/>
                  <a:pt x="9093" y="17900"/>
                </a:cubicBezTo>
                <a:cubicBezTo>
                  <a:pt x="9121" y="17972"/>
                  <a:pt x="9121" y="18138"/>
                  <a:pt x="9035" y="18114"/>
                </a:cubicBezTo>
                <a:cubicBezTo>
                  <a:pt x="8318" y="18043"/>
                  <a:pt x="8777" y="17450"/>
                  <a:pt x="8548" y="17190"/>
                </a:cubicBezTo>
                <a:cubicBezTo>
                  <a:pt x="8518" y="17166"/>
                  <a:pt x="8433" y="17190"/>
                  <a:pt x="8404" y="17166"/>
                </a:cubicBezTo>
                <a:cubicBezTo>
                  <a:pt x="8232" y="17023"/>
                  <a:pt x="8145" y="16857"/>
                  <a:pt x="8003" y="16692"/>
                </a:cubicBezTo>
                <a:cubicBezTo>
                  <a:pt x="7916" y="16573"/>
                  <a:pt x="7859" y="16360"/>
                  <a:pt x="7686" y="16336"/>
                </a:cubicBezTo>
                <a:cubicBezTo>
                  <a:pt x="6310" y="16075"/>
                  <a:pt x="7543" y="17166"/>
                  <a:pt x="7057" y="17355"/>
                </a:cubicBezTo>
                <a:cubicBezTo>
                  <a:pt x="6224" y="17663"/>
                  <a:pt x="6453" y="16881"/>
                  <a:pt x="6425" y="16715"/>
                </a:cubicBezTo>
                <a:cubicBezTo>
                  <a:pt x="6425" y="16668"/>
                  <a:pt x="6339" y="16668"/>
                  <a:pt x="6310" y="16668"/>
                </a:cubicBezTo>
                <a:cubicBezTo>
                  <a:pt x="6052" y="16692"/>
                  <a:pt x="5908" y="16407"/>
                  <a:pt x="5851" y="16146"/>
                </a:cubicBezTo>
                <a:cubicBezTo>
                  <a:pt x="5794" y="15790"/>
                  <a:pt x="6137" y="16194"/>
                  <a:pt x="6195" y="15648"/>
                </a:cubicBezTo>
                <a:cubicBezTo>
                  <a:pt x="6224" y="15269"/>
                  <a:pt x="5478" y="14795"/>
                  <a:pt x="5105" y="14700"/>
                </a:cubicBezTo>
                <a:cubicBezTo>
                  <a:pt x="5018" y="14676"/>
                  <a:pt x="4933" y="14842"/>
                  <a:pt x="4876" y="14771"/>
                </a:cubicBezTo>
                <a:cubicBezTo>
                  <a:pt x="4761" y="14653"/>
                  <a:pt x="4876" y="14439"/>
                  <a:pt x="4733" y="14321"/>
                </a:cubicBezTo>
                <a:cubicBezTo>
                  <a:pt x="4560" y="14178"/>
                  <a:pt x="3785" y="14368"/>
                  <a:pt x="4188" y="13917"/>
                </a:cubicBezTo>
                <a:cubicBezTo>
                  <a:pt x="4216" y="13893"/>
                  <a:pt x="4330" y="13941"/>
                  <a:pt x="4360" y="13893"/>
                </a:cubicBezTo>
                <a:cubicBezTo>
                  <a:pt x="4818" y="13633"/>
                  <a:pt x="4589" y="13420"/>
                  <a:pt x="4733" y="12969"/>
                </a:cubicBezTo>
                <a:cubicBezTo>
                  <a:pt x="4733" y="12921"/>
                  <a:pt x="4790" y="13063"/>
                  <a:pt x="4848" y="13063"/>
                </a:cubicBezTo>
                <a:cubicBezTo>
                  <a:pt x="4876" y="13063"/>
                  <a:pt x="4790" y="12969"/>
                  <a:pt x="4818" y="12969"/>
                </a:cubicBezTo>
                <a:cubicBezTo>
                  <a:pt x="5105" y="12969"/>
                  <a:pt x="5392" y="13206"/>
                  <a:pt x="5622" y="13016"/>
                </a:cubicBezTo>
                <a:cubicBezTo>
                  <a:pt x="5937" y="12756"/>
                  <a:pt x="5507" y="12732"/>
                  <a:pt x="6080" y="12423"/>
                </a:cubicBezTo>
                <a:cubicBezTo>
                  <a:pt x="6481" y="12210"/>
                  <a:pt x="6770" y="12566"/>
                  <a:pt x="7085" y="12661"/>
                </a:cubicBezTo>
                <a:cubicBezTo>
                  <a:pt x="7543" y="12803"/>
                  <a:pt x="8089" y="12756"/>
                  <a:pt x="8576" y="12874"/>
                </a:cubicBezTo>
                <a:cubicBezTo>
                  <a:pt x="8863" y="12921"/>
                  <a:pt x="9035" y="13206"/>
                  <a:pt x="9322" y="13230"/>
                </a:cubicBezTo>
                <a:cubicBezTo>
                  <a:pt x="9437" y="13253"/>
                  <a:pt x="9666" y="13136"/>
                  <a:pt x="9638" y="13016"/>
                </a:cubicBezTo>
                <a:cubicBezTo>
                  <a:pt x="9580" y="12921"/>
                  <a:pt x="9265" y="13040"/>
                  <a:pt x="9208" y="12921"/>
                </a:cubicBezTo>
                <a:cubicBezTo>
                  <a:pt x="8920" y="12376"/>
                  <a:pt x="9924" y="13182"/>
                  <a:pt x="10269" y="12399"/>
                </a:cubicBezTo>
                <a:cubicBezTo>
                  <a:pt x="10297" y="12329"/>
                  <a:pt x="10067" y="12447"/>
                  <a:pt x="9953" y="12399"/>
                </a:cubicBezTo>
                <a:cubicBezTo>
                  <a:pt x="9895" y="12376"/>
                  <a:pt x="9953" y="12258"/>
                  <a:pt x="9895" y="12258"/>
                </a:cubicBezTo>
                <a:cubicBezTo>
                  <a:pt x="9839" y="12258"/>
                  <a:pt x="9810" y="12543"/>
                  <a:pt x="9666" y="12399"/>
                </a:cubicBezTo>
                <a:cubicBezTo>
                  <a:pt x="9437" y="12162"/>
                  <a:pt x="9265" y="12495"/>
                  <a:pt x="8891" y="12352"/>
                </a:cubicBezTo>
                <a:cubicBezTo>
                  <a:pt x="8692" y="12258"/>
                  <a:pt x="8633" y="11973"/>
                  <a:pt x="8404" y="11949"/>
                </a:cubicBezTo>
                <a:cubicBezTo>
                  <a:pt x="8260" y="11925"/>
                  <a:pt x="8347" y="12305"/>
                  <a:pt x="8175" y="12305"/>
                </a:cubicBezTo>
                <a:cubicBezTo>
                  <a:pt x="7659" y="12281"/>
                  <a:pt x="8003" y="11309"/>
                  <a:pt x="7630" y="11854"/>
                </a:cubicBezTo>
                <a:cubicBezTo>
                  <a:pt x="7572" y="11949"/>
                  <a:pt x="7773" y="12139"/>
                  <a:pt x="7659" y="12210"/>
                </a:cubicBezTo>
                <a:cubicBezTo>
                  <a:pt x="7458" y="12376"/>
                  <a:pt x="6539" y="12068"/>
                  <a:pt x="6339" y="12139"/>
                </a:cubicBezTo>
                <a:cubicBezTo>
                  <a:pt x="5966" y="12258"/>
                  <a:pt x="5679" y="12543"/>
                  <a:pt x="5134" y="12661"/>
                </a:cubicBezTo>
                <a:cubicBezTo>
                  <a:pt x="4818" y="12732"/>
                  <a:pt x="4733" y="12329"/>
                  <a:pt x="4560" y="12258"/>
                </a:cubicBezTo>
                <a:cubicBezTo>
                  <a:pt x="4474" y="12234"/>
                  <a:pt x="4589" y="12423"/>
                  <a:pt x="4531" y="12471"/>
                </a:cubicBezTo>
                <a:cubicBezTo>
                  <a:pt x="4416" y="12613"/>
                  <a:pt x="4216" y="12732"/>
                  <a:pt x="4043" y="12803"/>
                </a:cubicBezTo>
                <a:cubicBezTo>
                  <a:pt x="3987" y="12827"/>
                  <a:pt x="4016" y="12708"/>
                  <a:pt x="3987" y="12708"/>
                </a:cubicBezTo>
                <a:cubicBezTo>
                  <a:pt x="3671" y="12590"/>
                  <a:pt x="3987" y="12376"/>
                  <a:pt x="3785" y="12115"/>
                </a:cubicBezTo>
                <a:cubicBezTo>
                  <a:pt x="3671" y="11973"/>
                  <a:pt x="3528" y="11831"/>
                  <a:pt x="3356" y="11737"/>
                </a:cubicBezTo>
                <a:cubicBezTo>
                  <a:pt x="3298" y="11712"/>
                  <a:pt x="3212" y="11807"/>
                  <a:pt x="3183" y="11760"/>
                </a:cubicBezTo>
                <a:cubicBezTo>
                  <a:pt x="3040" y="11664"/>
                  <a:pt x="3097" y="11451"/>
                  <a:pt x="2954" y="11380"/>
                </a:cubicBezTo>
                <a:cubicBezTo>
                  <a:pt x="2667" y="11214"/>
                  <a:pt x="2151" y="11854"/>
                  <a:pt x="2581" y="10977"/>
                </a:cubicBezTo>
                <a:cubicBezTo>
                  <a:pt x="2523" y="10953"/>
                  <a:pt x="2466" y="10929"/>
                  <a:pt x="2380" y="10882"/>
                </a:cubicBezTo>
                <a:cubicBezTo>
                  <a:pt x="2294" y="10811"/>
                  <a:pt x="2351" y="10693"/>
                  <a:pt x="2294" y="10622"/>
                </a:cubicBezTo>
                <a:cubicBezTo>
                  <a:pt x="1978" y="10290"/>
                  <a:pt x="1176" y="9982"/>
                  <a:pt x="831" y="9744"/>
                </a:cubicBezTo>
                <a:cubicBezTo>
                  <a:pt x="716" y="9697"/>
                  <a:pt x="889" y="9460"/>
                  <a:pt x="802" y="9388"/>
                </a:cubicBezTo>
                <a:cubicBezTo>
                  <a:pt x="716" y="9318"/>
                  <a:pt x="286" y="9578"/>
                  <a:pt x="0" y="9009"/>
                </a:cubicBezTo>
                <a:cubicBezTo>
                  <a:pt x="27" y="8985"/>
                  <a:pt x="27" y="8985"/>
                  <a:pt x="56" y="8962"/>
                </a:cubicBezTo>
                <a:cubicBezTo>
                  <a:pt x="85" y="8938"/>
                  <a:pt x="27" y="8914"/>
                  <a:pt x="56" y="8914"/>
                </a:cubicBezTo>
                <a:cubicBezTo>
                  <a:pt x="544" y="8843"/>
                  <a:pt x="859" y="9175"/>
                  <a:pt x="831" y="8559"/>
                </a:cubicBezTo>
                <a:cubicBezTo>
                  <a:pt x="831" y="8417"/>
                  <a:pt x="1233" y="8630"/>
                  <a:pt x="1147" y="8417"/>
                </a:cubicBezTo>
                <a:lnTo>
                  <a:pt x="773" y="7942"/>
                </a:lnTo>
                <a:cubicBezTo>
                  <a:pt x="802" y="7776"/>
                  <a:pt x="1692" y="7540"/>
                  <a:pt x="1749" y="7467"/>
                </a:cubicBezTo>
                <a:cubicBezTo>
                  <a:pt x="1749" y="7444"/>
                  <a:pt x="1921" y="6496"/>
                  <a:pt x="1921" y="6496"/>
                </a:cubicBezTo>
                <a:cubicBezTo>
                  <a:pt x="2122" y="5856"/>
                  <a:pt x="2294" y="6638"/>
                  <a:pt x="2581" y="5737"/>
                </a:cubicBezTo>
                <a:cubicBezTo>
                  <a:pt x="2667" y="5452"/>
                  <a:pt x="2266" y="5358"/>
                  <a:pt x="2266" y="5050"/>
                </a:cubicBezTo>
                <a:cubicBezTo>
                  <a:pt x="2466" y="5073"/>
                  <a:pt x="4388" y="4575"/>
                  <a:pt x="4503" y="4504"/>
                </a:cubicBezTo>
                <a:cubicBezTo>
                  <a:pt x="4818" y="4219"/>
                  <a:pt x="4589" y="3840"/>
                  <a:pt x="5162" y="3675"/>
                </a:cubicBezTo>
                <a:cubicBezTo>
                  <a:pt x="5363" y="3603"/>
                  <a:pt x="6481" y="3721"/>
                  <a:pt x="6654" y="3627"/>
                </a:cubicBezTo>
                <a:cubicBezTo>
                  <a:pt x="6740" y="3580"/>
                  <a:pt x="6712" y="3437"/>
                  <a:pt x="6797" y="3390"/>
                </a:cubicBezTo>
                <a:cubicBezTo>
                  <a:pt x="6855" y="3366"/>
                  <a:pt x="6941" y="3509"/>
                  <a:pt x="6998" y="3460"/>
                </a:cubicBezTo>
                <a:cubicBezTo>
                  <a:pt x="7343" y="3271"/>
                  <a:pt x="6568" y="2892"/>
                  <a:pt x="7486" y="2750"/>
                </a:cubicBezTo>
                <a:cubicBezTo>
                  <a:pt x="7458" y="2773"/>
                  <a:pt x="7486" y="2821"/>
                  <a:pt x="7486" y="2821"/>
                </a:cubicBezTo>
                <a:cubicBezTo>
                  <a:pt x="7514" y="2773"/>
                  <a:pt x="7514" y="2631"/>
                  <a:pt x="7514" y="2441"/>
                </a:cubicBezTo>
                <a:cubicBezTo>
                  <a:pt x="7514" y="2560"/>
                  <a:pt x="7514" y="2679"/>
                  <a:pt x="7514" y="2750"/>
                </a:cubicBezTo>
                <a:lnTo>
                  <a:pt x="7486" y="2750"/>
                </a:lnTo>
                <a:cubicBezTo>
                  <a:pt x="7601" y="2750"/>
                  <a:pt x="7744" y="2750"/>
                  <a:pt x="7859" y="2750"/>
                </a:cubicBezTo>
                <a:cubicBezTo>
                  <a:pt x="7974" y="2750"/>
                  <a:pt x="8118" y="2821"/>
                  <a:pt x="8203" y="2750"/>
                </a:cubicBezTo>
                <a:cubicBezTo>
                  <a:pt x="8318" y="2702"/>
                  <a:pt x="8318" y="2513"/>
                  <a:pt x="8433" y="2465"/>
                </a:cubicBezTo>
                <a:cubicBezTo>
                  <a:pt x="8748" y="2299"/>
                  <a:pt x="9179" y="2394"/>
                  <a:pt x="9523" y="2299"/>
                </a:cubicBezTo>
                <a:cubicBezTo>
                  <a:pt x="10326" y="2062"/>
                  <a:pt x="10527" y="1777"/>
                  <a:pt x="11043" y="1517"/>
                </a:cubicBezTo>
                <a:cubicBezTo>
                  <a:pt x="11128" y="1469"/>
                  <a:pt x="11272" y="1659"/>
                  <a:pt x="11387" y="1612"/>
                </a:cubicBezTo>
                <a:cubicBezTo>
                  <a:pt x="11559" y="1588"/>
                  <a:pt x="11645" y="1351"/>
                  <a:pt x="11818" y="1398"/>
                </a:cubicBezTo>
                <a:cubicBezTo>
                  <a:pt x="12047" y="1422"/>
                  <a:pt x="12104" y="1683"/>
                  <a:pt x="12305" y="1777"/>
                </a:cubicBezTo>
                <a:cubicBezTo>
                  <a:pt x="12334" y="1825"/>
                  <a:pt x="12420" y="1730"/>
                  <a:pt x="12477" y="1754"/>
                </a:cubicBezTo>
                <a:cubicBezTo>
                  <a:pt x="12564" y="1777"/>
                  <a:pt x="12621" y="1943"/>
                  <a:pt x="12707" y="1920"/>
                </a:cubicBezTo>
                <a:cubicBezTo>
                  <a:pt x="12821" y="1896"/>
                  <a:pt x="12821" y="1707"/>
                  <a:pt x="12936" y="1683"/>
                </a:cubicBezTo>
                <a:cubicBezTo>
                  <a:pt x="13252" y="1612"/>
                  <a:pt x="13625" y="1754"/>
                  <a:pt x="13911" y="1872"/>
                </a:cubicBezTo>
                <a:cubicBezTo>
                  <a:pt x="13969" y="1896"/>
                  <a:pt x="13911" y="2014"/>
                  <a:pt x="13998" y="2014"/>
                </a:cubicBezTo>
                <a:cubicBezTo>
                  <a:pt x="14398" y="2038"/>
                  <a:pt x="15031" y="1635"/>
                  <a:pt x="15432" y="1517"/>
                </a:cubicBezTo>
                <a:cubicBezTo>
                  <a:pt x="15432" y="1517"/>
                  <a:pt x="15432" y="1517"/>
                  <a:pt x="15432" y="1517"/>
                </a:cubicBezTo>
                <a:close/>
                <a:moveTo>
                  <a:pt x="21341" y="19466"/>
                </a:moveTo>
                <a:cubicBezTo>
                  <a:pt x="21026" y="19964"/>
                  <a:pt x="21599" y="19632"/>
                  <a:pt x="21284" y="20367"/>
                </a:cubicBezTo>
                <a:cubicBezTo>
                  <a:pt x="21255" y="20438"/>
                  <a:pt x="18931" y="20864"/>
                  <a:pt x="18702" y="20936"/>
                </a:cubicBezTo>
                <a:cubicBezTo>
                  <a:pt x="18529" y="20983"/>
                  <a:pt x="16923" y="21599"/>
                  <a:pt x="16751" y="21481"/>
                </a:cubicBezTo>
                <a:cubicBezTo>
                  <a:pt x="16236" y="21007"/>
                  <a:pt x="17153" y="21054"/>
                  <a:pt x="15518" y="20889"/>
                </a:cubicBezTo>
                <a:cubicBezTo>
                  <a:pt x="13854" y="20722"/>
                  <a:pt x="15920" y="21054"/>
                  <a:pt x="14514" y="21054"/>
                </a:cubicBezTo>
                <a:cubicBezTo>
                  <a:pt x="14428" y="21054"/>
                  <a:pt x="14398" y="20936"/>
                  <a:pt x="14313" y="20936"/>
                </a:cubicBezTo>
                <a:cubicBezTo>
                  <a:pt x="14141" y="20912"/>
                  <a:pt x="13941" y="20936"/>
                  <a:pt x="13740" y="20960"/>
                </a:cubicBezTo>
                <a:cubicBezTo>
                  <a:pt x="13539" y="21007"/>
                  <a:pt x="13309" y="21102"/>
                  <a:pt x="13109" y="21125"/>
                </a:cubicBezTo>
                <a:cubicBezTo>
                  <a:pt x="12678" y="21125"/>
                  <a:pt x="12850" y="20675"/>
                  <a:pt x="12879" y="20533"/>
                </a:cubicBezTo>
                <a:cubicBezTo>
                  <a:pt x="12879" y="20343"/>
                  <a:pt x="12793" y="20129"/>
                  <a:pt x="12879" y="19964"/>
                </a:cubicBezTo>
                <a:cubicBezTo>
                  <a:pt x="13194" y="19228"/>
                  <a:pt x="13481" y="20058"/>
                  <a:pt x="13683" y="20129"/>
                </a:cubicBezTo>
                <a:cubicBezTo>
                  <a:pt x="13883" y="20200"/>
                  <a:pt x="14112" y="20106"/>
                  <a:pt x="14313" y="20035"/>
                </a:cubicBezTo>
                <a:cubicBezTo>
                  <a:pt x="14456" y="19987"/>
                  <a:pt x="14543" y="19679"/>
                  <a:pt x="14657" y="19774"/>
                </a:cubicBezTo>
                <a:cubicBezTo>
                  <a:pt x="14802" y="19869"/>
                  <a:pt x="14313" y="19964"/>
                  <a:pt x="14371" y="20082"/>
                </a:cubicBezTo>
                <a:cubicBezTo>
                  <a:pt x="14398" y="20200"/>
                  <a:pt x="14657" y="20129"/>
                  <a:pt x="14802" y="20177"/>
                </a:cubicBezTo>
                <a:cubicBezTo>
                  <a:pt x="14944" y="20224"/>
                  <a:pt x="15060" y="20390"/>
                  <a:pt x="15231" y="20414"/>
                </a:cubicBezTo>
                <a:cubicBezTo>
                  <a:pt x="15375" y="20438"/>
                  <a:pt x="15490" y="20343"/>
                  <a:pt x="15633" y="20295"/>
                </a:cubicBezTo>
                <a:cubicBezTo>
                  <a:pt x="15920" y="20224"/>
                  <a:pt x="16121" y="20035"/>
                  <a:pt x="16378" y="19964"/>
                </a:cubicBezTo>
                <a:cubicBezTo>
                  <a:pt x="16694" y="19893"/>
                  <a:pt x="17009" y="19916"/>
                  <a:pt x="17325" y="19869"/>
                </a:cubicBezTo>
                <a:cubicBezTo>
                  <a:pt x="17526" y="19821"/>
                  <a:pt x="17354" y="20012"/>
                  <a:pt x="17526" y="20035"/>
                </a:cubicBezTo>
                <a:cubicBezTo>
                  <a:pt x="17841" y="20106"/>
                  <a:pt x="18157" y="19893"/>
                  <a:pt x="18502" y="19916"/>
                </a:cubicBezTo>
                <a:cubicBezTo>
                  <a:pt x="18587" y="19916"/>
                  <a:pt x="18644" y="20058"/>
                  <a:pt x="18731" y="20035"/>
                </a:cubicBezTo>
                <a:cubicBezTo>
                  <a:pt x="18874" y="20012"/>
                  <a:pt x="19390" y="19655"/>
                  <a:pt x="19649" y="19703"/>
                </a:cubicBezTo>
                <a:cubicBezTo>
                  <a:pt x="19706" y="19726"/>
                  <a:pt x="19218" y="20224"/>
                  <a:pt x="19906" y="20390"/>
                </a:cubicBezTo>
                <a:cubicBezTo>
                  <a:pt x="20050" y="20438"/>
                  <a:pt x="20050" y="20177"/>
                  <a:pt x="20165" y="20106"/>
                </a:cubicBezTo>
                <a:cubicBezTo>
                  <a:pt x="20767" y="19608"/>
                  <a:pt x="20681" y="20248"/>
                  <a:pt x="21341" y="19466"/>
                </a:cubicBezTo>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72" name="AutoShape 40"/>
          <p:cNvSpPr>
            <a:spLocks/>
          </p:cNvSpPr>
          <p:nvPr/>
        </p:nvSpPr>
        <p:spPr bwMode="auto">
          <a:xfrm>
            <a:off x="18618200" y="6386513"/>
            <a:ext cx="2303463" cy="1911350"/>
          </a:xfrm>
          <a:custGeom>
            <a:avLst/>
            <a:gdLst>
              <a:gd name="T0" fmla="*/ 10800 w 21600"/>
              <a:gd name="T1" fmla="+- 0 10828 156"/>
              <a:gd name="T2" fmla="*/ 10828 h 21345"/>
              <a:gd name="T3" fmla="*/ 10800 w 21600"/>
              <a:gd name="T4" fmla="+- 0 10828 156"/>
              <a:gd name="T5" fmla="*/ 10828 h 21345"/>
              <a:gd name="T6" fmla="*/ 10800 w 21600"/>
              <a:gd name="T7" fmla="+- 0 10828 156"/>
              <a:gd name="T8" fmla="*/ 10828 h 21345"/>
              <a:gd name="T9" fmla="*/ 10800 w 21600"/>
              <a:gd name="T10" fmla="+- 0 10828 156"/>
              <a:gd name="T11" fmla="*/ 10828 h 21345"/>
            </a:gdLst>
            <a:ahLst/>
            <a:cxnLst>
              <a:cxn ang="0">
                <a:pos x="T0" y="T2"/>
              </a:cxn>
              <a:cxn ang="0">
                <a:pos x="T3" y="T5"/>
              </a:cxn>
              <a:cxn ang="0">
                <a:pos x="T6" y="T8"/>
              </a:cxn>
              <a:cxn ang="0">
                <a:pos x="T9" y="T11"/>
              </a:cxn>
            </a:cxnLst>
            <a:rect l="0" t="0" r="r" b="b"/>
            <a:pathLst>
              <a:path w="21600" h="21345">
                <a:moveTo>
                  <a:pt x="8823" y="435"/>
                </a:moveTo>
                <a:cubicBezTo>
                  <a:pt x="8923" y="495"/>
                  <a:pt x="9023" y="554"/>
                  <a:pt x="9097" y="672"/>
                </a:cubicBezTo>
                <a:cubicBezTo>
                  <a:pt x="9122" y="703"/>
                  <a:pt x="9122" y="821"/>
                  <a:pt x="9072" y="791"/>
                </a:cubicBezTo>
                <a:cubicBezTo>
                  <a:pt x="8898" y="643"/>
                  <a:pt x="8848" y="524"/>
                  <a:pt x="8823" y="435"/>
                </a:cubicBezTo>
                <a:close/>
                <a:moveTo>
                  <a:pt x="546" y="5205"/>
                </a:moveTo>
                <a:cubicBezTo>
                  <a:pt x="546" y="5205"/>
                  <a:pt x="546" y="5205"/>
                  <a:pt x="571" y="5205"/>
                </a:cubicBezTo>
                <a:cubicBezTo>
                  <a:pt x="571" y="5205"/>
                  <a:pt x="546" y="5205"/>
                  <a:pt x="546" y="5205"/>
                </a:cubicBezTo>
                <a:close/>
                <a:moveTo>
                  <a:pt x="546" y="5205"/>
                </a:moveTo>
                <a:lnTo>
                  <a:pt x="546" y="5205"/>
                </a:lnTo>
                <a:cubicBezTo>
                  <a:pt x="546" y="5205"/>
                  <a:pt x="546" y="5205"/>
                  <a:pt x="546" y="5205"/>
                </a:cubicBezTo>
                <a:close/>
                <a:moveTo>
                  <a:pt x="322" y="5146"/>
                </a:moveTo>
                <a:cubicBezTo>
                  <a:pt x="347" y="5146"/>
                  <a:pt x="347" y="5146"/>
                  <a:pt x="347" y="5146"/>
                </a:cubicBezTo>
                <a:cubicBezTo>
                  <a:pt x="347" y="5146"/>
                  <a:pt x="347" y="5146"/>
                  <a:pt x="322" y="5146"/>
                </a:cubicBezTo>
                <a:close/>
                <a:moveTo>
                  <a:pt x="298" y="5146"/>
                </a:moveTo>
                <a:cubicBezTo>
                  <a:pt x="322" y="5146"/>
                  <a:pt x="322" y="5146"/>
                  <a:pt x="322" y="5146"/>
                </a:cubicBezTo>
                <a:moveTo>
                  <a:pt x="273" y="5117"/>
                </a:moveTo>
                <a:cubicBezTo>
                  <a:pt x="298" y="5117"/>
                  <a:pt x="298" y="5117"/>
                  <a:pt x="298" y="5146"/>
                </a:cubicBezTo>
                <a:cubicBezTo>
                  <a:pt x="298" y="5117"/>
                  <a:pt x="298" y="5117"/>
                  <a:pt x="273" y="5117"/>
                </a:cubicBezTo>
                <a:close/>
                <a:moveTo>
                  <a:pt x="248" y="5117"/>
                </a:moveTo>
                <a:lnTo>
                  <a:pt x="248" y="5117"/>
                </a:lnTo>
                <a:cubicBezTo>
                  <a:pt x="273" y="5117"/>
                  <a:pt x="273" y="5117"/>
                  <a:pt x="273" y="5117"/>
                </a:cubicBezTo>
                <a:moveTo>
                  <a:pt x="223" y="5087"/>
                </a:moveTo>
                <a:cubicBezTo>
                  <a:pt x="223" y="5087"/>
                  <a:pt x="223" y="5117"/>
                  <a:pt x="248" y="5117"/>
                </a:cubicBezTo>
                <a:cubicBezTo>
                  <a:pt x="223" y="5117"/>
                  <a:pt x="223" y="5087"/>
                  <a:pt x="223" y="5087"/>
                </a:cubicBezTo>
                <a:close/>
                <a:moveTo>
                  <a:pt x="173" y="5087"/>
                </a:moveTo>
                <a:cubicBezTo>
                  <a:pt x="173" y="5087"/>
                  <a:pt x="173" y="5087"/>
                  <a:pt x="198" y="5087"/>
                </a:cubicBezTo>
                <a:cubicBezTo>
                  <a:pt x="173" y="5087"/>
                  <a:pt x="173" y="5087"/>
                  <a:pt x="173" y="5087"/>
                </a:cubicBezTo>
                <a:close/>
                <a:moveTo>
                  <a:pt x="148" y="5058"/>
                </a:moveTo>
                <a:lnTo>
                  <a:pt x="148" y="5058"/>
                </a:lnTo>
                <a:cubicBezTo>
                  <a:pt x="148" y="5087"/>
                  <a:pt x="148" y="5087"/>
                  <a:pt x="148" y="5087"/>
                </a:cubicBezTo>
                <a:cubicBezTo>
                  <a:pt x="173" y="5087"/>
                  <a:pt x="173" y="5087"/>
                  <a:pt x="173" y="5087"/>
                </a:cubicBezTo>
                <a:moveTo>
                  <a:pt x="25" y="4999"/>
                </a:moveTo>
                <a:cubicBezTo>
                  <a:pt x="49" y="5028"/>
                  <a:pt x="73" y="5028"/>
                  <a:pt x="99" y="5058"/>
                </a:cubicBezTo>
                <a:cubicBezTo>
                  <a:pt x="73" y="5028"/>
                  <a:pt x="49" y="5028"/>
                  <a:pt x="25" y="4999"/>
                </a:cubicBezTo>
                <a:close/>
                <a:moveTo>
                  <a:pt x="0" y="4999"/>
                </a:moveTo>
                <a:lnTo>
                  <a:pt x="25" y="4999"/>
                </a:lnTo>
                <a:moveTo>
                  <a:pt x="2485" y="16170"/>
                </a:moveTo>
                <a:cubicBezTo>
                  <a:pt x="3157" y="16050"/>
                  <a:pt x="2361" y="15399"/>
                  <a:pt x="3057" y="15546"/>
                </a:cubicBezTo>
                <a:cubicBezTo>
                  <a:pt x="3504" y="15606"/>
                  <a:pt x="3132" y="15843"/>
                  <a:pt x="3405" y="16080"/>
                </a:cubicBezTo>
                <a:cubicBezTo>
                  <a:pt x="3802" y="16465"/>
                  <a:pt x="4125" y="16199"/>
                  <a:pt x="4449" y="16436"/>
                </a:cubicBezTo>
                <a:cubicBezTo>
                  <a:pt x="4548" y="16524"/>
                  <a:pt x="4523" y="16673"/>
                  <a:pt x="4573" y="16761"/>
                </a:cubicBezTo>
                <a:cubicBezTo>
                  <a:pt x="4622" y="16791"/>
                  <a:pt x="4648" y="16703"/>
                  <a:pt x="4672" y="16703"/>
                </a:cubicBezTo>
                <a:cubicBezTo>
                  <a:pt x="4747" y="16673"/>
                  <a:pt x="4822" y="16613"/>
                  <a:pt x="4846" y="16673"/>
                </a:cubicBezTo>
                <a:cubicBezTo>
                  <a:pt x="4921" y="16761"/>
                  <a:pt x="4846" y="16910"/>
                  <a:pt x="4921" y="16999"/>
                </a:cubicBezTo>
                <a:cubicBezTo>
                  <a:pt x="4921" y="16999"/>
                  <a:pt x="5468" y="16644"/>
                  <a:pt x="5592" y="16733"/>
                </a:cubicBezTo>
                <a:cubicBezTo>
                  <a:pt x="6263" y="17117"/>
                  <a:pt x="5318" y="17265"/>
                  <a:pt x="5368" y="17651"/>
                </a:cubicBezTo>
                <a:lnTo>
                  <a:pt x="5940" y="18066"/>
                </a:lnTo>
                <a:cubicBezTo>
                  <a:pt x="6015" y="18184"/>
                  <a:pt x="6164" y="18954"/>
                  <a:pt x="6537" y="18777"/>
                </a:cubicBezTo>
                <a:cubicBezTo>
                  <a:pt x="6636" y="18718"/>
                  <a:pt x="6611" y="18510"/>
                  <a:pt x="6686" y="18421"/>
                </a:cubicBezTo>
                <a:cubicBezTo>
                  <a:pt x="6810" y="18303"/>
                  <a:pt x="7059" y="18361"/>
                  <a:pt x="7133" y="18184"/>
                </a:cubicBezTo>
                <a:cubicBezTo>
                  <a:pt x="7158" y="18125"/>
                  <a:pt x="6611" y="17473"/>
                  <a:pt x="6760" y="17443"/>
                </a:cubicBezTo>
                <a:cubicBezTo>
                  <a:pt x="7133" y="17384"/>
                  <a:pt x="7556" y="17828"/>
                  <a:pt x="7780" y="17918"/>
                </a:cubicBezTo>
                <a:cubicBezTo>
                  <a:pt x="7879" y="17947"/>
                  <a:pt x="8003" y="17888"/>
                  <a:pt x="8102" y="17888"/>
                </a:cubicBezTo>
                <a:cubicBezTo>
                  <a:pt x="8202" y="17888"/>
                  <a:pt x="8326" y="17947"/>
                  <a:pt x="8426" y="17888"/>
                </a:cubicBezTo>
                <a:cubicBezTo>
                  <a:pt x="8475" y="17858"/>
                  <a:pt x="8451" y="17739"/>
                  <a:pt x="8475" y="17679"/>
                </a:cubicBezTo>
                <a:cubicBezTo>
                  <a:pt x="8500" y="17651"/>
                  <a:pt x="8550" y="17651"/>
                  <a:pt x="8550" y="17679"/>
                </a:cubicBezTo>
                <a:cubicBezTo>
                  <a:pt x="8848" y="18391"/>
                  <a:pt x="8650" y="17947"/>
                  <a:pt x="8326" y="18303"/>
                </a:cubicBezTo>
                <a:cubicBezTo>
                  <a:pt x="8227" y="18391"/>
                  <a:pt x="8575" y="18421"/>
                  <a:pt x="8674" y="18510"/>
                </a:cubicBezTo>
                <a:cubicBezTo>
                  <a:pt x="8749" y="18599"/>
                  <a:pt x="8724" y="18747"/>
                  <a:pt x="8798" y="18836"/>
                </a:cubicBezTo>
                <a:cubicBezTo>
                  <a:pt x="8848" y="18896"/>
                  <a:pt x="8923" y="18925"/>
                  <a:pt x="8973" y="18925"/>
                </a:cubicBezTo>
                <a:cubicBezTo>
                  <a:pt x="9693" y="18836"/>
                  <a:pt x="8873" y="18777"/>
                  <a:pt x="9296" y="18569"/>
                </a:cubicBezTo>
                <a:cubicBezTo>
                  <a:pt x="9345" y="18540"/>
                  <a:pt x="9345" y="18658"/>
                  <a:pt x="9395" y="18688"/>
                </a:cubicBezTo>
                <a:cubicBezTo>
                  <a:pt x="9494" y="18777"/>
                  <a:pt x="9768" y="18865"/>
                  <a:pt x="9892" y="18896"/>
                </a:cubicBezTo>
                <a:cubicBezTo>
                  <a:pt x="10042" y="18954"/>
                  <a:pt x="10265" y="18865"/>
                  <a:pt x="10389" y="18984"/>
                </a:cubicBezTo>
                <a:cubicBezTo>
                  <a:pt x="10414" y="19013"/>
                  <a:pt x="10638" y="19724"/>
                  <a:pt x="10663" y="19754"/>
                </a:cubicBezTo>
                <a:cubicBezTo>
                  <a:pt x="10762" y="19844"/>
                  <a:pt x="10961" y="19754"/>
                  <a:pt x="11060" y="19873"/>
                </a:cubicBezTo>
                <a:cubicBezTo>
                  <a:pt x="11160" y="20021"/>
                  <a:pt x="11085" y="20288"/>
                  <a:pt x="11185" y="20435"/>
                </a:cubicBezTo>
                <a:cubicBezTo>
                  <a:pt x="11235" y="20525"/>
                  <a:pt x="11408" y="20376"/>
                  <a:pt x="11483" y="20466"/>
                </a:cubicBezTo>
                <a:cubicBezTo>
                  <a:pt x="11558" y="20555"/>
                  <a:pt x="11433" y="20762"/>
                  <a:pt x="11508" y="20851"/>
                </a:cubicBezTo>
                <a:cubicBezTo>
                  <a:pt x="11905" y="21235"/>
                  <a:pt x="12229" y="19724"/>
                  <a:pt x="12477" y="19932"/>
                </a:cubicBezTo>
                <a:cubicBezTo>
                  <a:pt x="12627" y="20051"/>
                  <a:pt x="12627" y="20317"/>
                  <a:pt x="12751" y="20466"/>
                </a:cubicBezTo>
                <a:cubicBezTo>
                  <a:pt x="12776" y="20495"/>
                  <a:pt x="12875" y="20407"/>
                  <a:pt x="12900" y="20435"/>
                </a:cubicBezTo>
                <a:cubicBezTo>
                  <a:pt x="12924" y="20495"/>
                  <a:pt x="12826" y="20613"/>
                  <a:pt x="12875" y="20643"/>
                </a:cubicBezTo>
                <a:cubicBezTo>
                  <a:pt x="12999" y="20673"/>
                  <a:pt x="13124" y="20525"/>
                  <a:pt x="13223" y="20584"/>
                </a:cubicBezTo>
                <a:cubicBezTo>
                  <a:pt x="13397" y="20673"/>
                  <a:pt x="13248" y="21235"/>
                  <a:pt x="13248" y="21296"/>
                </a:cubicBezTo>
                <a:cubicBezTo>
                  <a:pt x="13248" y="21443"/>
                  <a:pt x="13472" y="21206"/>
                  <a:pt x="13596" y="21177"/>
                </a:cubicBezTo>
                <a:cubicBezTo>
                  <a:pt x="13695" y="21147"/>
                  <a:pt x="13795" y="21384"/>
                  <a:pt x="13894" y="21325"/>
                </a:cubicBezTo>
                <a:cubicBezTo>
                  <a:pt x="13919" y="21296"/>
                  <a:pt x="14217" y="20376"/>
                  <a:pt x="14565" y="20288"/>
                </a:cubicBezTo>
                <a:cubicBezTo>
                  <a:pt x="14665" y="20257"/>
                  <a:pt x="14765" y="20376"/>
                  <a:pt x="14863" y="20376"/>
                </a:cubicBezTo>
                <a:cubicBezTo>
                  <a:pt x="14963" y="20347"/>
                  <a:pt x="15013" y="20169"/>
                  <a:pt x="15112" y="20199"/>
                </a:cubicBezTo>
                <a:cubicBezTo>
                  <a:pt x="15311" y="20228"/>
                  <a:pt x="15435" y="20555"/>
                  <a:pt x="15634" y="20555"/>
                </a:cubicBezTo>
                <a:cubicBezTo>
                  <a:pt x="15783" y="20555"/>
                  <a:pt x="15907" y="20376"/>
                  <a:pt x="15982" y="20228"/>
                </a:cubicBezTo>
                <a:cubicBezTo>
                  <a:pt x="16007" y="20169"/>
                  <a:pt x="15858" y="20169"/>
                  <a:pt x="15858" y="20110"/>
                </a:cubicBezTo>
                <a:cubicBezTo>
                  <a:pt x="15932" y="19695"/>
                  <a:pt x="16082" y="20110"/>
                  <a:pt x="16180" y="20051"/>
                </a:cubicBezTo>
                <a:cubicBezTo>
                  <a:pt x="16256" y="20021"/>
                  <a:pt x="16256" y="19844"/>
                  <a:pt x="16330" y="19844"/>
                </a:cubicBezTo>
                <a:cubicBezTo>
                  <a:pt x="16703" y="19724"/>
                  <a:pt x="17548" y="19754"/>
                  <a:pt x="17871" y="20051"/>
                </a:cubicBezTo>
                <a:cubicBezTo>
                  <a:pt x="17946" y="20139"/>
                  <a:pt x="17921" y="20347"/>
                  <a:pt x="18020" y="20407"/>
                </a:cubicBezTo>
                <a:cubicBezTo>
                  <a:pt x="18169" y="20525"/>
                  <a:pt x="18344" y="20525"/>
                  <a:pt x="18518" y="20584"/>
                </a:cubicBezTo>
                <a:cubicBezTo>
                  <a:pt x="18841" y="20702"/>
                  <a:pt x="19139" y="20732"/>
                  <a:pt x="19437" y="20792"/>
                </a:cubicBezTo>
                <a:cubicBezTo>
                  <a:pt x="19562" y="20792"/>
                  <a:pt x="19686" y="20732"/>
                  <a:pt x="19810" y="20762"/>
                </a:cubicBezTo>
                <a:cubicBezTo>
                  <a:pt x="19860" y="20792"/>
                  <a:pt x="19960" y="20940"/>
                  <a:pt x="19934" y="20880"/>
                </a:cubicBezTo>
                <a:cubicBezTo>
                  <a:pt x="19636" y="19754"/>
                  <a:pt x="19884" y="20940"/>
                  <a:pt x="19462" y="20317"/>
                </a:cubicBezTo>
                <a:cubicBezTo>
                  <a:pt x="19363" y="20199"/>
                  <a:pt x="19562" y="19992"/>
                  <a:pt x="19537" y="19844"/>
                </a:cubicBezTo>
                <a:cubicBezTo>
                  <a:pt x="19462" y="19547"/>
                  <a:pt x="19213" y="19310"/>
                  <a:pt x="19164" y="18984"/>
                </a:cubicBezTo>
                <a:cubicBezTo>
                  <a:pt x="19089" y="18747"/>
                  <a:pt x="20606" y="15399"/>
                  <a:pt x="20804" y="15192"/>
                </a:cubicBezTo>
                <a:cubicBezTo>
                  <a:pt x="21252" y="14746"/>
                  <a:pt x="21525" y="15399"/>
                  <a:pt x="21599" y="14332"/>
                </a:cubicBezTo>
                <a:cubicBezTo>
                  <a:pt x="21599" y="14096"/>
                  <a:pt x="21102" y="13562"/>
                  <a:pt x="21078" y="13533"/>
                </a:cubicBezTo>
                <a:cubicBezTo>
                  <a:pt x="20953" y="13236"/>
                  <a:pt x="21525" y="13265"/>
                  <a:pt x="21451" y="13177"/>
                </a:cubicBezTo>
                <a:cubicBezTo>
                  <a:pt x="21053" y="12821"/>
                  <a:pt x="20332" y="12257"/>
                  <a:pt x="20108" y="11695"/>
                </a:cubicBezTo>
                <a:cubicBezTo>
                  <a:pt x="20059" y="11547"/>
                  <a:pt x="20158" y="11340"/>
                  <a:pt x="20108" y="11161"/>
                </a:cubicBezTo>
                <a:cubicBezTo>
                  <a:pt x="20033" y="10954"/>
                  <a:pt x="19810" y="10807"/>
                  <a:pt x="19736" y="10598"/>
                </a:cubicBezTo>
                <a:cubicBezTo>
                  <a:pt x="19537" y="10066"/>
                  <a:pt x="20059" y="9058"/>
                  <a:pt x="19562" y="8584"/>
                </a:cubicBezTo>
                <a:cubicBezTo>
                  <a:pt x="19363" y="8406"/>
                  <a:pt x="19114" y="8317"/>
                  <a:pt x="18890" y="8288"/>
                </a:cubicBezTo>
                <a:cubicBezTo>
                  <a:pt x="18841" y="8258"/>
                  <a:pt x="18791" y="8406"/>
                  <a:pt x="18741" y="8377"/>
                </a:cubicBezTo>
                <a:cubicBezTo>
                  <a:pt x="18020" y="8050"/>
                  <a:pt x="19587" y="6480"/>
                  <a:pt x="19760" y="6273"/>
                </a:cubicBezTo>
                <a:cubicBezTo>
                  <a:pt x="19785" y="6243"/>
                  <a:pt x="19835" y="6184"/>
                  <a:pt x="19835" y="6125"/>
                </a:cubicBezTo>
                <a:cubicBezTo>
                  <a:pt x="19760" y="4495"/>
                  <a:pt x="18667" y="3102"/>
                  <a:pt x="18219" y="1592"/>
                </a:cubicBezTo>
                <a:cubicBezTo>
                  <a:pt x="18070" y="1473"/>
                  <a:pt x="18219" y="1146"/>
                  <a:pt x="18070" y="910"/>
                </a:cubicBezTo>
                <a:cubicBezTo>
                  <a:pt x="17623" y="139"/>
                  <a:pt x="17896" y="791"/>
                  <a:pt x="17200" y="435"/>
                </a:cubicBezTo>
                <a:cubicBezTo>
                  <a:pt x="16952" y="317"/>
                  <a:pt x="17126" y="-68"/>
                  <a:pt x="16752" y="80"/>
                </a:cubicBezTo>
                <a:cubicBezTo>
                  <a:pt x="16678" y="110"/>
                  <a:pt x="16678" y="258"/>
                  <a:pt x="16603" y="317"/>
                </a:cubicBezTo>
                <a:cubicBezTo>
                  <a:pt x="15460" y="1117"/>
                  <a:pt x="12105" y="1265"/>
                  <a:pt x="10688" y="1028"/>
                </a:cubicBezTo>
                <a:cubicBezTo>
                  <a:pt x="10240" y="1592"/>
                  <a:pt x="9544" y="1917"/>
                  <a:pt x="8973" y="1650"/>
                </a:cubicBezTo>
                <a:cubicBezTo>
                  <a:pt x="8475" y="1413"/>
                  <a:pt x="8575" y="850"/>
                  <a:pt x="8426" y="495"/>
                </a:cubicBezTo>
                <a:cubicBezTo>
                  <a:pt x="8376" y="406"/>
                  <a:pt x="8202" y="169"/>
                  <a:pt x="8301" y="199"/>
                </a:cubicBezTo>
                <a:cubicBezTo>
                  <a:pt x="8376" y="199"/>
                  <a:pt x="8451" y="199"/>
                  <a:pt x="8500" y="228"/>
                </a:cubicBezTo>
                <a:cubicBezTo>
                  <a:pt x="8376" y="139"/>
                  <a:pt x="8227" y="50"/>
                  <a:pt x="8078" y="21"/>
                </a:cubicBezTo>
                <a:cubicBezTo>
                  <a:pt x="7183" y="-156"/>
                  <a:pt x="6189" y="791"/>
                  <a:pt x="5518" y="1265"/>
                </a:cubicBezTo>
                <a:cubicBezTo>
                  <a:pt x="5294" y="1413"/>
                  <a:pt x="5021" y="1354"/>
                  <a:pt x="4846" y="1532"/>
                </a:cubicBezTo>
                <a:cubicBezTo>
                  <a:pt x="4424" y="1977"/>
                  <a:pt x="4324" y="2688"/>
                  <a:pt x="4201" y="2717"/>
                </a:cubicBezTo>
                <a:cubicBezTo>
                  <a:pt x="3280" y="2984"/>
                  <a:pt x="2411" y="3458"/>
                  <a:pt x="1541" y="3873"/>
                </a:cubicBezTo>
                <a:cubicBezTo>
                  <a:pt x="1317" y="3991"/>
                  <a:pt x="1168" y="4318"/>
                  <a:pt x="944" y="4377"/>
                </a:cubicBezTo>
                <a:cubicBezTo>
                  <a:pt x="820" y="4435"/>
                  <a:pt x="695" y="4287"/>
                  <a:pt x="571" y="4347"/>
                </a:cubicBezTo>
                <a:cubicBezTo>
                  <a:pt x="347" y="4495"/>
                  <a:pt x="869" y="5146"/>
                  <a:pt x="646" y="5205"/>
                </a:cubicBezTo>
                <a:cubicBezTo>
                  <a:pt x="695" y="5680"/>
                  <a:pt x="1093" y="6599"/>
                  <a:pt x="1143" y="6895"/>
                </a:cubicBezTo>
                <a:cubicBezTo>
                  <a:pt x="1217" y="7606"/>
                  <a:pt x="422" y="8080"/>
                  <a:pt x="596" y="8644"/>
                </a:cubicBezTo>
                <a:cubicBezTo>
                  <a:pt x="695" y="8999"/>
                  <a:pt x="1640" y="9147"/>
                  <a:pt x="1640" y="9590"/>
                </a:cubicBezTo>
                <a:cubicBezTo>
                  <a:pt x="1640" y="10036"/>
                  <a:pt x="1342" y="10184"/>
                  <a:pt x="1565" y="10510"/>
                </a:cubicBezTo>
                <a:cubicBezTo>
                  <a:pt x="1640" y="10658"/>
                  <a:pt x="1814" y="10717"/>
                  <a:pt x="1864" y="10895"/>
                </a:cubicBezTo>
                <a:cubicBezTo>
                  <a:pt x="1938" y="11043"/>
                  <a:pt x="1839" y="11251"/>
                  <a:pt x="1864" y="11399"/>
                </a:cubicBezTo>
                <a:cubicBezTo>
                  <a:pt x="1888" y="11489"/>
                  <a:pt x="1988" y="11459"/>
                  <a:pt x="2013" y="11516"/>
                </a:cubicBezTo>
                <a:cubicBezTo>
                  <a:pt x="2137" y="11724"/>
                  <a:pt x="1839" y="12228"/>
                  <a:pt x="1764" y="12406"/>
                </a:cubicBezTo>
                <a:cubicBezTo>
                  <a:pt x="1615" y="12673"/>
                  <a:pt x="1988" y="12821"/>
                  <a:pt x="2062" y="13088"/>
                </a:cubicBezTo>
                <a:cubicBezTo>
                  <a:pt x="2112" y="13236"/>
                  <a:pt x="1938" y="13413"/>
                  <a:pt x="2013" y="13533"/>
                </a:cubicBezTo>
                <a:cubicBezTo>
                  <a:pt x="2112" y="13710"/>
                  <a:pt x="2336" y="13650"/>
                  <a:pt x="2435" y="13769"/>
                </a:cubicBezTo>
                <a:cubicBezTo>
                  <a:pt x="2733" y="14096"/>
                  <a:pt x="2684" y="15606"/>
                  <a:pt x="2485" y="16170"/>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73" name="AutoShape 41"/>
          <p:cNvSpPr>
            <a:spLocks/>
          </p:cNvSpPr>
          <p:nvPr/>
        </p:nvSpPr>
        <p:spPr bwMode="auto">
          <a:xfrm>
            <a:off x="20561300" y="5548313"/>
            <a:ext cx="1890713" cy="1808162"/>
          </a:xfrm>
          <a:custGeom>
            <a:avLst/>
            <a:gdLst>
              <a:gd name="T0" fmla="+- 0 10893 239"/>
              <a:gd name="T1" fmla="*/ T0 w 21308"/>
              <a:gd name="T2" fmla="+- 0 10882 165"/>
              <a:gd name="T3" fmla="*/ 10882 h 21435"/>
              <a:gd name="T4" fmla="+- 0 10893 239"/>
              <a:gd name="T5" fmla="*/ T4 w 21308"/>
              <a:gd name="T6" fmla="+- 0 10882 165"/>
              <a:gd name="T7" fmla="*/ 10882 h 21435"/>
              <a:gd name="T8" fmla="+- 0 10893 239"/>
              <a:gd name="T9" fmla="*/ T8 w 21308"/>
              <a:gd name="T10" fmla="+- 0 10882 165"/>
              <a:gd name="T11" fmla="*/ 10882 h 21435"/>
              <a:gd name="T12" fmla="+- 0 10893 239"/>
              <a:gd name="T13" fmla="*/ T12 w 21308"/>
              <a:gd name="T14" fmla="+- 0 10882 165"/>
              <a:gd name="T15" fmla="*/ 10882 h 21435"/>
            </a:gdLst>
            <a:ahLst/>
            <a:cxnLst>
              <a:cxn ang="0">
                <a:pos x="T1" y="T3"/>
              </a:cxn>
              <a:cxn ang="0">
                <a:pos x="T5" y="T7"/>
              </a:cxn>
              <a:cxn ang="0">
                <a:pos x="T9" y="T11"/>
              </a:cxn>
              <a:cxn ang="0">
                <a:pos x="T13" y="T15"/>
              </a:cxn>
            </a:cxnLst>
            <a:rect l="0" t="0" r="r" b="b"/>
            <a:pathLst>
              <a:path w="21308" h="21435">
                <a:moveTo>
                  <a:pt x="2031" y="21403"/>
                </a:moveTo>
                <a:cubicBezTo>
                  <a:pt x="2390" y="21310"/>
                  <a:pt x="1673" y="21027"/>
                  <a:pt x="2151" y="20870"/>
                </a:cubicBezTo>
                <a:cubicBezTo>
                  <a:pt x="2300" y="20806"/>
                  <a:pt x="2509" y="20806"/>
                  <a:pt x="2688" y="20837"/>
                </a:cubicBezTo>
                <a:cubicBezTo>
                  <a:pt x="2748" y="20837"/>
                  <a:pt x="2748" y="20996"/>
                  <a:pt x="2838" y="21027"/>
                </a:cubicBezTo>
                <a:cubicBezTo>
                  <a:pt x="3137" y="21121"/>
                  <a:pt x="3555" y="19643"/>
                  <a:pt x="3674" y="19549"/>
                </a:cubicBezTo>
                <a:cubicBezTo>
                  <a:pt x="3913" y="19423"/>
                  <a:pt x="4212" y="19485"/>
                  <a:pt x="4452" y="19392"/>
                </a:cubicBezTo>
                <a:cubicBezTo>
                  <a:pt x="4810" y="19234"/>
                  <a:pt x="5079" y="18920"/>
                  <a:pt x="5467" y="18794"/>
                </a:cubicBezTo>
                <a:cubicBezTo>
                  <a:pt x="5616" y="18763"/>
                  <a:pt x="5766" y="18825"/>
                  <a:pt x="5915" y="18825"/>
                </a:cubicBezTo>
                <a:cubicBezTo>
                  <a:pt x="6065" y="18825"/>
                  <a:pt x="6214" y="18825"/>
                  <a:pt x="6363" y="18825"/>
                </a:cubicBezTo>
                <a:cubicBezTo>
                  <a:pt x="6811" y="18763"/>
                  <a:pt x="7229" y="18480"/>
                  <a:pt x="7648" y="18512"/>
                </a:cubicBezTo>
                <a:cubicBezTo>
                  <a:pt x="7738" y="18512"/>
                  <a:pt x="7767" y="18637"/>
                  <a:pt x="7858" y="18668"/>
                </a:cubicBezTo>
                <a:cubicBezTo>
                  <a:pt x="8603" y="18763"/>
                  <a:pt x="9530" y="18668"/>
                  <a:pt x="10217" y="18480"/>
                </a:cubicBezTo>
                <a:cubicBezTo>
                  <a:pt x="10546" y="18386"/>
                  <a:pt x="10307" y="18700"/>
                  <a:pt x="10486" y="18857"/>
                </a:cubicBezTo>
                <a:cubicBezTo>
                  <a:pt x="10546" y="18889"/>
                  <a:pt x="10665" y="18731"/>
                  <a:pt x="10725" y="18794"/>
                </a:cubicBezTo>
                <a:cubicBezTo>
                  <a:pt x="10784" y="18857"/>
                  <a:pt x="10605" y="19046"/>
                  <a:pt x="10695" y="19078"/>
                </a:cubicBezTo>
                <a:cubicBezTo>
                  <a:pt x="11442" y="19392"/>
                  <a:pt x="10905" y="18889"/>
                  <a:pt x="11263" y="18794"/>
                </a:cubicBezTo>
                <a:cubicBezTo>
                  <a:pt x="12458" y="18448"/>
                  <a:pt x="11382" y="18982"/>
                  <a:pt x="11770" y="19204"/>
                </a:cubicBezTo>
                <a:cubicBezTo>
                  <a:pt x="11831" y="19266"/>
                  <a:pt x="11921" y="19360"/>
                  <a:pt x="11949" y="19298"/>
                </a:cubicBezTo>
                <a:cubicBezTo>
                  <a:pt x="12099" y="19204"/>
                  <a:pt x="11949" y="18637"/>
                  <a:pt x="12099" y="18637"/>
                </a:cubicBezTo>
                <a:cubicBezTo>
                  <a:pt x="12248" y="18605"/>
                  <a:pt x="12518" y="18889"/>
                  <a:pt x="12697" y="18668"/>
                </a:cubicBezTo>
                <a:cubicBezTo>
                  <a:pt x="12817" y="18543"/>
                  <a:pt x="12817" y="18071"/>
                  <a:pt x="12996" y="18166"/>
                </a:cubicBezTo>
                <a:cubicBezTo>
                  <a:pt x="13264" y="18354"/>
                  <a:pt x="12607" y="18637"/>
                  <a:pt x="13354" y="18637"/>
                </a:cubicBezTo>
                <a:cubicBezTo>
                  <a:pt x="13623" y="18637"/>
                  <a:pt x="13474" y="18008"/>
                  <a:pt x="13892" y="18323"/>
                </a:cubicBezTo>
                <a:cubicBezTo>
                  <a:pt x="14669" y="18889"/>
                  <a:pt x="13743" y="18700"/>
                  <a:pt x="14370" y="18857"/>
                </a:cubicBezTo>
                <a:cubicBezTo>
                  <a:pt x="14549" y="18889"/>
                  <a:pt x="14310" y="18417"/>
                  <a:pt x="14430" y="18260"/>
                </a:cubicBezTo>
                <a:cubicBezTo>
                  <a:pt x="14609" y="18008"/>
                  <a:pt x="14878" y="17568"/>
                  <a:pt x="15117" y="17694"/>
                </a:cubicBezTo>
                <a:cubicBezTo>
                  <a:pt x="15355" y="17819"/>
                  <a:pt x="15595" y="18700"/>
                  <a:pt x="15834" y="18637"/>
                </a:cubicBezTo>
                <a:cubicBezTo>
                  <a:pt x="16252" y="18512"/>
                  <a:pt x="15983" y="17977"/>
                  <a:pt x="16461" y="17851"/>
                </a:cubicBezTo>
                <a:cubicBezTo>
                  <a:pt x="16640" y="17819"/>
                  <a:pt x="16790" y="18040"/>
                  <a:pt x="16939" y="18008"/>
                </a:cubicBezTo>
                <a:cubicBezTo>
                  <a:pt x="17925" y="17819"/>
                  <a:pt x="16282" y="17473"/>
                  <a:pt x="17656" y="17568"/>
                </a:cubicBezTo>
                <a:cubicBezTo>
                  <a:pt x="18343" y="17631"/>
                  <a:pt x="17985" y="18417"/>
                  <a:pt x="18761" y="18228"/>
                </a:cubicBezTo>
                <a:cubicBezTo>
                  <a:pt x="19508" y="18071"/>
                  <a:pt x="18314" y="17222"/>
                  <a:pt x="18314" y="16876"/>
                </a:cubicBezTo>
                <a:cubicBezTo>
                  <a:pt x="18314" y="16624"/>
                  <a:pt x="18373" y="16027"/>
                  <a:pt x="18403" y="15808"/>
                </a:cubicBezTo>
                <a:cubicBezTo>
                  <a:pt x="18552" y="14926"/>
                  <a:pt x="18761" y="14612"/>
                  <a:pt x="18881" y="14581"/>
                </a:cubicBezTo>
                <a:cubicBezTo>
                  <a:pt x="19089" y="14519"/>
                  <a:pt x="19329" y="14612"/>
                  <a:pt x="19508" y="14519"/>
                </a:cubicBezTo>
                <a:cubicBezTo>
                  <a:pt x="19628" y="14455"/>
                  <a:pt x="19568" y="14235"/>
                  <a:pt x="19688" y="14172"/>
                </a:cubicBezTo>
                <a:cubicBezTo>
                  <a:pt x="19957" y="13984"/>
                  <a:pt x="20345" y="14015"/>
                  <a:pt x="20674" y="13921"/>
                </a:cubicBezTo>
                <a:cubicBezTo>
                  <a:pt x="20584" y="13857"/>
                  <a:pt x="20644" y="13732"/>
                  <a:pt x="20584" y="13638"/>
                </a:cubicBezTo>
                <a:cubicBezTo>
                  <a:pt x="20584" y="13638"/>
                  <a:pt x="19957" y="13229"/>
                  <a:pt x="19957" y="13198"/>
                </a:cubicBezTo>
                <a:cubicBezTo>
                  <a:pt x="19927" y="13135"/>
                  <a:pt x="20046" y="13041"/>
                  <a:pt x="20017" y="12978"/>
                </a:cubicBezTo>
                <a:cubicBezTo>
                  <a:pt x="19927" y="12758"/>
                  <a:pt x="19718" y="12631"/>
                  <a:pt x="19688" y="12443"/>
                </a:cubicBezTo>
                <a:cubicBezTo>
                  <a:pt x="19657" y="12349"/>
                  <a:pt x="19837" y="12318"/>
                  <a:pt x="19837" y="12223"/>
                </a:cubicBezTo>
                <a:cubicBezTo>
                  <a:pt x="19777" y="12003"/>
                  <a:pt x="19359" y="12003"/>
                  <a:pt x="19329" y="11751"/>
                </a:cubicBezTo>
                <a:cubicBezTo>
                  <a:pt x="19300" y="11657"/>
                  <a:pt x="19479" y="11626"/>
                  <a:pt x="19508" y="11531"/>
                </a:cubicBezTo>
                <a:cubicBezTo>
                  <a:pt x="19598" y="11154"/>
                  <a:pt x="18522" y="10934"/>
                  <a:pt x="18432" y="10683"/>
                </a:cubicBezTo>
                <a:cubicBezTo>
                  <a:pt x="18314" y="10431"/>
                  <a:pt x="18522" y="10116"/>
                  <a:pt x="18492" y="9833"/>
                </a:cubicBezTo>
                <a:cubicBezTo>
                  <a:pt x="18492" y="9330"/>
                  <a:pt x="19927" y="9990"/>
                  <a:pt x="20315" y="9740"/>
                </a:cubicBezTo>
                <a:cubicBezTo>
                  <a:pt x="20584" y="9582"/>
                  <a:pt x="20882" y="8985"/>
                  <a:pt x="20852" y="8670"/>
                </a:cubicBezTo>
                <a:cubicBezTo>
                  <a:pt x="20852" y="8638"/>
                  <a:pt x="20733" y="8670"/>
                  <a:pt x="20763" y="8638"/>
                </a:cubicBezTo>
                <a:cubicBezTo>
                  <a:pt x="20912" y="8482"/>
                  <a:pt x="21182" y="8419"/>
                  <a:pt x="21272" y="8230"/>
                </a:cubicBezTo>
                <a:cubicBezTo>
                  <a:pt x="21361" y="8104"/>
                  <a:pt x="21272" y="7821"/>
                  <a:pt x="21151" y="7758"/>
                </a:cubicBezTo>
                <a:cubicBezTo>
                  <a:pt x="20644" y="7569"/>
                  <a:pt x="20584" y="7789"/>
                  <a:pt x="20315" y="7475"/>
                </a:cubicBezTo>
                <a:cubicBezTo>
                  <a:pt x="20225" y="7350"/>
                  <a:pt x="20524" y="6909"/>
                  <a:pt x="20196" y="6941"/>
                </a:cubicBezTo>
                <a:cubicBezTo>
                  <a:pt x="19837" y="6972"/>
                  <a:pt x="19657" y="6847"/>
                  <a:pt x="19150" y="7003"/>
                </a:cubicBezTo>
                <a:cubicBezTo>
                  <a:pt x="18971" y="7067"/>
                  <a:pt x="18792" y="7255"/>
                  <a:pt x="18612" y="7192"/>
                </a:cubicBezTo>
                <a:cubicBezTo>
                  <a:pt x="18463" y="7130"/>
                  <a:pt x="18732" y="6249"/>
                  <a:pt x="18463" y="6060"/>
                </a:cubicBezTo>
                <a:cubicBezTo>
                  <a:pt x="18373" y="5997"/>
                  <a:pt x="17447" y="5997"/>
                  <a:pt x="17148" y="5777"/>
                </a:cubicBezTo>
                <a:cubicBezTo>
                  <a:pt x="16671" y="5463"/>
                  <a:pt x="16970" y="5148"/>
                  <a:pt x="16282" y="4928"/>
                </a:cubicBezTo>
                <a:cubicBezTo>
                  <a:pt x="16163" y="4866"/>
                  <a:pt x="16461" y="4331"/>
                  <a:pt x="16341" y="4299"/>
                </a:cubicBezTo>
                <a:cubicBezTo>
                  <a:pt x="15924" y="4299"/>
                  <a:pt x="15774" y="4268"/>
                  <a:pt x="15296" y="3922"/>
                </a:cubicBezTo>
                <a:cubicBezTo>
                  <a:pt x="15087" y="3797"/>
                  <a:pt x="15475" y="3136"/>
                  <a:pt x="15416" y="3010"/>
                </a:cubicBezTo>
                <a:cubicBezTo>
                  <a:pt x="15237" y="2727"/>
                  <a:pt x="15654" y="2948"/>
                  <a:pt x="15535" y="2759"/>
                </a:cubicBezTo>
                <a:cubicBezTo>
                  <a:pt x="15446" y="2601"/>
                  <a:pt x="14729" y="2004"/>
                  <a:pt x="14759" y="1847"/>
                </a:cubicBezTo>
                <a:cubicBezTo>
                  <a:pt x="14878" y="1407"/>
                  <a:pt x="14937" y="1093"/>
                  <a:pt x="14698" y="652"/>
                </a:cubicBezTo>
                <a:cubicBezTo>
                  <a:pt x="14639" y="527"/>
                  <a:pt x="14459" y="778"/>
                  <a:pt x="14340" y="778"/>
                </a:cubicBezTo>
                <a:cubicBezTo>
                  <a:pt x="14310" y="778"/>
                  <a:pt x="13354" y="149"/>
                  <a:pt x="13354" y="149"/>
                </a:cubicBezTo>
                <a:cubicBezTo>
                  <a:pt x="12607" y="-165"/>
                  <a:pt x="13145" y="86"/>
                  <a:pt x="12727" y="275"/>
                </a:cubicBezTo>
                <a:cubicBezTo>
                  <a:pt x="12668" y="307"/>
                  <a:pt x="12309" y="244"/>
                  <a:pt x="12219" y="338"/>
                </a:cubicBezTo>
                <a:cubicBezTo>
                  <a:pt x="12070" y="558"/>
                  <a:pt x="11831" y="1155"/>
                  <a:pt x="11592" y="1281"/>
                </a:cubicBezTo>
                <a:cubicBezTo>
                  <a:pt x="11114" y="1533"/>
                  <a:pt x="11143" y="244"/>
                  <a:pt x="11143" y="244"/>
                </a:cubicBezTo>
                <a:cubicBezTo>
                  <a:pt x="10217" y="23"/>
                  <a:pt x="10396" y="149"/>
                  <a:pt x="9769" y="652"/>
                </a:cubicBezTo>
                <a:cubicBezTo>
                  <a:pt x="9620" y="778"/>
                  <a:pt x="9500" y="338"/>
                  <a:pt x="9351" y="212"/>
                </a:cubicBezTo>
                <a:cubicBezTo>
                  <a:pt x="8843" y="-165"/>
                  <a:pt x="8993" y="872"/>
                  <a:pt x="8245" y="244"/>
                </a:cubicBezTo>
                <a:cubicBezTo>
                  <a:pt x="8245" y="275"/>
                  <a:pt x="7678" y="746"/>
                  <a:pt x="7618" y="935"/>
                </a:cubicBezTo>
                <a:cubicBezTo>
                  <a:pt x="7559" y="1030"/>
                  <a:pt x="7408" y="1973"/>
                  <a:pt x="7408" y="1973"/>
                </a:cubicBezTo>
                <a:cubicBezTo>
                  <a:pt x="7260" y="2099"/>
                  <a:pt x="7020" y="1910"/>
                  <a:pt x="6841" y="1973"/>
                </a:cubicBezTo>
                <a:cubicBezTo>
                  <a:pt x="6782" y="2004"/>
                  <a:pt x="6841" y="2224"/>
                  <a:pt x="6753" y="2224"/>
                </a:cubicBezTo>
                <a:cubicBezTo>
                  <a:pt x="6632" y="2224"/>
                  <a:pt x="6542" y="2036"/>
                  <a:pt x="6393" y="2036"/>
                </a:cubicBezTo>
                <a:cubicBezTo>
                  <a:pt x="6005" y="2004"/>
                  <a:pt x="5945" y="2916"/>
                  <a:pt x="5438" y="3042"/>
                </a:cubicBezTo>
                <a:lnTo>
                  <a:pt x="5438" y="3074"/>
                </a:lnTo>
                <a:cubicBezTo>
                  <a:pt x="5616" y="3545"/>
                  <a:pt x="5406" y="3953"/>
                  <a:pt x="5378" y="4425"/>
                </a:cubicBezTo>
                <a:cubicBezTo>
                  <a:pt x="5348" y="4708"/>
                  <a:pt x="6333" y="4142"/>
                  <a:pt x="6214" y="4582"/>
                </a:cubicBezTo>
                <a:cubicBezTo>
                  <a:pt x="6184" y="4677"/>
                  <a:pt x="6034" y="4677"/>
                  <a:pt x="5974" y="4771"/>
                </a:cubicBezTo>
                <a:cubicBezTo>
                  <a:pt x="5945" y="4896"/>
                  <a:pt x="6065" y="5085"/>
                  <a:pt x="5974" y="5211"/>
                </a:cubicBezTo>
                <a:cubicBezTo>
                  <a:pt x="5795" y="5431"/>
                  <a:pt x="5348" y="5117"/>
                  <a:pt x="5198" y="5337"/>
                </a:cubicBezTo>
                <a:cubicBezTo>
                  <a:pt x="5079" y="5557"/>
                  <a:pt x="5228" y="5872"/>
                  <a:pt x="5079" y="6060"/>
                </a:cubicBezTo>
                <a:cubicBezTo>
                  <a:pt x="4511" y="7003"/>
                  <a:pt x="4780" y="5777"/>
                  <a:pt x="4421" y="6941"/>
                </a:cubicBezTo>
                <a:cubicBezTo>
                  <a:pt x="4421" y="7003"/>
                  <a:pt x="4302" y="7003"/>
                  <a:pt x="4302" y="7035"/>
                </a:cubicBezTo>
                <a:lnTo>
                  <a:pt x="4571" y="7915"/>
                </a:lnTo>
                <a:cubicBezTo>
                  <a:pt x="4571" y="7947"/>
                  <a:pt x="4272" y="8827"/>
                  <a:pt x="4302" y="8952"/>
                </a:cubicBezTo>
                <a:cubicBezTo>
                  <a:pt x="4302" y="9078"/>
                  <a:pt x="5228" y="8890"/>
                  <a:pt x="4959" y="9582"/>
                </a:cubicBezTo>
                <a:cubicBezTo>
                  <a:pt x="4899" y="9740"/>
                  <a:pt x="4302" y="9959"/>
                  <a:pt x="4332" y="9677"/>
                </a:cubicBezTo>
                <a:cubicBezTo>
                  <a:pt x="4332" y="9582"/>
                  <a:pt x="4481" y="9519"/>
                  <a:pt x="4452" y="9424"/>
                </a:cubicBezTo>
                <a:cubicBezTo>
                  <a:pt x="4392" y="9016"/>
                  <a:pt x="3705" y="9362"/>
                  <a:pt x="3614" y="9487"/>
                </a:cubicBezTo>
                <a:cubicBezTo>
                  <a:pt x="3285" y="9833"/>
                  <a:pt x="3944" y="9802"/>
                  <a:pt x="3465" y="10084"/>
                </a:cubicBezTo>
                <a:cubicBezTo>
                  <a:pt x="3256" y="10179"/>
                  <a:pt x="2958" y="10116"/>
                  <a:pt x="2808" y="10305"/>
                </a:cubicBezTo>
                <a:cubicBezTo>
                  <a:pt x="2688" y="10431"/>
                  <a:pt x="3107" y="10777"/>
                  <a:pt x="2958" y="10840"/>
                </a:cubicBezTo>
                <a:cubicBezTo>
                  <a:pt x="2808" y="10871"/>
                  <a:pt x="2629" y="10777"/>
                  <a:pt x="2480" y="10871"/>
                </a:cubicBezTo>
                <a:cubicBezTo>
                  <a:pt x="2300" y="10997"/>
                  <a:pt x="2271" y="11311"/>
                  <a:pt x="2092" y="11437"/>
                </a:cubicBezTo>
                <a:cubicBezTo>
                  <a:pt x="1823" y="11689"/>
                  <a:pt x="1703" y="11122"/>
                  <a:pt x="1464" y="11217"/>
                </a:cubicBezTo>
                <a:cubicBezTo>
                  <a:pt x="1225" y="11343"/>
                  <a:pt x="358" y="11846"/>
                  <a:pt x="0" y="11595"/>
                </a:cubicBezTo>
                <a:cubicBezTo>
                  <a:pt x="537" y="13198"/>
                  <a:pt x="1852" y="14676"/>
                  <a:pt x="1941" y="16405"/>
                </a:cubicBezTo>
                <a:cubicBezTo>
                  <a:pt x="1941" y="16467"/>
                  <a:pt x="1882" y="16531"/>
                  <a:pt x="1852" y="16562"/>
                </a:cubicBezTo>
                <a:cubicBezTo>
                  <a:pt x="1643" y="16782"/>
                  <a:pt x="-239" y="18448"/>
                  <a:pt x="627" y="18794"/>
                </a:cubicBezTo>
                <a:cubicBezTo>
                  <a:pt x="687" y="18825"/>
                  <a:pt x="747" y="18668"/>
                  <a:pt x="806" y="18700"/>
                </a:cubicBezTo>
                <a:cubicBezTo>
                  <a:pt x="1075" y="18731"/>
                  <a:pt x="1374" y="18825"/>
                  <a:pt x="1614" y="19014"/>
                </a:cubicBezTo>
                <a:cubicBezTo>
                  <a:pt x="2211" y="19517"/>
                  <a:pt x="1584" y="20587"/>
                  <a:pt x="1823" y="21152"/>
                </a:cubicBezTo>
                <a:cubicBezTo>
                  <a:pt x="1852" y="21247"/>
                  <a:pt x="1941" y="21341"/>
                  <a:pt x="2001" y="21434"/>
                </a:cubicBezTo>
                <a:cubicBezTo>
                  <a:pt x="2001" y="21434"/>
                  <a:pt x="2031" y="21403"/>
                  <a:pt x="2031" y="21403"/>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75" name="AutoShape 43"/>
          <p:cNvSpPr>
            <a:spLocks/>
          </p:cNvSpPr>
          <p:nvPr/>
        </p:nvSpPr>
        <p:spPr bwMode="auto">
          <a:xfrm>
            <a:off x="16179800" y="7593013"/>
            <a:ext cx="833438" cy="711200"/>
          </a:xfrm>
          <a:custGeom>
            <a:avLst/>
            <a:gdLst>
              <a:gd name="T0" fmla="*/ 10519 w 21039"/>
              <a:gd name="T1" fmla="+- 0 10933 444"/>
              <a:gd name="T2" fmla="*/ 10933 h 20979"/>
              <a:gd name="T3" fmla="*/ 10519 w 21039"/>
              <a:gd name="T4" fmla="+- 0 10933 444"/>
              <a:gd name="T5" fmla="*/ 10933 h 20979"/>
              <a:gd name="T6" fmla="*/ 10519 w 21039"/>
              <a:gd name="T7" fmla="+- 0 10933 444"/>
              <a:gd name="T8" fmla="*/ 10933 h 20979"/>
              <a:gd name="T9" fmla="*/ 10519 w 21039"/>
              <a:gd name="T10" fmla="+- 0 10933 444"/>
              <a:gd name="T11" fmla="*/ 10933 h 20979"/>
            </a:gdLst>
            <a:ahLst/>
            <a:cxnLst>
              <a:cxn ang="0">
                <a:pos x="T0" y="T2"/>
              </a:cxn>
              <a:cxn ang="0">
                <a:pos x="T3" y="T5"/>
              </a:cxn>
              <a:cxn ang="0">
                <a:pos x="T6" y="T8"/>
              </a:cxn>
              <a:cxn ang="0">
                <a:pos x="T9" y="T11"/>
              </a:cxn>
            </a:cxnLst>
            <a:rect l="0" t="0" r="r" b="b"/>
            <a:pathLst>
              <a:path w="21039" h="20979">
                <a:moveTo>
                  <a:pt x="17253" y="20842"/>
                </a:moveTo>
                <a:cubicBezTo>
                  <a:pt x="17052" y="20763"/>
                  <a:pt x="16852" y="20686"/>
                  <a:pt x="16652" y="20686"/>
                </a:cubicBezTo>
                <a:cubicBezTo>
                  <a:pt x="16182" y="20606"/>
                  <a:pt x="15715" y="21155"/>
                  <a:pt x="15314" y="20920"/>
                </a:cubicBezTo>
                <a:cubicBezTo>
                  <a:pt x="14978" y="20763"/>
                  <a:pt x="15246" y="20059"/>
                  <a:pt x="15047" y="19745"/>
                </a:cubicBezTo>
                <a:cubicBezTo>
                  <a:pt x="14913" y="19512"/>
                  <a:pt x="14578" y="19668"/>
                  <a:pt x="14377" y="19512"/>
                </a:cubicBezTo>
                <a:cubicBezTo>
                  <a:pt x="14310" y="19432"/>
                  <a:pt x="14646" y="19275"/>
                  <a:pt x="14646" y="19198"/>
                </a:cubicBezTo>
                <a:cubicBezTo>
                  <a:pt x="14578" y="19042"/>
                  <a:pt x="14511" y="18885"/>
                  <a:pt x="14377" y="18807"/>
                </a:cubicBezTo>
                <a:cubicBezTo>
                  <a:pt x="14243" y="18728"/>
                  <a:pt x="14043" y="19042"/>
                  <a:pt x="13976" y="18964"/>
                </a:cubicBezTo>
                <a:cubicBezTo>
                  <a:pt x="13709" y="18728"/>
                  <a:pt x="13641" y="18259"/>
                  <a:pt x="13374" y="18023"/>
                </a:cubicBezTo>
                <a:cubicBezTo>
                  <a:pt x="12906" y="17789"/>
                  <a:pt x="12237" y="18023"/>
                  <a:pt x="11970" y="17552"/>
                </a:cubicBezTo>
                <a:cubicBezTo>
                  <a:pt x="11702" y="17241"/>
                  <a:pt x="12237" y="16772"/>
                  <a:pt x="12237" y="16381"/>
                </a:cubicBezTo>
                <a:cubicBezTo>
                  <a:pt x="12171" y="16068"/>
                  <a:pt x="11771" y="15988"/>
                  <a:pt x="11771" y="15676"/>
                </a:cubicBezTo>
                <a:cubicBezTo>
                  <a:pt x="11771" y="15284"/>
                  <a:pt x="12036" y="14971"/>
                  <a:pt x="12104" y="14659"/>
                </a:cubicBezTo>
                <a:cubicBezTo>
                  <a:pt x="12171" y="14424"/>
                  <a:pt x="12504" y="14189"/>
                  <a:pt x="12371" y="14033"/>
                </a:cubicBezTo>
                <a:cubicBezTo>
                  <a:pt x="11903" y="13563"/>
                  <a:pt x="11502" y="14971"/>
                  <a:pt x="11034" y="15443"/>
                </a:cubicBezTo>
                <a:cubicBezTo>
                  <a:pt x="10096" y="16461"/>
                  <a:pt x="7890" y="15831"/>
                  <a:pt x="8091" y="15363"/>
                </a:cubicBezTo>
                <a:cubicBezTo>
                  <a:pt x="8292" y="14971"/>
                  <a:pt x="8626" y="14736"/>
                  <a:pt x="8626" y="14346"/>
                </a:cubicBezTo>
                <a:cubicBezTo>
                  <a:pt x="8626" y="14110"/>
                  <a:pt x="8091" y="14110"/>
                  <a:pt x="8158" y="13799"/>
                </a:cubicBezTo>
                <a:cubicBezTo>
                  <a:pt x="8158" y="13328"/>
                  <a:pt x="8693" y="12937"/>
                  <a:pt x="8693" y="12467"/>
                </a:cubicBezTo>
                <a:cubicBezTo>
                  <a:pt x="8560" y="11137"/>
                  <a:pt x="5818" y="11919"/>
                  <a:pt x="5683" y="11293"/>
                </a:cubicBezTo>
                <a:cubicBezTo>
                  <a:pt x="5616" y="10980"/>
                  <a:pt x="5818" y="10588"/>
                  <a:pt x="5751" y="10277"/>
                </a:cubicBezTo>
                <a:cubicBezTo>
                  <a:pt x="5550" y="9023"/>
                  <a:pt x="4078" y="10277"/>
                  <a:pt x="3677" y="9179"/>
                </a:cubicBezTo>
                <a:cubicBezTo>
                  <a:pt x="3410" y="8556"/>
                  <a:pt x="3811" y="6756"/>
                  <a:pt x="2941" y="6364"/>
                </a:cubicBezTo>
                <a:cubicBezTo>
                  <a:pt x="2540" y="6129"/>
                  <a:pt x="2206" y="7224"/>
                  <a:pt x="1670" y="7224"/>
                </a:cubicBezTo>
                <a:cubicBezTo>
                  <a:pt x="200" y="7224"/>
                  <a:pt x="134" y="4249"/>
                  <a:pt x="0" y="3154"/>
                </a:cubicBezTo>
                <a:cubicBezTo>
                  <a:pt x="66" y="3077"/>
                  <a:pt x="66" y="3077"/>
                  <a:pt x="66" y="3077"/>
                </a:cubicBezTo>
                <a:cubicBezTo>
                  <a:pt x="1270" y="2685"/>
                  <a:pt x="3143" y="962"/>
                  <a:pt x="4681" y="416"/>
                </a:cubicBezTo>
                <a:lnTo>
                  <a:pt x="4814" y="729"/>
                </a:lnTo>
                <a:cubicBezTo>
                  <a:pt x="4681" y="2764"/>
                  <a:pt x="6085" y="1433"/>
                  <a:pt x="7088" y="1980"/>
                </a:cubicBezTo>
                <a:cubicBezTo>
                  <a:pt x="7222" y="2059"/>
                  <a:pt x="6953" y="2372"/>
                  <a:pt x="7088" y="2529"/>
                </a:cubicBezTo>
                <a:cubicBezTo>
                  <a:pt x="7890" y="3154"/>
                  <a:pt x="8560" y="2059"/>
                  <a:pt x="9094" y="1511"/>
                </a:cubicBezTo>
                <a:cubicBezTo>
                  <a:pt x="9495" y="1903"/>
                  <a:pt x="9897" y="2215"/>
                  <a:pt x="10031" y="2135"/>
                </a:cubicBezTo>
                <a:cubicBezTo>
                  <a:pt x="10231" y="1980"/>
                  <a:pt x="10164" y="1668"/>
                  <a:pt x="10031" y="1352"/>
                </a:cubicBezTo>
                <a:cubicBezTo>
                  <a:pt x="10231" y="1433"/>
                  <a:pt x="10364" y="1511"/>
                  <a:pt x="10565" y="1433"/>
                </a:cubicBezTo>
                <a:cubicBezTo>
                  <a:pt x="11034" y="1433"/>
                  <a:pt x="9763" y="-368"/>
                  <a:pt x="11368" y="179"/>
                </a:cubicBezTo>
                <a:cubicBezTo>
                  <a:pt x="11502" y="179"/>
                  <a:pt x="11235" y="573"/>
                  <a:pt x="11301" y="652"/>
                </a:cubicBezTo>
                <a:cubicBezTo>
                  <a:pt x="12104" y="1433"/>
                  <a:pt x="12303" y="-444"/>
                  <a:pt x="12906" y="101"/>
                </a:cubicBezTo>
                <a:cubicBezTo>
                  <a:pt x="13107" y="338"/>
                  <a:pt x="12371" y="807"/>
                  <a:pt x="12571" y="962"/>
                </a:cubicBezTo>
                <a:cubicBezTo>
                  <a:pt x="14109" y="1903"/>
                  <a:pt x="12772" y="729"/>
                  <a:pt x="13976" y="416"/>
                </a:cubicBezTo>
                <a:cubicBezTo>
                  <a:pt x="14176" y="338"/>
                  <a:pt x="14511" y="2604"/>
                  <a:pt x="14978" y="2685"/>
                </a:cubicBezTo>
                <a:cubicBezTo>
                  <a:pt x="16049" y="2921"/>
                  <a:pt x="17453" y="2843"/>
                  <a:pt x="18322" y="4173"/>
                </a:cubicBezTo>
                <a:cubicBezTo>
                  <a:pt x="18391" y="4328"/>
                  <a:pt x="18054" y="4485"/>
                  <a:pt x="17988" y="4641"/>
                </a:cubicBezTo>
                <a:cubicBezTo>
                  <a:pt x="17854" y="5110"/>
                  <a:pt x="17520" y="5503"/>
                  <a:pt x="17453" y="5973"/>
                </a:cubicBezTo>
                <a:cubicBezTo>
                  <a:pt x="17453" y="6129"/>
                  <a:pt x="17788" y="6050"/>
                  <a:pt x="17721" y="6206"/>
                </a:cubicBezTo>
                <a:cubicBezTo>
                  <a:pt x="17654" y="6440"/>
                  <a:pt x="17320" y="6520"/>
                  <a:pt x="17253" y="6834"/>
                </a:cubicBezTo>
                <a:cubicBezTo>
                  <a:pt x="16785" y="8788"/>
                  <a:pt x="17921" y="8243"/>
                  <a:pt x="18992" y="8318"/>
                </a:cubicBezTo>
                <a:lnTo>
                  <a:pt x="19059" y="8318"/>
                </a:lnTo>
                <a:cubicBezTo>
                  <a:pt x="19327" y="8867"/>
                  <a:pt x="19728" y="9729"/>
                  <a:pt x="19795" y="9729"/>
                </a:cubicBezTo>
                <a:cubicBezTo>
                  <a:pt x="19927" y="9886"/>
                  <a:pt x="20328" y="9572"/>
                  <a:pt x="20328" y="9807"/>
                </a:cubicBezTo>
                <a:cubicBezTo>
                  <a:pt x="20396" y="10118"/>
                  <a:pt x="19861" y="10432"/>
                  <a:pt x="19927" y="10744"/>
                </a:cubicBezTo>
                <a:cubicBezTo>
                  <a:pt x="20061" y="11215"/>
                  <a:pt x="20663" y="11137"/>
                  <a:pt x="20865" y="11530"/>
                </a:cubicBezTo>
                <a:cubicBezTo>
                  <a:pt x="21599" y="12937"/>
                  <a:pt x="19795" y="13174"/>
                  <a:pt x="19327" y="14659"/>
                </a:cubicBezTo>
                <a:cubicBezTo>
                  <a:pt x="18590" y="13174"/>
                  <a:pt x="17253" y="16068"/>
                  <a:pt x="16986" y="16929"/>
                </a:cubicBezTo>
                <a:cubicBezTo>
                  <a:pt x="16785" y="17634"/>
                  <a:pt x="18791" y="20686"/>
                  <a:pt x="17320" y="20529"/>
                </a:cubicBezTo>
                <a:cubicBezTo>
                  <a:pt x="17320" y="20529"/>
                  <a:pt x="17253" y="20842"/>
                  <a:pt x="17253" y="20842"/>
                </a:cubicBezTo>
                <a:close/>
              </a:path>
            </a:pathLst>
          </a:custGeom>
          <a:solidFill>
            <a:schemeClr val="bg2">
              <a:lumMod val="50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76" name="AutoShape 44"/>
          <p:cNvSpPr>
            <a:spLocks/>
          </p:cNvSpPr>
          <p:nvPr/>
        </p:nvSpPr>
        <p:spPr bwMode="auto">
          <a:xfrm>
            <a:off x="12927013" y="9766300"/>
            <a:ext cx="3165475" cy="3194050"/>
          </a:xfrm>
          <a:custGeom>
            <a:avLst/>
            <a:gdLst>
              <a:gd name="T0" fmla="+- 0 10833 93"/>
              <a:gd name="T1" fmla="*/ T0 w 21481"/>
              <a:gd name="T2" fmla="+- 0 10840 80"/>
              <a:gd name="T3" fmla="*/ 10840 h 21520"/>
              <a:gd name="T4" fmla="+- 0 10833 93"/>
              <a:gd name="T5" fmla="*/ T4 w 21481"/>
              <a:gd name="T6" fmla="+- 0 10840 80"/>
              <a:gd name="T7" fmla="*/ 10840 h 21520"/>
              <a:gd name="T8" fmla="+- 0 10833 93"/>
              <a:gd name="T9" fmla="*/ T8 w 21481"/>
              <a:gd name="T10" fmla="+- 0 10840 80"/>
              <a:gd name="T11" fmla="*/ 10840 h 21520"/>
              <a:gd name="T12" fmla="+- 0 10833 93"/>
              <a:gd name="T13" fmla="*/ T12 w 21481"/>
              <a:gd name="T14" fmla="+- 0 10840 80"/>
              <a:gd name="T15" fmla="*/ 10840 h 21520"/>
            </a:gdLst>
            <a:ahLst/>
            <a:cxnLst>
              <a:cxn ang="0">
                <a:pos x="T1" y="T3"/>
              </a:cxn>
              <a:cxn ang="0">
                <a:pos x="T5" y="T7"/>
              </a:cxn>
              <a:cxn ang="0">
                <a:pos x="T9" y="T11"/>
              </a:cxn>
              <a:cxn ang="0">
                <a:pos x="T13" y="T15"/>
              </a:cxn>
            </a:cxnLst>
            <a:rect l="0" t="0" r="r" b="b"/>
            <a:pathLst>
              <a:path w="21481" h="21520">
                <a:moveTo>
                  <a:pt x="8025" y="21484"/>
                </a:moveTo>
                <a:lnTo>
                  <a:pt x="8060" y="21430"/>
                </a:lnTo>
                <a:cubicBezTo>
                  <a:pt x="8042" y="21430"/>
                  <a:pt x="8025" y="21430"/>
                  <a:pt x="8025" y="21466"/>
                </a:cubicBezTo>
                <a:cubicBezTo>
                  <a:pt x="8025" y="21484"/>
                  <a:pt x="8025" y="21484"/>
                  <a:pt x="8025" y="21484"/>
                </a:cubicBezTo>
                <a:close/>
                <a:moveTo>
                  <a:pt x="7682" y="21341"/>
                </a:moveTo>
                <a:lnTo>
                  <a:pt x="7952" y="21519"/>
                </a:lnTo>
                <a:cubicBezTo>
                  <a:pt x="7952" y="21359"/>
                  <a:pt x="7989" y="21180"/>
                  <a:pt x="7970" y="21038"/>
                </a:cubicBezTo>
                <a:cubicBezTo>
                  <a:pt x="7934" y="20894"/>
                  <a:pt x="7790" y="21252"/>
                  <a:pt x="7682" y="21341"/>
                </a:cubicBezTo>
                <a:cubicBezTo>
                  <a:pt x="7682" y="21341"/>
                  <a:pt x="7682" y="21341"/>
                  <a:pt x="7682" y="21341"/>
                </a:cubicBezTo>
                <a:close/>
                <a:moveTo>
                  <a:pt x="18716" y="5959"/>
                </a:moveTo>
                <a:cubicBezTo>
                  <a:pt x="18843" y="6012"/>
                  <a:pt x="18987" y="6048"/>
                  <a:pt x="19077" y="6120"/>
                </a:cubicBezTo>
                <a:cubicBezTo>
                  <a:pt x="19112" y="6155"/>
                  <a:pt x="19131" y="6351"/>
                  <a:pt x="19238" y="6333"/>
                </a:cubicBezTo>
                <a:cubicBezTo>
                  <a:pt x="19383" y="6316"/>
                  <a:pt x="19509" y="6226"/>
                  <a:pt x="19671" y="6226"/>
                </a:cubicBezTo>
                <a:cubicBezTo>
                  <a:pt x="19851" y="6226"/>
                  <a:pt x="20157" y="6584"/>
                  <a:pt x="20337" y="6530"/>
                </a:cubicBezTo>
                <a:cubicBezTo>
                  <a:pt x="20408" y="6513"/>
                  <a:pt x="20337" y="6370"/>
                  <a:pt x="20391" y="6333"/>
                </a:cubicBezTo>
                <a:cubicBezTo>
                  <a:pt x="20661" y="6155"/>
                  <a:pt x="20985" y="6316"/>
                  <a:pt x="21272" y="6387"/>
                </a:cubicBezTo>
                <a:lnTo>
                  <a:pt x="21345" y="6387"/>
                </a:lnTo>
                <a:cubicBezTo>
                  <a:pt x="21435" y="6477"/>
                  <a:pt x="21507" y="6566"/>
                  <a:pt x="21471" y="6673"/>
                </a:cubicBezTo>
                <a:cubicBezTo>
                  <a:pt x="21435" y="6816"/>
                  <a:pt x="21201" y="6780"/>
                  <a:pt x="21111" y="6870"/>
                </a:cubicBezTo>
                <a:cubicBezTo>
                  <a:pt x="21039" y="6941"/>
                  <a:pt x="21327" y="7352"/>
                  <a:pt x="21147" y="7656"/>
                </a:cubicBezTo>
                <a:cubicBezTo>
                  <a:pt x="21057" y="7852"/>
                  <a:pt x="20283" y="8156"/>
                  <a:pt x="20067" y="8245"/>
                </a:cubicBezTo>
                <a:cubicBezTo>
                  <a:pt x="19869" y="8317"/>
                  <a:pt x="19562" y="8388"/>
                  <a:pt x="19419" y="8514"/>
                </a:cubicBezTo>
                <a:cubicBezTo>
                  <a:pt x="19311" y="8585"/>
                  <a:pt x="19148" y="8853"/>
                  <a:pt x="18987" y="8889"/>
                </a:cubicBezTo>
                <a:cubicBezTo>
                  <a:pt x="18375" y="9067"/>
                  <a:pt x="17277" y="8942"/>
                  <a:pt x="16790" y="9335"/>
                </a:cubicBezTo>
                <a:cubicBezTo>
                  <a:pt x="16664" y="9443"/>
                  <a:pt x="16412" y="9532"/>
                  <a:pt x="16449" y="9693"/>
                </a:cubicBezTo>
                <a:cubicBezTo>
                  <a:pt x="16503" y="9817"/>
                  <a:pt x="16772" y="9799"/>
                  <a:pt x="16755" y="9925"/>
                </a:cubicBezTo>
                <a:cubicBezTo>
                  <a:pt x="16755" y="9978"/>
                  <a:pt x="16197" y="10103"/>
                  <a:pt x="16161" y="10121"/>
                </a:cubicBezTo>
                <a:cubicBezTo>
                  <a:pt x="15945" y="10283"/>
                  <a:pt x="15873" y="10586"/>
                  <a:pt x="15692" y="10764"/>
                </a:cubicBezTo>
                <a:cubicBezTo>
                  <a:pt x="15188" y="11282"/>
                  <a:pt x="14523" y="11783"/>
                  <a:pt x="14199" y="12444"/>
                </a:cubicBezTo>
                <a:cubicBezTo>
                  <a:pt x="14055" y="12712"/>
                  <a:pt x="14253" y="13570"/>
                  <a:pt x="14414" y="13801"/>
                </a:cubicBezTo>
                <a:cubicBezTo>
                  <a:pt x="14469" y="13873"/>
                  <a:pt x="15135" y="14248"/>
                  <a:pt x="14972" y="14356"/>
                </a:cubicBezTo>
                <a:cubicBezTo>
                  <a:pt x="14847" y="14463"/>
                  <a:pt x="14541" y="14499"/>
                  <a:pt x="14414" y="14588"/>
                </a:cubicBezTo>
                <a:cubicBezTo>
                  <a:pt x="14378" y="14623"/>
                  <a:pt x="14378" y="14713"/>
                  <a:pt x="14342" y="14731"/>
                </a:cubicBezTo>
                <a:cubicBezTo>
                  <a:pt x="14306" y="14766"/>
                  <a:pt x="14253" y="14713"/>
                  <a:pt x="14217" y="14713"/>
                </a:cubicBezTo>
                <a:cubicBezTo>
                  <a:pt x="14073" y="14748"/>
                  <a:pt x="13910" y="14766"/>
                  <a:pt x="13785" y="14856"/>
                </a:cubicBezTo>
                <a:cubicBezTo>
                  <a:pt x="13731" y="14909"/>
                  <a:pt x="13767" y="15035"/>
                  <a:pt x="13695" y="15088"/>
                </a:cubicBezTo>
                <a:cubicBezTo>
                  <a:pt x="13640" y="15124"/>
                  <a:pt x="13550" y="15052"/>
                  <a:pt x="13515" y="15088"/>
                </a:cubicBezTo>
                <a:cubicBezTo>
                  <a:pt x="13443" y="15177"/>
                  <a:pt x="13497" y="15320"/>
                  <a:pt x="13443" y="15392"/>
                </a:cubicBezTo>
                <a:cubicBezTo>
                  <a:pt x="13370" y="15463"/>
                  <a:pt x="13226" y="15392"/>
                  <a:pt x="13173" y="15481"/>
                </a:cubicBezTo>
                <a:cubicBezTo>
                  <a:pt x="13101" y="15588"/>
                  <a:pt x="13209" y="15749"/>
                  <a:pt x="13155" y="15856"/>
                </a:cubicBezTo>
                <a:cubicBezTo>
                  <a:pt x="13011" y="16214"/>
                  <a:pt x="12687" y="15803"/>
                  <a:pt x="12669" y="16374"/>
                </a:cubicBezTo>
                <a:cubicBezTo>
                  <a:pt x="12669" y="16517"/>
                  <a:pt x="12957" y="16571"/>
                  <a:pt x="12921" y="16696"/>
                </a:cubicBezTo>
                <a:cubicBezTo>
                  <a:pt x="12866" y="16821"/>
                  <a:pt x="12669" y="16803"/>
                  <a:pt x="12525" y="16786"/>
                </a:cubicBezTo>
                <a:cubicBezTo>
                  <a:pt x="12435" y="16786"/>
                  <a:pt x="12344" y="16696"/>
                  <a:pt x="12255" y="16678"/>
                </a:cubicBezTo>
                <a:cubicBezTo>
                  <a:pt x="11877" y="16571"/>
                  <a:pt x="11427" y="16750"/>
                  <a:pt x="11103" y="16964"/>
                </a:cubicBezTo>
                <a:cubicBezTo>
                  <a:pt x="10544" y="17321"/>
                  <a:pt x="10544" y="18018"/>
                  <a:pt x="9969" y="18304"/>
                </a:cubicBezTo>
                <a:cubicBezTo>
                  <a:pt x="9753" y="18429"/>
                  <a:pt x="9680" y="17839"/>
                  <a:pt x="9141" y="17983"/>
                </a:cubicBezTo>
                <a:cubicBezTo>
                  <a:pt x="9033" y="18018"/>
                  <a:pt x="8979" y="18161"/>
                  <a:pt x="8852" y="18197"/>
                </a:cubicBezTo>
                <a:cubicBezTo>
                  <a:pt x="8690" y="18250"/>
                  <a:pt x="8312" y="17947"/>
                  <a:pt x="8150" y="17929"/>
                </a:cubicBezTo>
                <a:cubicBezTo>
                  <a:pt x="7934" y="17875"/>
                  <a:pt x="7701" y="18000"/>
                  <a:pt x="7466" y="17965"/>
                </a:cubicBezTo>
                <a:cubicBezTo>
                  <a:pt x="7341" y="17929"/>
                  <a:pt x="7269" y="17822"/>
                  <a:pt x="7142" y="17786"/>
                </a:cubicBezTo>
                <a:cubicBezTo>
                  <a:pt x="6908" y="17696"/>
                  <a:pt x="5847" y="17536"/>
                  <a:pt x="5648" y="17571"/>
                </a:cubicBezTo>
                <a:cubicBezTo>
                  <a:pt x="5433" y="17625"/>
                  <a:pt x="5324" y="17893"/>
                  <a:pt x="5127" y="17983"/>
                </a:cubicBezTo>
                <a:cubicBezTo>
                  <a:pt x="4839" y="18089"/>
                  <a:pt x="4479" y="17768"/>
                  <a:pt x="4083" y="17965"/>
                </a:cubicBezTo>
                <a:cubicBezTo>
                  <a:pt x="3758" y="18125"/>
                  <a:pt x="3794" y="18268"/>
                  <a:pt x="3632" y="18501"/>
                </a:cubicBezTo>
                <a:cubicBezTo>
                  <a:pt x="3615" y="18518"/>
                  <a:pt x="3507" y="18411"/>
                  <a:pt x="3434" y="18465"/>
                </a:cubicBezTo>
                <a:cubicBezTo>
                  <a:pt x="3327" y="18554"/>
                  <a:pt x="3236" y="18697"/>
                  <a:pt x="3092" y="18751"/>
                </a:cubicBezTo>
                <a:cubicBezTo>
                  <a:pt x="3038" y="18768"/>
                  <a:pt x="3038" y="18643"/>
                  <a:pt x="2984" y="18608"/>
                </a:cubicBezTo>
                <a:cubicBezTo>
                  <a:pt x="2913" y="18554"/>
                  <a:pt x="2805" y="18536"/>
                  <a:pt x="2750" y="18482"/>
                </a:cubicBezTo>
                <a:cubicBezTo>
                  <a:pt x="2679" y="18394"/>
                  <a:pt x="2661" y="18268"/>
                  <a:pt x="2570" y="18197"/>
                </a:cubicBezTo>
                <a:cubicBezTo>
                  <a:pt x="2517" y="18143"/>
                  <a:pt x="2408" y="18197"/>
                  <a:pt x="2355" y="18143"/>
                </a:cubicBezTo>
                <a:cubicBezTo>
                  <a:pt x="2228" y="18018"/>
                  <a:pt x="2048" y="17429"/>
                  <a:pt x="2012" y="17250"/>
                </a:cubicBezTo>
                <a:cubicBezTo>
                  <a:pt x="2012" y="17232"/>
                  <a:pt x="2283" y="17500"/>
                  <a:pt x="2246" y="17339"/>
                </a:cubicBezTo>
                <a:cubicBezTo>
                  <a:pt x="2246" y="17285"/>
                  <a:pt x="2139" y="17339"/>
                  <a:pt x="2120" y="17303"/>
                </a:cubicBezTo>
                <a:cubicBezTo>
                  <a:pt x="2103" y="17268"/>
                  <a:pt x="2192" y="17232"/>
                  <a:pt x="2174" y="17196"/>
                </a:cubicBezTo>
                <a:cubicBezTo>
                  <a:pt x="2120" y="16892"/>
                  <a:pt x="1850" y="17250"/>
                  <a:pt x="1868" y="16732"/>
                </a:cubicBezTo>
                <a:cubicBezTo>
                  <a:pt x="1868" y="16732"/>
                  <a:pt x="2570" y="16410"/>
                  <a:pt x="2408" y="16374"/>
                </a:cubicBezTo>
                <a:cubicBezTo>
                  <a:pt x="2265" y="16339"/>
                  <a:pt x="2174" y="16642"/>
                  <a:pt x="2030" y="16606"/>
                </a:cubicBezTo>
                <a:cubicBezTo>
                  <a:pt x="1905" y="16589"/>
                  <a:pt x="1958" y="16374"/>
                  <a:pt x="1905" y="16267"/>
                </a:cubicBezTo>
                <a:cubicBezTo>
                  <a:pt x="1850" y="16160"/>
                  <a:pt x="1779" y="16071"/>
                  <a:pt x="1707" y="15982"/>
                </a:cubicBezTo>
                <a:lnTo>
                  <a:pt x="1220" y="15516"/>
                </a:lnTo>
                <a:cubicBezTo>
                  <a:pt x="1220" y="15499"/>
                  <a:pt x="1220" y="15499"/>
                  <a:pt x="1220" y="15481"/>
                </a:cubicBezTo>
                <a:cubicBezTo>
                  <a:pt x="1202" y="15516"/>
                  <a:pt x="1185" y="15535"/>
                  <a:pt x="1149" y="15535"/>
                </a:cubicBezTo>
                <a:cubicBezTo>
                  <a:pt x="1041" y="15553"/>
                  <a:pt x="986" y="15409"/>
                  <a:pt x="897" y="15356"/>
                </a:cubicBezTo>
                <a:cubicBezTo>
                  <a:pt x="824" y="15320"/>
                  <a:pt x="500" y="15266"/>
                  <a:pt x="266" y="15266"/>
                </a:cubicBezTo>
                <a:cubicBezTo>
                  <a:pt x="302" y="14516"/>
                  <a:pt x="122" y="14391"/>
                  <a:pt x="717" y="13873"/>
                </a:cubicBezTo>
                <a:cubicBezTo>
                  <a:pt x="824" y="13784"/>
                  <a:pt x="807" y="13587"/>
                  <a:pt x="914" y="13534"/>
                </a:cubicBezTo>
                <a:cubicBezTo>
                  <a:pt x="951" y="13516"/>
                  <a:pt x="1832" y="13498"/>
                  <a:pt x="1616" y="13140"/>
                </a:cubicBezTo>
                <a:cubicBezTo>
                  <a:pt x="1562" y="13052"/>
                  <a:pt x="1382" y="13195"/>
                  <a:pt x="1293" y="13140"/>
                </a:cubicBezTo>
                <a:cubicBezTo>
                  <a:pt x="1202" y="13069"/>
                  <a:pt x="1220" y="12926"/>
                  <a:pt x="1185" y="12819"/>
                </a:cubicBezTo>
                <a:cubicBezTo>
                  <a:pt x="1149" y="12712"/>
                  <a:pt x="1149" y="12587"/>
                  <a:pt x="1076" y="12497"/>
                </a:cubicBezTo>
                <a:cubicBezTo>
                  <a:pt x="1058" y="12462"/>
                  <a:pt x="951" y="12497"/>
                  <a:pt x="951" y="12462"/>
                </a:cubicBezTo>
                <a:cubicBezTo>
                  <a:pt x="1005" y="12336"/>
                  <a:pt x="1131" y="12247"/>
                  <a:pt x="1185" y="12122"/>
                </a:cubicBezTo>
                <a:cubicBezTo>
                  <a:pt x="1293" y="11908"/>
                  <a:pt x="986" y="12069"/>
                  <a:pt x="1293" y="11819"/>
                </a:cubicBezTo>
                <a:cubicBezTo>
                  <a:pt x="1562" y="11604"/>
                  <a:pt x="1923" y="11640"/>
                  <a:pt x="1958" y="11176"/>
                </a:cubicBezTo>
                <a:cubicBezTo>
                  <a:pt x="1958" y="11140"/>
                  <a:pt x="1616" y="10907"/>
                  <a:pt x="1545" y="10764"/>
                </a:cubicBezTo>
                <a:cubicBezTo>
                  <a:pt x="1436" y="10532"/>
                  <a:pt x="1562" y="10157"/>
                  <a:pt x="1562" y="10121"/>
                </a:cubicBezTo>
                <a:cubicBezTo>
                  <a:pt x="1545" y="10103"/>
                  <a:pt x="1257" y="9550"/>
                  <a:pt x="1257" y="9532"/>
                </a:cubicBezTo>
                <a:cubicBezTo>
                  <a:pt x="1239" y="9496"/>
                  <a:pt x="1310" y="9550"/>
                  <a:pt x="1347" y="9550"/>
                </a:cubicBezTo>
                <a:cubicBezTo>
                  <a:pt x="1508" y="9603"/>
                  <a:pt x="1616" y="9621"/>
                  <a:pt x="1779" y="9657"/>
                </a:cubicBezTo>
                <a:cubicBezTo>
                  <a:pt x="2192" y="9764"/>
                  <a:pt x="2283" y="9799"/>
                  <a:pt x="2499" y="9389"/>
                </a:cubicBezTo>
                <a:cubicBezTo>
                  <a:pt x="2750" y="8889"/>
                  <a:pt x="2480" y="9067"/>
                  <a:pt x="2427" y="8692"/>
                </a:cubicBezTo>
                <a:cubicBezTo>
                  <a:pt x="2373" y="8353"/>
                  <a:pt x="2930" y="8514"/>
                  <a:pt x="2948" y="8263"/>
                </a:cubicBezTo>
                <a:cubicBezTo>
                  <a:pt x="2966" y="8085"/>
                  <a:pt x="2769" y="8245"/>
                  <a:pt x="2877" y="8032"/>
                </a:cubicBezTo>
                <a:cubicBezTo>
                  <a:pt x="2895" y="7996"/>
                  <a:pt x="2966" y="7996"/>
                  <a:pt x="2984" y="7942"/>
                </a:cubicBezTo>
                <a:cubicBezTo>
                  <a:pt x="3038" y="7817"/>
                  <a:pt x="3038" y="7691"/>
                  <a:pt x="3056" y="7566"/>
                </a:cubicBezTo>
                <a:cubicBezTo>
                  <a:pt x="3075" y="7424"/>
                  <a:pt x="3182" y="7281"/>
                  <a:pt x="3164" y="7138"/>
                </a:cubicBezTo>
                <a:lnTo>
                  <a:pt x="3003" y="6709"/>
                </a:lnTo>
                <a:cubicBezTo>
                  <a:pt x="3056" y="6655"/>
                  <a:pt x="3182" y="6763"/>
                  <a:pt x="3254" y="6727"/>
                </a:cubicBezTo>
                <a:lnTo>
                  <a:pt x="3632" y="6333"/>
                </a:lnTo>
                <a:cubicBezTo>
                  <a:pt x="3902" y="6191"/>
                  <a:pt x="4406" y="6173"/>
                  <a:pt x="4550" y="5780"/>
                </a:cubicBezTo>
                <a:cubicBezTo>
                  <a:pt x="4659" y="5423"/>
                  <a:pt x="4190" y="5459"/>
                  <a:pt x="4065" y="5441"/>
                </a:cubicBezTo>
                <a:cubicBezTo>
                  <a:pt x="3975" y="5423"/>
                  <a:pt x="4137" y="4744"/>
                  <a:pt x="4065" y="4708"/>
                </a:cubicBezTo>
                <a:cubicBezTo>
                  <a:pt x="3722" y="4529"/>
                  <a:pt x="3651" y="4690"/>
                  <a:pt x="3236" y="4529"/>
                </a:cubicBezTo>
                <a:cubicBezTo>
                  <a:pt x="3164" y="4494"/>
                  <a:pt x="3182" y="4315"/>
                  <a:pt x="3020" y="4422"/>
                </a:cubicBezTo>
                <a:cubicBezTo>
                  <a:pt x="2984" y="4458"/>
                  <a:pt x="3056" y="4547"/>
                  <a:pt x="3020" y="4583"/>
                </a:cubicBezTo>
                <a:cubicBezTo>
                  <a:pt x="2769" y="4797"/>
                  <a:pt x="2499" y="4547"/>
                  <a:pt x="2427" y="4529"/>
                </a:cubicBezTo>
                <a:cubicBezTo>
                  <a:pt x="2355" y="4494"/>
                  <a:pt x="2265" y="4583"/>
                  <a:pt x="2210" y="4547"/>
                </a:cubicBezTo>
                <a:cubicBezTo>
                  <a:pt x="2174" y="4529"/>
                  <a:pt x="2318" y="4494"/>
                  <a:pt x="2283" y="4458"/>
                </a:cubicBezTo>
                <a:cubicBezTo>
                  <a:pt x="2265" y="4386"/>
                  <a:pt x="2174" y="4369"/>
                  <a:pt x="2103" y="4369"/>
                </a:cubicBezTo>
                <a:cubicBezTo>
                  <a:pt x="1994" y="4351"/>
                  <a:pt x="1868" y="4386"/>
                  <a:pt x="1761" y="4369"/>
                </a:cubicBezTo>
                <a:cubicBezTo>
                  <a:pt x="1742" y="4351"/>
                  <a:pt x="1779" y="4315"/>
                  <a:pt x="1779" y="4279"/>
                </a:cubicBezTo>
                <a:cubicBezTo>
                  <a:pt x="1779" y="4261"/>
                  <a:pt x="1796" y="4190"/>
                  <a:pt x="1779" y="4208"/>
                </a:cubicBezTo>
                <a:cubicBezTo>
                  <a:pt x="1689" y="4225"/>
                  <a:pt x="1472" y="4476"/>
                  <a:pt x="1310" y="4369"/>
                </a:cubicBezTo>
                <a:cubicBezTo>
                  <a:pt x="878" y="4065"/>
                  <a:pt x="1725" y="3993"/>
                  <a:pt x="1508" y="3779"/>
                </a:cubicBezTo>
                <a:cubicBezTo>
                  <a:pt x="1472" y="3743"/>
                  <a:pt x="1400" y="3779"/>
                  <a:pt x="1364" y="3743"/>
                </a:cubicBezTo>
                <a:cubicBezTo>
                  <a:pt x="1347" y="3707"/>
                  <a:pt x="1436" y="3636"/>
                  <a:pt x="1400" y="3618"/>
                </a:cubicBezTo>
                <a:cubicBezTo>
                  <a:pt x="1076" y="3547"/>
                  <a:pt x="626" y="3654"/>
                  <a:pt x="357" y="3797"/>
                </a:cubicBezTo>
                <a:cubicBezTo>
                  <a:pt x="393" y="3654"/>
                  <a:pt x="194" y="3529"/>
                  <a:pt x="194" y="3386"/>
                </a:cubicBezTo>
                <a:cubicBezTo>
                  <a:pt x="177" y="3332"/>
                  <a:pt x="284" y="3458"/>
                  <a:pt x="320" y="3421"/>
                </a:cubicBezTo>
                <a:cubicBezTo>
                  <a:pt x="357" y="3404"/>
                  <a:pt x="284" y="3332"/>
                  <a:pt x="302" y="3296"/>
                </a:cubicBezTo>
                <a:cubicBezTo>
                  <a:pt x="338" y="3136"/>
                  <a:pt x="609" y="3189"/>
                  <a:pt x="735" y="3082"/>
                </a:cubicBezTo>
                <a:cubicBezTo>
                  <a:pt x="771" y="3064"/>
                  <a:pt x="843" y="2975"/>
                  <a:pt x="788" y="2993"/>
                </a:cubicBezTo>
                <a:cubicBezTo>
                  <a:pt x="680" y="3010"/>
                  <a:pt x="572" y="3118"/>
                  <a:pt x="464" y="3136"/>
                </a:cubicBezTo>
                <a:cubicBezTo>
                  <a:pt x="374" y="3154"/>
                  <a:pt x="338" y="2993"/>
                  <a:pt x="411" y="2921"/>
                </a:cubicBezTo>
                <a:cubicBezTo>
                  <a:pt x="519" y="2850"/>
                  <a:pt x="753" y="2904"/>
                  <a:pt x="788" y="2779"/>
                </a:cubicBezTo>
                <a:cubicBezTo>
                  <a:pt x="807" y="2671"/>
                  <a:pt x="555" y="2814"/>
                  <a:pt x="464" y="2779"/>
                </a:cubicBezTo>
                <a:cubicBezTo>
                  <a:pt x="393" y="2742"/>
                  <a:pt x="338" y="2653"/>
                  <a:pt x="320" y="2582"/>
                </a:cubicBezTo>
                <a:cubicBezTo>
                  <a:pt x="302" y="2403"/>
                  <a:pt x="482" y="2635"/>
                  <a:pt x="500" y="2618"/>
                </a:cubicBezTo>
                <a:cubicBezTo>
                  <a:pt x="536" y="2546"/>
                  <a:pt x="500" y="2457"/>
                  <a:pt x="555" y="2385"/>
                </a:cubicBezTo>
                <a:cubicBezTo>
                  <a:pt x="609" y="2296"/>
                  <a:pt x="771" y="2278"/>
                  <a:pt x="788" y="2171"/>
                </a:cubicBezTo>
                <a:cubicBezTo>
                  <a:pt x="878" y="1296"/>
                  <a:pt x="159" y="2296"/>
                  <a:pt x="14" y="1438"/>
                </a:cubicBezTo>
                <a:cubicBezTo>
                  <a:pt x="-93" y="849"/>
                  <a:pt x="411" y="1027"/>
                  <a:pt x="428" y="938"/>
                </a:cubicBezTo>
                <a:cubicBezTo>
                  <a:pt x="447" y="885"/>
                  <a:pt x="284" y="938"/>
                  <a:pt x="230" y="903"/>
                </a:cubicBezTo>
                <a:cubicBezTo>
                  <a:pt x="213" y="867"/>
                  <a:pt x="284" y="831"/>
                  <a:pt x="302" y="831"/>
                </a:cubicBezTo>
                <a:cubicBezTo>
                  <a:pt x="500" y="795"/>
                  <a:pt x="609" y="849"/>
                  <a:pt x="753" y="831"/>
                </a:cubicBezTo>
                <a:cubicBezTo>
                  <a:pt x="1220" y="795"/>
                  <a:pt x="1850" y="402"/>
                  <a:pt x="2283" y="223"/>
                </a:cubicBezTo>
                <a:cubicBezTo>
                  <a:pt x="2444" y="152"/>
                  <a:pt x="2624" y="-80"/>
                  <a:pt x="2787" y="27"/>
                </a:cubicBezTo>
                <a:cubicBezTo>
                  <a:pt x="2858" y="81"/>
                  <a:pt x="2679" y="295"/>
                  <a:pt x="2769" y="313"/>
                </a:cubicBezTo>
                <a:cubicBezTo>
                  <a:pt x="2913" y="331"/>
                  <a:pt x="3003" y="81"/>
                  <a:pt x="3147" y="81"/>
                </a:cubicBezTo>
                <a:cubicBezTo>
                  <a:pt x="3632" y="81"/>
                  <a:pt x="3597" y="920"/>
                  <a:pt x="4047" y="1027"/>
                </a:cubicBezTo>
                <a:cubicBezTo>
                  <a:pt x="4137" y="1045"/>
                  <a:pt x="4172" y="849"/>
                  <a:pt x="4263" y="867"/>
                </a:cubicBezTo>
                <a:cubicBezTo>
                  <a:pt x="4767" y="992"/>
                  <a:pt x="4497" y="1010"/>
                  <a:pt x="5000" y="1081"/>
                </a:cubicBezTo>
                <a:cubicBezTo>
                  <a:pt x="5127" y="1099"/>
                  <a:pt x="5361" y="1045"/>
                  <a:pt x="5468" y="1063"/>
                </a:cubicBezTo>
                <a:cubicBezTo>
                  <a:pt x="5576" y="1099"/>
                  <a:pt x="5630" y="1206"/>
                  <a:pt x="5739" y="1206"/>
                </a:cubicBezTo>
                <a:cubicBezTo>
                  <a:pt x="5883" y="1206"/>
                  <a:pt x="6009" y="1027"/>
                  <a:pt x="6152" y="1063"/>
                </a:cubicBezTo>
                <a:cubicBezTo>
                  <a:pt x="6279" y="1099"/>
                  <a:pt x="6297" y="1313"/>
                  <a:pt x="6405" y="1403"/>
                </a:cubicBezTo>
                <a:cubicBezTo>
                  <a:pt x="6512" y="1492"/>
                  <a:pt x="6729" y="1385"/>
                  <a:pt x="6836" y="1492"/>
                </a:cubicBezTo>
                <a:cubicBezTo>
                  <a:pt x="6873" y="1528"/>
                  <a:pt x="6764" y="1582"/>
                  <a:pt x="6801" y="1599"/>
                </a:cubicBezTo>
                <a:cubicBezTo>
                  <a:pt x="6836" y="1653"/>
                  <a:pt x="6944" y="1528"/>
                  <a:pt x="6998" y="1564"/>
                </a:cubicBezTo>
                <a:cubicBezTo>
                  <a:pt x="7449" y="1867"/>
                  <a:pt x="8619" y="2439"/>
                  <a:pt x="9213" y="2260"/>
                </a:cubicBezTo>
                <a:cubicBezTo>
                  <a:pt x="9248" y="2242"/>
                  <a:pt x="9248" y="2171"/>
                  <a:pt x="9285" y="2153"/>
                </a:cubicBezTo>
                <a:cubicBezTo>
                  <a:pt x="9357" y="2136"/>
                  <a:pt x="9428" y="2153"/>
                  <a:pt x="9500" y="2153"/>
                </a:cubicBezTo>
                <a:cubicBezTo>
                  <a:pt x="9644" y="2171"/>
                  <a:pt x="10023" y="2136"/>
                  <a:pt x="10131" y="2350"/>
                </a:cubicBezTo>
                <a:cubicBezTo>
                  <a:pt x="10131" y="2367"/>
                  <a:pt x="10113" y="2403"/>
                  <a:pt x="10094" y="2421"/>
                </a:cubicBezTo>
                <a:cubicBezTo>
                  <a:pt x="10239" y="2457"/>
                  <a:pt x="10634" y="2832"/>
                  <a:pt x="10779" y="2832"/>
                </a:cubicBezTo>
                <a:cubicBezTo>
                  <a:pt x="10833" y="2832"/>
                  <a:pt x="10743" y="2707"/>
                  <a:pt x="10779" y="2671"/>
                </a:cubicBezTo>
                <a:cubicBezTo>
                  <a:pt x="10815" y="2618"/>
                  <a:pt x="10886" y="2600"/>
                  <a:pt x="10958" y="2582"/>
                </a:cubicBezTo>
                <a:cubicBezTo>
                  <a:pt x="11480" y="2510"/>
                  <a:pt x="11139" y="2564"/>
                  <a:pt x="11355" y="2814"/>
                </a:cubicBezTo>
                <a:cubicBezTo>
                  <a:pt x="11427" y="2886"/>
                  <a:pt x="11571" y="2779"/>
                  <a:pt x="11643" y="2832"/>
                </a:cubicBezTo>
                <a:cubicBezTo>
                  <a:pt x="11750" y="2886"/>
                  <a:pt x="11805" y="3010"/>
                  <a:pt x="11895" y="3064"/>
                </a:cubicBezTo>
                <a:cubicBezTo>
                  <a:pt x="12128" y="3189"/>
                  <a:pt x="12633" y="3171"/>
                  <a:pt x="12974" y="3082"/>
                </a:cubicBezTo>
                <a:cubicBezTo>
                  <a:pt x="13083" y="3189"/>
                  <a:pt x="13281" y="3368"/>
                  <a:pt x="13281" y="3368"/>
                </a:cubicBezTo>
                <a:cubicBezTo>
                  <a:pt x="13316" y="3386"/>
                  <a:pt x="13299" y="3296"/>
                  <a:pt x="13316" y="3296"/>
                </a:cubicBezTo>
                <a:cubicBezTo>
                  <a:pt x="13407" y="3314"/>
                  <a:pt x="13515" y="3350"/>
                  <a:pt x="13569" y="3421"/>
                </a:cubicBezTo>
                <a:cubicBezTo>
                  <a:pt x="13731" y="3600"/>
                  <a:pt x="13209" y="3815"/>
                  <a:pt x="13443" y="3922"/>
                </a:cubicBezTo>
                <a:cubicBezTo>
                  <a:pt x="13550" y="3957"/>
                  <a:pt x="13658" y="3761"/>
                  <a:pt x="13695" y="3797"/>
                </a:cubicBezTo>
                <a:cubicBezTo>
                  <a:pt x="13713" y="3833"/>
                  <a:pt x="13658" y="3922"/>
                  <a:pt x="13695" y="3957"/>
                </a:cubicBezTo>
                <a:cubicBezTo>
                  <a:pt x="13947" y="4190"/>
                  <a:pt x="14342" y="4100"/>
                  <a:pt x="14577" y="4279"/>
                </a:cubicBezTo>
                <a:cubicBezTo>
                  <a:pt x="14594" y="4297"/>
                  <a:pt x="14774" y="4708"/>
                  <a:pt x="14792" y="4708"/>
                </a:cubicBezTo>
                <a:cubicBezTo>
                  <a:pt x="15026" y="4886"/>
                  <a:pt x="15261" y="4565"/>
                  <a:pt x="15513" y="4779"/>
                </a:cubicBezTo>
                <a:cubicBezTo>
                  <a:pt x="15639" y="4886"/>
                  <a:pt x="15548" y="5119"/>
                  <a:pt x="15783" y="5119"/>
                </a:cubicBezTo>
                <a:cubicBezTo>
                  <a:pt x="15891" y="5137"/>
                  <a:pt x="15962" y="5030"/>
                  <a:pt x="16070" y="5048"/>
                </a:cubicBezTo>
                <a:cubicBezTo>
                  <a:pt x="16178" y="5065"/>
                  <a:pt x="16233" y="5190"/>
                  <a:pt x="16340" y="5208"/>
                </a:cubicBezTo>
                <a:cubicBezTo>
                  <a:pt x="16395" y="5208"/>
                  <a:pt x="16395" y="5101"/>
                  <a:pt x="16449" y="5101"/>
                </a:cubicBezTo>
                <a:cubicBezTo>
                  <a:pt x="16629" y="5083"/>
                  <a:pt x="16790" y="5226"/>
                  <a:pt x="16989" y="5244"/>
                </a:cubicBezTo>
                <a:cubicBezTo>
                  <a:pt x="16989" y="5244"/>
                  <a:pt x="16898" y="4833"/>
                  <a:pt x="17114" y="4869"/>
                </a:cubicBezTo>
                <a:cubicBezTo>
                  <a:pt x="17420" y="4923"/>
                  <a:pt x="17601" y="5137"/>
                  <a:pt x="17798" y="5315"/>
                </a:cubicBezTo>
                <a:cubicBezTo>
                  <a:pt x="17817" y="5333"/>
                  <a:pt x="17870" y="5315"/>
                  <a:pt x="17906" y="5315"/>
                </a:cubicBezTo>
                <a:cubicBezTo>
                  <a:pt x="17997" y="5333"/>
                  <a:pt x="18105" y="5333"/>
                  <a:pt x="18159" y="5387"/>
                </a:cubicBezTo>
                <a:cubicBezTo>
                  <a:pt x="18248" y="5459"/>
                  <a:pt x="18195" y="5619"/>
                  <a:pt x="18284" y="5673"/>
                </a:cubicBezTo>
                <a:lnTo>
                  <a:pt x="18284" y="5691"/>
                </a:lnTo>
                <a:cubicBezTo>
                  <a:pt x="18195" y="5869"/>
                  <a:pt x="18159" y="6120"/>
                  <a:pt x="18716" y="5959"/>
                </a:cubicBezTo>
                <a:close/>
              </a:path>
            </a:pathLst>
          </a:custGeom>
          <a:solidFill>
            <a:schemeClr val="bg2">
              <a:lumMod val="50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77" name="AutoShape 45"/>
          <p:cNvSpPr>
            <a:spLocks/>
          </p:cNvSpPr>
          <p:nvPr/>
        </p:nvSpPr>
        <p:spPr bwMode="auto">
          <a:xfrm>
            <a:off x="12520613" y="10299700"/>
            <a:ext cx="1077912" cy="1774825"/>
          </a:xfrm>
          <a:custGeom>
            <a:avLst/>
            <a:gdLst>
              <a:gd name="T0" fmla="+- 0 10739 146"/>
              <a:gd name="T1" fmla="*/ T0 w 21187"/>
              <a:gd name="T2" fmla="+- 0 10827 87"/>
              <a:gd name="T3" fmla="*/ 10827 h 21481"/>
              <a:gd name="T4" fmla="+- 0 10739 146"/>
              <a:gd name="T5" fmla="*/ T4 w 21187"/>
              <a:gd name="T6" fmla="+- 0 10827 87"/>
              <a:gd name="T7" fmla="*/ 10827 h 21481"/>
              <a:gd name="T8" fmla="+- 0 10739 146"/>
              <a:gd name="T9" fmla="*/ T8 w 21187"/>
              <a:gd name="T10" fmla="+- 0 10827 87"/>
              <a:gd name="T11" fmla="*/ 10827 h 21481"/>
              <a:gd name="T12" fmla="+- 0 10739 146"/>
              <a:gd name="T13" fmla="*/ T12 w 21187"/>
              <a:gd name="T14" fmla="+- 0 10827 87"/>
              <a:gd name="T15" fmla="*/ 10827 h 21481"/>
            </a:gdLst>
            <a:ahLst/>
            <a:cxnLst>
              <a:cxn ang="0">
                <a:pos x="T1" y="T3"/>
              </a:cxn>
              <a:cxn ang="0">
                <a:pos x="T5" y="T7"/>
              </a:cxn>
              <a:cxn ang="0">
                <a:pos x="T9" y="T11"/>
              </a:cxn>
              <a:cxn ang="0">
                <a:pos x="T13" y="T15"/>
              </a:cxn>
            </a:cxnLst>
            <a:rect l="0" t="0" r="r" b="b"/>
            <a:pathLst>
              <a:path w="21187" h="21481">
                <a:moveTo>
                  <a:pt x="8722" y="20966"/>
                </a:moveTo>
                <a:cubicBezTo>
                  <a:pt x="8827" y="19618"/>
                  <a:pt x="8305" y="19394"/>
                  <a:pt x="10028" y="18463"/>
                </a:cubicBezTo>
                <a:cubicBezTo>
                  <a:pt x="10340" y="18303"/>
                  <a:pt x="10289" y="17949"/>
                  <a:pt x="10601" y="17854"/>
                </a:cubicBezTo>
                <a:cubicBezTo>
                  <a:pt x="10706" y="17821"/>
                  <a:pt x="13261" y="17789"/>
                  <a:pt x="12636" y="17147"/>
                </a:cubicBezTo>
                <a:cubicBezTo>
                  <a:pt x="12479" y="16987"/>
                  <a:pt x="11957" y="17244"/>
                  <a:pt x="11697" y="17147"/>
                </a:cubicBezTo>
                <a:cubicBezTo>
                  <a:pt x="11435" y="17019"/>
                  <a:pt x="11487" y="16761"/>
                  <a:pt x="11385" y="16570"/>
                </a:cubicBezTo>
                <a:cubicBezTo>
                  <a:pt x="11280" y="16377"/>
                  <a:pt x="11280" y="16153"/>
                  <a:pt x="11070" y="15992"/>
                </a:cubicBezTo>
                <a:cubicBezTo>
                  <a:pt x="11018" y="15927"/>
                  <a:pt x="10706" y="15992"/>
                  <a:pt x="10706" y="15927"/>
                </a:cubicBezTo>
                <a:cubicBezTo>
                  <a:pt x="10862" y="15702"/>
                  <a:pt x="11227" y="15542"/>
                  <a:pt x="11385" y="15318"/>
                </a:cubicBezTo>
                <a:cubicBezTo>
                  <a:pt x="11697" y="14933"/>
                  <a:pt x="10810" y="15221"/>
                  <a:pt x="11697" y="14773"/>
                </a:cubicBezTo>
                <a:cubicBezTo>
                  <a:pt x="12479" y="14386"/>
                  <a:pt x="13523" y="14451"/>
                  <a:pt x="13627" y="13617"/>
                </a:cubicBezTo>
                <a:cubicBezTo>
                  <a:pt x="13627" y="13552"/>
                  <a:pt x="12636" y="13135"/>
                  <a:pt x="12427" y="12879"/>
                </a:cubicBezTo>
                <a:cubicBezTo>
                  <a:pt x="12114" y="12460"/>
                  <a:pt x="12479" y="11787"/>
                  <a:pt x="12479" y="11723"/>
                </a:cubicBezTo>
                <a:cubicBezTo>
                  <a:pt x="12427" y="11691"/>
                  <a:pt x="11593" y="10696"/>
                  <a:pt x="11593" y="10664"/>
                </a:cubicBezTo>
                <a:cubicBezTo>
                  <a:pt x="11541" y="10599"/>
                  <a:pt x="11749" y="10696"/>
                  <a:pt x="11854" y="10696"/>
                </a:cubicBezTo>
                <a:cubicBezTo>
                  <a:pt x="12322" y="10792"/>
                  <a:pt x="12636" y="10825"/>
                  <a:pt x="13106" y="10889"/>
                </a:cubicBezTo>
                <a:cubicBezTo>
                  <a:pt x="14305" y="11081"/>
                  <a:pt x="14566" y="11145"/>
                  <a:pt x="15193" y="10407"/>
                </a:cubicBezTo>
                <a:cubicBezTo>
                  <a:pt x="15922" y="9509"/>
                  <a:pt x="15140" y="9830"/>
                  <a:pt x="14984" y="9155"/>
                </a:cubicBezTo>
                <a:cubicBezTo>
                  <a:pt x="14828" y="8546"/>
                  <a:pt x="16444" y="8835"/>
                  <a:pt x="16496" y="8385"/>
                </a:cubicBezTo>
                <a:cubicBezTo>
                  <a:pt x="16549" y="8064"/>
                  <a:pt x="15976" y="8353"/>
                  <a:pt x="16288" y="7969"/>
                </a:cubicBezTo>
                <a:cubicBezTo>
                  <a:pt x="16340" y="7904"/>
                  <a:pt x="16549" y="7904"/>
                  <a:pt x="16601" y="7807"/>
                </a:cubicBezTo>
                <a:cubicBezTo>
                  <a:pt x="16757" y="7583"/>
                  <a:pt x="16757" y="7358"/>
                  <a:pt x="16809" y="7134"/>
                </a:cubicBezTo>
                <a:cubicBezTo>
                  <a:pt x="16862" y="6877"/>
                  <a:pt x="17175" y="6620"/>
                  <a:pt x="17122" y="6363"/>
                </a:cubicBezTo>
                <a:lnTo>
                  <a:pt x="16653" y="5593"/>
                </a:lnTo>
                <a:cubicBezTo>
                  <a:pt x="16809" y="5496"/>
                  <a:pt x="17175" y="5689"/>
                  <a:pt x="17383" y="5625"/>
                </a:cubicBezTo>
                <a:lnTo>
                  <a:pt x="18479" y="4919"/>
                </a:lnTo>
                <a:cubicBezTo>
                  <a:pt x="19261" y="4663"/>
                  <a:pt x="20722" y="4631"/>
                  <a:pt x="21140" y="3924"/>
                </a:cubicBezTo>
                <a:cubicBezTo>
                  <a:pt x="21453" y="3282"/>
                  <a:pt x="20096" y="3347"/>
                  <a:pt x="19732" y="3315"/>
                </a:cubicBezTo>
                <a:cubicBezTo>
                  <a:pt x="19471" y="3282"/>
                  <a:pt x="19940" y="2063"/>
                  <a:pt x="19732" y="1999"/>
                </a:cubicBezTo>
                <a:cubicBezTo>
                  <a:pt x="18739" y="1677"/>
                  <a:pt x="18532" y="1966"/>
                  <a:pt x="17331" y="1677"/>
                </a:cubicBezTo>
                <a:cubicBezTo>
                  <a:pt x="17122" y="1614"/>
                  <a:pt x="17175" y="1292"/>
                  <a:pt x="16705" y="1485"/>
                </a:cubicBezTo>
                <a:cubicBezTo>
                  <a:pt x="16601" y="1549"/>
                  <a:pt x="16809" y="1710"/>
                  <a:pt x="16705" y="1774"/>
                </a:cubicBezTo>
                <a:cubicBezTo>
                  <a:pt x="15976" y="2159"/>
                  <a:pt x="15193" y="1710"/>
                  <a:pt x="14984" y="1677"/>
                </a:cubicBezTo>
                <a:cubicBezTo>
                  <a:pt x="14775" y="1614"/>
                  <a:pt x="14514" y="1774"/>
                  <a:pt x="14357" y="1710"/>
                </a:cubicBezTo>
                <a:cubicBezTo>
                  <a:pt x="14253" y="1677"/>
                  <a:pt x="14670" y="1614"/>
                  <a:pt x="14566" y="1549"/>
                </a:cubicBezTo>
                <a:cubicBezTo>
                  <a:pt x="14514" y="1421"/>
                  <a:pt x="14253" y="1389"/>
                  <a:pt x="14045" y="1389"/>
                </a:cubicBezTo>
                <a:cubicBezTo>
                  <a:pt x="13731" y="1357"/>
                  <a:pt x="13366" y="1421"/>
                  <a:pt x="13054" y="1389"/>
                </a:cubicBezTo>
                <a:cubicBezTo>
                  <a:pt x="13001" y="1357"/>
                  <a:pt x="13106" y="1292"/>
                  <a:pt x="13106" y="1228"/>
                </a:cubicBezTo>
                <a:cubicBezTo>
                  <a:pt x="13106" y="1196"/>
                  <a:pt x="13157" y="1068"/>
                  <a:pt x="13106" y="1100"/>
                </a:cubicBezTo>
                <a:cubicBezTo>
                  <a:pt x="12845" y="1132"/>
                  <a:pt x="12218" y="1582"/>
                  <a:pt x="11749" y="1389"/>
                </a:cubicBezTo>
                <a:cubicBezTo>
                  <a:pt x="10497" y="843"/>
                  <a:pt x="12950" y="714"/>
                  <a:pt x="12322" y="329"/>
                </a:cubicBezTo>
                <a:cubicBezTo>
                  <a:pt x="12218" y="264"/>
                  <a:pt x="12010" y="329"/>
                  <a:pt x="11905" y="264"/>
                </a:cubicBezTo>
                <a:cubicBezTo>
                  <a:pt x="11854" y="201"/>
                  <a:pt x="12114" y="73"/>
                  <a:pt x="12010" y="41"/>
                </a:cubicBezTo>
                <a:cubicBezTo>
                  <a:pt x="11070" y="-87"/>
                  <a:pt x="9766" y="105"/>
                  <a:pt x="8984" y="361"/>
                </a:cubicBezTo>
                <a:cubicBezTo>
                  <a:pt x="8879" y="683"/>
                  <a:pt x="7575" y="843"/>
                  <a:pt x="7888" y="1132"/>
                </a:cubicBezTo>
                <a:cubicBezTo>
                  <a:pt x="8097" y="1292"/>
                  <a:pt x="8722" y="1228"/>
                  <a:pt x="8827" y="1421"/>
                </a:cubicBezTo>
                <a:cubicBezTo>
                  <a:pt x="8931" y="1582"/>
                  <a:pt x="8254" y="1389"/>
                  <a:pt x="8097" y="1517"/>
                </a:cubicBezTo>
                <a:cubicBezTo>
                  <a:pt x="7784" y="1806"/>
                  <a:pt x="7836" y="3186"/>
                  <a:pt x="7940" y="3539"/>
                </a:cubicBezTo>
                <a:cubicBezTo>
                  <a:pt x="7940" y="3635"/>
                  <a:pt x="8201" y="3667"/>
                  <a:pt x="8201" y="3796"/>
                </a:cubicBezTo>
                <a:cubicBezTo>
                  <a:pt x="8150" y="4341"/>
                  <a:pt x="7784" y="4663"/>
                  <a:pt x="7418" y="5111"/>
                </a:cubicBezTo>
                <a:cubicBezTo>
                  <a:pt x="7261" y="5305"/>
                  <a:pt x="6584" y="5721"/>
                  <a:pt x="6949" y="5689"/>
                </a:cubicBezTo>
                <a:cubicBezTo>
                  <a:pt x="7314" y="5625"/>
                  <a:pt x="7314" y="5143"/>
                  <a:pt x="7680" y="5079"/>
                </a:cubicBezTo>
                <a:cubicBezTo>
                  <a:pt x="7940" y="5047"/>
                  <a:pt x="8097" y="5369"/>
                  <a:pt x="7992" y="5496"/>
                </a:cubicBezTo>
                <a:cubicBezTo>
                  <a:pt x="7731" y="5721"/>
                  <a:pt x="7001" y="5625"/>
                  <a:pt x="6741" y="5882"/>
                </a:cubicBezTo>
                <a:cubicBezTo>
                  <a:pt x="6375" y="6267"/>
                  <a:pt x="6167" y="6717"/>
                  <a:pt x="5750" y="7101"/>
                </a:cubicBezTo>
                <a:cubicBezTo>
                  <a:pt x="5592" y="7262"/>
                  <a:pt x="5280" y="7358"/>
                  <a:pt x="5331" y="7519"/>
                </a:cubicBezTo>
                <a:cubicBezTo>
                  <a:pt x="5331" y="7678"/>
                  <a:pt x="5802" y="7743"/>
                  <a:pt x="5906" y="7904"/>
                </a:cubicBezTo>
                <a:cubicBezTo>
                  <a:pt x="5958" y="7969"/>
                  <a:pt x="5645" y="7711"/>
                  <a:pt x="5488" y="7775"/>
                </a:cubicBezTo>
                <a:cubicBezTo>
                  <a:pt x="5228" y="7872"/>
                  <a:pt x="5123" y="8129"/>
                  <a:pt x="4915" y="8321"/>
                </a:cubicBezTo>
                <a:cubicBezTo>
                  <a:pt x="4393" y="8835"/>
                  <a:pt x="3819" y="9477"/>
                  <a:pt x="3192" y="9926"/>
                </a:cubicBezTo>
                <a:cubicBezTo>
                  <a:pt x="3036" y="10054"/>
                  <a:pt x="2723" y="10086"/>
                  <a:pt x="2515" y="10247"/>
                </a:cubicBezTo>
                <a:cubicBezTo>
                  <a:pt x="2463" y="10279"/>
                  <a:pt x="2775" y="10375"/>
                  <a:pt x="2671" y="10407"/>
                </a:cubicBezTo>
                <a:cubicBezTo>
                  <a:pt x="2254" y="10471"/>
                  <a:pt x="1732" y="10247"/>
                  <a:pt x="1471" y="10407"/>
                </a:cubicBezTo>
                <a:cubicBezTo>
                  <a:pt x="1211" y="10568"/>
                  <a:pt x="1679" y="10825"/>
                  <a:pt x="1576" y="11017"/>
                </a:cubicBezTo>
                <a:cubicBezTo>
                  <a:pt x="1419" y="11339"/>
                  <a:pt x="-146" y="12686"/>
                  <a:pt x="10" y="13007"/>
                </a:cubicBezTo>
                <a:cubicBezTo>
                  <a:pt x="115" y="13231"/>
                  <a:pt x="376" y="13424"/>
                  <a:pt x="584" y="13648"/>
                </a:cubicBezTo>
                <a:cubicBezTo>
                  <a:pt x="1106" y="14194"/>
                  <a:pt x="898" y="14451"/>
                  <a:pt x="898" y="14451"/>
                </a:cubicBezTo>
                <a:cubicBezTo>
                  <a:pt x="1314" y="14516"/>
                  <a:pt x="1784" y="14483"/>
                  <a:pt x="2202" y="14451"/>
                </a:cubicBezTo>
                <a:cubicBezTo>
                  <a:pt x="2411" y="14451"/>
                  <a:pt x="2515" y="14291"/>
                  <a:pt x="2723" y="14322"/>
                </a:cubicBezTo>
                <a:cubicBezTo>
                  <a:pt x="2932" y="14322"/>
                  <a:pt x="3036" y="14516"/>
                  <a:pt x="3297" y="14548"/>
                </a:cubicBezTo>
                <a:cubicBezTo>
                  <a:pt x="3454" y="14580"/>
                  <a:pt x="3454" y="14130"/>
                  <a:pt x="3559" y="14227"/>
                </a:cubicBezTo>
                <a:cubicBezTo>
                  <a:pt x="3715" y="14386"/>
                  <a:pt x="3454" y="14612"/>
                  <a:pt x="3559" y="14740"/>
                </a:cubicBezTo>
                <a:cubicBezTo>
                  <a:pt x="3715" y="14869"/>
                  <a:pt x="4445" y="14933"/>
                  <a:pt x="4236" y="14997"/>
                </a:cubicBezTo>
                <a:cubicBezTo>
                  <a:pt x="2828" y="15414"/>
                  <a:pt x="3662" y="14322"/>
                  <a:pt x="2515" y="14420"/>
                </a:cubicBezTo>
                <a:cubicBezTo>
                  <a:pt x="2202" y="14451"/>
                  <a:pt x="2880" y="14709"/>
                  <a:pt x="2984" y="14869"/>
                </a:cubicBezTo>
                <a:cubicBezTo>
                  <a:pt x="3036" y="15061"/>
                  <a:pt x="2984" y="15286"/>
                  <a:pt x="2932" y="15511"/>
                </a:cubicBezTo>
                <a:cubicBezTo>
                  <a:pt x="2828" y="15927"/>
                  <a:pt x="1941" y="16313"/>
                  <a:pt x="1941" y="16633"/>
                </a:cubicBezTo>
                <a:cubicBezTo>
                  <a:pt x="1941" y="16761"/>
                  <a:pt x="2254" y="16859"/>
                  <a:pt x="2254" y="16987"/>
                </a:cubicBezTo>
                <a:cubicBezTo>
                  <a:pt x="2307" y="17211"/>
                  <a:pt x="1732" y="17629"/>
                  <a:pt x="2097" y="17693"/>
                </a:cubicBezTo>
                <a:cubicBezTo>
                  <a:pt x="2202" y="17693"/>
                  <a:pt x="2567" y="17597"/>
                  <a:pt x="2463" y="17661"/>
                </a:cubicBezTo>
                <a:cubicBezTo>
                  <a:pt x="2358" y="17757"/>
                  <a:pt x="2045" y="17693"/>
                  <a:pt x="1941" y="17789"/>
                </a:cubicBezTo>
                <a:cubicBezTo>
                  <a:pt x="1679" y="18111"/>
                  <a:pt x="1836" y="18495"/>
                  <a:pt x="1576" y="18817"/>
                </a:cubicBezTo>
                <a:cubicBezTo>
                  <a:pt x="1367" y="19073"/>
                  <a:pt x="115" y="20133"/>
                  <a:pt x="219" y="20485"/>
                </a:cubicBezTo>
                <a:cubicBezTo>
                  <a:pt x="272" y="20613"/>
                  <a:pt x="636" y="20356"/>
                  <a:pt x="845" y="20356"/>
                </a:cubicBezTo>
                <a:cubicBezTo>
                  <a:pt x="1158" y="20325"/>
                  <a:pt x="1471" y="20389"/>
                  <a:pt x="1784" y="20356"/>
                </a:cubicBezTo>
                <a:cubicBezTo>
                  <a:pt x="1941" y="20356"/>
                  <a:pt x="2097" y="20261"/>
                  <a:pt x="2254" y="20293"/>
                </a:cubicBezTo>
                <a:cubicBezTo>
                  <a:pt x="3088" y="20422"/>
                  <a:pt x="5802" y="21513"/>
                  <a:pt x="6167" y="21481"/>
                </a:cubicBezTo>
                <a:cubicBezTo>
                  <a:pt x="6323" y="21481"/>
                  <a:pt x="7940" y="20999"/>
                  <a:pt x="8046" y="20966"/>
                </a:cubicBezTo>
                <a:cubicBezTo>
                  <a:pt x="8201" y="20966"/>
                  <a:pt x="8462" y="20966"/>
                  <a:pt x="8722" y="20966"/>
                </a:cubicBezTo>
                <a:close/>
              </a:path>
            </a:pathLst>
          </a:custGeom>
          <a:solidFill>
            <a:schemeClr val="tx1">
              <a:lumMod val="60000"/>
              <a:lumOff val="40000"/>
              <a:alpha val="19000"/>
            </a:schemeClr>
          </a:solidFill>
          <a:ln>
            <a:solidFill>
              <a:schemeClr val="bg1"/>
            </a:solidFill>
          </a:ln>
          <a:effectLst/>
          <a:extLst/>
        </p:spPr>
        <p:txBody>
          <a:bodyPr lIns="0" tIns="0" rIns="0" bIns="0" anchor="ctr"/>
          <a:lstStyle/>
          <a:p>
            <a:pPr defTabSz="584200"/>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95233" name="Line 1"/>
          <p:cNvSpPr>
            <a:spLocks noChangeShapeType="1"/>
          </p:cNvSpPr>
          <p:nvPr/>
        </p:nvSpPr>
        <p:spPr bwMode="auto">
          <a:xfrm flipH="1" flipV="1">
            <a:off x="4876457" y="2992437"/>
            <a:ext cx="45719" cy="8582025"/>
          </a:xfrm>
          <a:prstGeom prst="line">
            <a:avLst/>
          </a:prstGeom>
          <a:noFill/>
          <a:ln w="63500" cap="flat" cmpd="sng">
            <a:solidFill>
              <a:srgbClr val="B7B7B7"/>
            </a:solidFill>
            <a:prstDash val="solid"/>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pPr algn="l"/>
            <a:endParaRPr lang="en-US" sz="1200">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endParaRPr>
          </a:p>
        </p:txBody>
      </p:sp>
      <p:sp>
        <p:nvSpPr>
          <p:cNvPr id="95279" name="AutoShape 47"/>
          <p:cNvSpPr>
            <a:spLocks/>
          </p:cNvSpPr>
          <p:nvPr/>
        </p:nvSpPr>
        <p:spPr bwMode="auto">
          <a:xfrm>
            <a:off x="4743108" y="2919413"/>
            <a:ext cx="266700" cy="2667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rgbClr val="FFFFFF"/>
          </a:solidFill>
          <a:ln w="88900" cap="flat" cmpd="sng">
            <a:solidFill>
              <a:schemeClr val="accent5"/>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C0C0C0"/>
                </a:outerShdw>
              </a:effectLst>
              <a:latin typeface="Lato" panose="020F0502020204030203" pitchFamily="34" charset="0"/>
            </a:endParaRPr>
          </a:p>
        </p:txBody>
      </p:sp>
      <p:sp>
        <p:nvSpPr>
          <p:cNvPr id="95280" name="AutoShape 48"/>
          <p:cNvSpPr>
            <a:spLocks/>
          </p:cNvSpPr>
          <p:nvPr/>
        </p:nvSpPr>
        <p:spPr bwMode="auto">
          <a:xfrm>
            <a:off x="4749458" y="5078413"/>
            <a:ext cx="266700" cy="2667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rgbClr val="FFFFFF"/>
          </a:solidFill>
          <a:ln w="88900" cap="flat" cmpd="sng">
            <a:solidFill>
              <a:schemeClr val="tx2"/>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C0C0C0"/>
                </a:outerShdw>
              </a:effectLst>
              <a:latin typeface="Lato" panose="020F0502020204030203" pitchFamily="34" charset="0"/>
            </a:endParaRPr>
          </a:p>
        </p:txBody>
      </p:sp>
      <p:sp>
        <p:nvSpPr>
          <p:cNvPr id="95282" name="AutoShape 50"/>
          <p:cNvSpPr>
            <a:spLocks/>
          </p:cNvSpPr>
          <p:nvPr/>
        </p:nvSpPr>
        <p:spPr bwMode="auto">
          <a:xfrm>
            <a:off x="2549663" y="2503805"/>
            <a:ext cx="1591782" cy="65659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50800" tIns="50800" rIns="50800" bIns="50800" anchor="ctr">
            <a:spAutoFit/>
          </a:bodyPr>
          <a:lstStyle/>
          <a:p>
            <a:pPr algn="r"/>
            <a:r>
              <a:rPr lang="en-US" sz="3600" b="1" dirty="0">
                <a:solidFill>
                  <a:schemeClr val="accent5"/>
                </a:solidFill>
                <a:latin typeface="Aleo" panose="020F0502020204030203" pitchFamily="34" charset="0"/>
                <a:ea typeface="Aleo Regular" charset="0"/>
                <a:cs typeface="Aleo Regular" charset="0"/>
                <a:sym typeface="Aleo Regular" charset="0"/>
              </a:rPr>
              <a:t>FRANCE</a:t>
            </a:r>
            <a:endParaRPr lang="en-US" dirty="0">
              <a:solidFill>
                <a:schemeClr val="accent5"/>
              </a:solidFill>
              <a:latin typeface="Lato" panose="020F0502020204030203" pitchFamily="34" charset="0"/>
            </a:endParaRPr>
          </a:p>
        </p:txBody>
      </p:sp>
      <p:sp>
        <p:nvSpPr>
          <p:cNvPr id="95283" name="AutoShape 51"/>
          <p:cNvSpPr>
            <a:spLocks/>
          </p:cNvSpPr>
          <p:nvPr/>
        </p:nvSpPr>
        <p:spPr bwMode="auto">
          <a:xfrm>
            <a:off x="4749458" y="7237413"/>
            <a:ext cx="266700" cy="2667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rgbClr val="FFFFFF"/>
          </a:solidFill>
          <a:ln w="88900" cap="flat" cmpd="sng">
            <a:solidFill>
              <a:schemeClr val="accent3"/>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C0C0C0"/>
                </a:outerShdw>
              </a:effectLst>
              <a:latin typeface="Lato" panose="020F0502020204030203" pitchFamily="34" charset="0"/>
            </a:endParaRPr>
          </a:p>
        </p:txBody>
      </p:sp>
      <p:sp>
        <p:nvSpPr>
          <p:cNvPr id="95284" name="AutoShape 52"/>
          <p:cNvSpPr>
            <a:spLocks/>
          </p:cNvSpPr>
          <p:nvPr/>
        </p:nvSpPr>
        <p:spPr bwMode="auto">
          <a:xfrm>
            <a:off x="4749458" y="9383713"/>
            <a:ext cx="266700" cy="2667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rgbClr val="FFFFFF"/>
          </a:solidFill>
          <a:ln w="88900" cap="flat" cmpd="sng">
            <a:solidFill>
              <a:schemeClr val="accent1"/>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C0C0C0"/>
                </a:outerShdw>
              </a:effectLst>
              <a:latin typeface="Lato" panose="020F0502020204030203" pitchFamily="34" charset="0"/>
            </a:endParaRPr>
          </a:p>
        </p:txBody>
      </p:sp>
      <p:sp>
        <p:nvSpPr>
          <p:cNvPr id="95285" name="AutoShape 53"/>
          <p:cNvSpPr>
            <a:spLocks/>
          </p:cNvSpPr>
          <p:nvPr/>
        </p:nvSpPr>
        <p:spPr bwMode="auto">
          <a:xfrm>
            <a:off x="2363445" y="5293360"/>
            <a:ext cx="1625600" cy="4699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r"/>
            <a:r>
              <a:rPr lang="en-US" sz="2400" dirty="0">
                <a:solidFill>
                  <a:schemeClr val="tx1"/>
                </a:solidFill>
                <a:latin typeface="Aleo" panose="020F0502020204030203" pitchFamily="34" charset="0"/>
                <a:ea typeface="Aleo Regular" charset="0"/>
                <a:cs typeface="Aleo Regular" charset="0"/>
                <a:sym typeface="Aleo Regular" charset="0"/>
              </a:rPr>
              <a:t>2017</a:t>
            </a:r>
            <a:endParaRPr lang="en-US" dirty="0">
              <a:solidFill>
                <a:schemeClr val="tx1"/>
              </a:solidFill>
              <a:latin typeface="Lato" panose="020F0502020204030203" pitchFamily="34" charset="0"/>
            </a:endParaRPr>
          </a:p>
        </p:txBody>
      </p:sp>
      <p:sp>
        <p:nvSpPr>
          <p:cNvPr id="95286" name="AutoShape 54"/>
          <p:cNvSpPr>
            <a:spLocks/>
          </p:cNvSpPr>
          <p:nvPr/>
        </p:nvSpPr>
        <p:spPr bwMode="auto">
          <a:xfrm>
            <a:off x="1203041" y="4777105"/>
            <a:ext cx="2786019" cy="65659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50800" tIns="50800" rIns="50800" bIns="50800" anchor="ctr">
            <a:spAutoFit/>
          </a:bodyPr>
          <a:lstStyle/>
          <a:p>
            <a:pPr algn="r"/>
            <a:r>
              <a:rPr lang="en-US" sz="3600" b="1" dirty="0">
                <a:solidFill>
                  <a:schemeClr val="tx2"/>
                </a:solidFill>
                <a:latin typeface="Aleo" panose="020F0502020204030203" pitchFamily="34" charset="0"/>
                <a:sym typeface="Aleo Regular" charset="0"/>
              </a:rPr>
              <a:t>SWITZERLAND</a:t>
            </a:r>
            <a:endParaRPr lang="en-US" dirty="0">
              <a:solidFill>
                <a:schemeClr val="tx2"/>
              </a:solidFill>
              <a:latin typeface="Lato" panose="020F0502020204030203" pitchFamily="34" charset="0"/>
            </a:endParaRPr>
          </a:p>
        </p:txBody>
      </p:sp>
      <p:sp>
        <p:nvSpPr>
          <p:cNvPr id="95287" name="AutoShape 55"/>
          <p:cNvSpPr>
            <a:spLocks/>
          </p:cNvSpPr>
          <p:nvPr/>
        </p:nvSpPr>
        <p:spPr bwMode="auto">
          <a:xfrm>
            <a:off x="2452345" y="7348220"/>
            <a:ext cx="1625600" cy="4699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r"/>
            <a:r>
              <a:rPr lang="en-US" sz="2400" dirty="0">
                <a:solidFill>
                  <a:schemeClr val="tx1"/>
                </a:solidFill>
                <a:latin typeface="Aleo" panose="020F0502020204030203" pitchFamily="34" charset="0"/>
                <a:ea typeface="Aleo Regular" charset="0"/>
                <a:cs typeface="Aleo Regular" charset="0"/>
                <a:sym typeface="Aleo Regular" charset="0"/>
              </a:rPr>
              <a:t>2018</a:t>
            </a:r>
            <a:endParaRPr lang="en-US" dirty="0">
              <a:solidFill>
                <a:schemeClr val="tx1"/>
              </a:solidFill>
              <a:latin typeface="Lato" panose="020F0502020204030203" pitchFamily="34" charset="0"/>
            </a:endParaRPr>
          </a:p>
        </p:txBody>
      </p:sp>
      <p:sp>
        <p:nvSpPr>
          <p:cNvPr id="95288" name="AutoShape 56"/>
          <p:cNvSpPr>
            <a:spLocks/>
          </p:cNvSpPr>
          <p:nvPr/>
        </p:nvSpPr>
        <p:spPr bwMode="auto">
          <a:xfrm>
            <a:off x="1303478" y="6796405"/>
            <a:ext cx="2774477" cy="65659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50800" tIns="50800" rIns="50800" bIns="50800" anchor="ctr">
            <a:spAutoFit/>
          </a:bodyPr>
          <a:lstStyle/>
          <a:p>
            <a:pPr algn="r"/>
            <a:r>
              <a:rPr lang="en-US" sz="3600" b="1" dirty="0">
                <a:solidFill>
                  <a:schemeClr val="accent3"/>
                </a:solidFill>
                <a:latin typeface="Aleo" panose="020F0502020204030203" pitchFamily="34" charset="0"/>
                <a:sym typeface="Aleo Regular" charset="0"/>
              </a:rPr>
              <a:t>Great Britain</a:t>
            </a:r>
            <a:endParaRPr lang="en-US" dirty="0">
              <a:solidFill>
                <a:schemeClr val="accent3"/>
              </a:solidFill>
              <a:latin typeface="Lato" panose="020F0502020204030203" pitchFamily="34" charset="0"/>
            </a:endParaRPr>
          </a:p>
        </p:txBody>
      </p:sp>
      <p:sp>
        <p:nvSpPr>
          <p:cNvPr id="95289" name="AutoShape 57"/>
          <p:cNvSpPr>
            <a:spLocks/>
          </p:cNvSpPr>
          <p:nvPr/>
        </p:nvSpPr>
        <p:spPr bwMode="auto">
          <a:xfrm>
            <a:off x="2452345" y="9489440"/>
            <a:ext cx="1625600" cy="4699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r"/>
            <a:r>
              <a:rPr lang="en-US" sz="2400" dirty="0">
                <a:solidFill>
                  <a:schemeClr val="tx1"/>
                </a:solidFill>
                <a:latin typeface="Aleo" panose="020F0502020204030203" pitchFamily="34" charset="0"/>
                <a:ea typeface="Aleo Regular" charset="0"/>
                <a:cs typeface="Aleo Regular" charset="0"/>
                <a:sym typeface="Aleo Regular" charset="0"/>
              </a:rPr>
              <a:t>2019</a:t>
            </a:r>
            <a:endParaRPr lang="en-US" dirty="0">
              <a:solidFill>
                <a:schemeClr val="tx1"/>
              </a:solidFill>
              <a:latin typeface="Lato" panose="020F0502020204030203" pitchFamily="34" charset="0"/>
            </a:endParaRPr>
          </a:p>
        </p:txBody>
      </p:sp>
      <p:sp>
        <p:nvSpPr>
          <p:cNvPr id="95290" name="AutoShape 58"/>
          <p:cNvSpPr>
            <a:spLocks/>
          </p:cNvSpPr>
          <p:nvPr/>
        </p:nvSpPr>
        <p:spPr bwMode="auto">
          <a:xfrm>
            <a:off x="2090231" y="8968105"/>
            <a:ext cx="1987724" cy="65659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50800" tIns="50800" rIns="50800" bIns="50800" anchor="ctr">
            <a:spAutoFit/>
          </a:bodyPr>
          <a:lstStyle/>
          <a:p>
            <a:pPr algn="r"/>
            <a:r>
              <a:rPr lang="en-US" sz="3600" b="1" dirty="0">
                <a:solidFill>
                  <a:schemeClr val="accent1"/>
                </a:solidFill>
                <a:latin typeface="Aleo" panose="020F0502020204030203" pitchFamily="34" charset="0"/>
                <a:ea typeface="Aleo Regular" charset="0"/>
                <a:cs typeface="Aleo Regular" charset="0"/>
                <a:sym typeface="Aleo Regular" charset="0"/>
              </a:rPr>
              <a:t>GERMANY</a:t>
            </a:r>
            <a:endParaRPr lang="en-US" dirty="0">
              <a:solidFill>
                <a:schemeClr val="accent1"/>
              </a:solidFill>
              <a:latin typeface="Lato" panose="020F0502020204030203" pitchFamily="34" charset="0"/>
            </a:endParaRPr>
          </a:p>
        </p:txBody>
      </p:sp>
      <p:sp>
        <p:nvSpPr>
          <p:cNvPr id="95291" name="AutoShape 59"/>
          <p:cNvSpPr>
            <a:spLocks/>
          </p:cNvSpPr>
          <p:nvPr/>
        </p:nvSpPr>
        <p:spPr bwMode="auto">
          <a:xfrm>
            <a:off x="5601945" y="3466465"/>
            <a:ext cx="6057900" cy="1219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35,000 SAP R/3 ERP systems in Europe</a:t>
            </a:r>
            <a:endParaRPr lang="en-US" dirty="0">
              <a:solidFill>
                <a:schemeClr val="tx1"/>
              </a:solidFill>
              <a:latin typeface="Lato" panose="020F0502020204030203" pitchFamily="34" charset="0"/>
            </a:endParaRPr>
          </a:p>
        </p:txBody>
      </p:sp>
      <p:sp>
        <p:nvSpPr>
          <p:cNvPr id="95295" name="AutoShape 63"/>
          <p:cNvSpPr>
            <a:spLocks/>
          </p:cNvSpPr>
          <p:nvPr/>
        </p:nvSpPr>
        <p:spPr bwMode="auto">
          <a:xfrm>
            <a:off x="19583399" y="7232650"/>
            <a:ext cx="2868613" cy="1219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6000" b="1" dirty="0">
                <a:solidFill>
                  <a:schemeClr val="tx1"/>
                </a:solidFill>
                <a:latin typeface="Aleo" panose="020F0502020204030203" pitchFamily="34" charset="0"/>
                <a:ea typeface="Aleo Regular" charset="0"/>
                <a:cs typeface="Aleo Regular" charset="0"/>
                <a:sym typeface="Aleo Regular" charset="0"/>
              </a:rPr>
              <a:t>180,000</a:t>
            </a:r>
            <a:endParaRPr lang="en-US" sz="6000" dirty="0">
              <a:solidFill>
                <a:schemeClr val="tx1"/>
              </a:solidFill>
              <a:latin typeface="Lato" panose="020F0502020204030203" pitchFamily="34" charset="0"/>
            </a:endParaRPr>
          </a:p>
        </p:txBody>
      </p:sp>
      <p:sp>
        <p:nvSpPr>
          <p:cNvPr id="95296" name="AutoShape 64"/>
          <p:cNvSpPr>
            <a:spLocks/>
          </p:cNvSpPr>
          <p:nvPr/>
        </p:nvSpPr>
        <p:spPr bwMode="auto">
          <a:xfrm>
            <a:off x="19634199" y="8426450"/>
            <a:ext cx="2767012" cy="8255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p:spPr>
        <p:txBody>
          <a:bodyPr lIns="0" tIns="0" rIns="0" bIns="0" anchor="ctr"/>
          <a:lstStyle/>
          <a:p>
            <a:pPr defTabSz="584200"/>
            <a:r>
              <a:rPr lang="en-US" sz="4000" dirty="0">
                <a:solidFill>
                  <a:schemeClr val="tx1"/>
                </a:solidFill>
                <a:latin typeface="Lato" panose="020F0502020204030203" pitchFamily="34" charset="0"/>
                <a:sym typeface="Aleo Regular" charset="0"/>
              </a:rPr>
              <a:t>Mid-size companies</a:t>
            </a:r>
            <a:endParaRPr lang="en-US" sz="4000" dirty="0">
              <a:solidFill>
                <a:schemeClr val="tx1"/>
              </a:solidFill>
              <a:latin typeface="Lato" panose="020F0502020204030203" pitchFamily="34" charset="0"/>
            </a:endParaRPr>
          </a:p>
        </p:txBody>
      </p:sp>
      <p:sp>
        <p:nvSpPr>
          <p:cNvPr id="2" name="Title 1"/>
          <p:cNvSpPr>
            <a:spLocks noGrp="1"/>
          </p:cNvSpPr>
          <p:nvPr>
            <p:ph type="title"/>
          </p:nvPr>
        </p:nvSpPr>
        <p:spPr>
          <a:xfrm>
            <a:off x="1318792" y="874148"/>
            <a:ext cx="9652001" cy="1508105"/>
          </a:xfrm>
        </p:spPr>
        <p:txBody>
          <a:bodyPr/>
          <a:lstStyle/>
          <a:p>
            <a:r>
              <a:rPr lang="en-US" dirty="0">
                <a:ea typeface="Aleo Regular" charset="0"/>
                <a:cs typeface="Aleo Regular" charset="0"/>
                <a:sym typeface="Aleo Regular" charset="0"/>
              </a:rPr>
              <a:t>Market Milestones</a:t>
            </a:r>
            <a:endParaRPr lang="en-US" dirty="0"/>
          </a:p>
        </p:txBody>
      </p:sp>
      <p:sp>
        <p:nvSpPr>
          <p:cNvPr id="95248" name="AutoShape 16"/>
          <p:cNvSpPr>
            <a:spLocks/>
          </p:cNvSpPr>
          <p:nvPr/>
        </p:nvSpPr>
        <p:spPr bwMode="auto">
          <a:xfrm>
            <a:off x="14400213" y="7708900"/>
            <a:ext cx="3303587" cy="3470275"/>
          </a:xfrm>
          <a:custGeom>
            <a:avLst/>
            <a:gdLst>
              <a:gd name="T0" fmla="+- 0 10892 219"/>
              <a:gd name="T1" fmla="*/ T0 w 21347"/>
              <a:gd name="T2" fmla="*/ 10716 h 21433"/>
              <a:gd name="T3" fmla="+- 0 10892 219"/>
              <a:gd name="T4" fmla="*/ T3 w 21347"/>
              <a:gd name="T5" fmla="*/ 10716 h 21433"/>
              <a:gd name="T6" fmla="+- 0 10892 219"/>
              <a:gd name="T7" fmla="*/ T6 w 21347"/>
              <a:gd name="T8" fmla="*/ 10716 h 21433"/>
              <a:gd name="T9" fmla="+- 0 10892 219"/>
              <a:gd name="T10" fmla="*/ T9 w 21347"/>
              <a:gd name="T11" fmla="*/ 10716 h 21433"/>
            </a:gdLst>
            <a:ahLst/>
            <a:cxnLst>
              <a:cxn ang="0">
                <a:pos x="T1" y="T2"/>
              </a:cxn>
              <a:cxn ang="0">
                <a:pos x="T4" y="T5"/>
              </a:cxn>
              <a:cxn ang="0">
                <a:pos x="T7" y="T8"/>
              </a:cxn>
              <a:cxn ang="0">
                <a:pos x="T10" y="T11"/>
              </a:cxn>
            </a:cxnLst>
            <a:rect l="0" t="0" r="r" b="b"/>
            <a:pathLst>
              <a:path w="21347" h="21433">
                <a:moveTo>
                  <a:pt x="17181" y="16457"/>
                </a:moveTo>
                <a:cubicBezTo>
                  <a:pt x="17318" y="16457"/>
                  <a:pt x="17438" y="16343"/>
                  <a:pt x="17438" y="16228"/>
                </a:cubicBezTo>
                <a:cubicBezTo>
                  <a:pt x="17438" y="16114"/>
                  <a:pt x="17318" y="16015"/>
                  <a:pt x="17181" y="16015"/>
                </a:cubicBezTo>
                <a:cubicBezTo>
                  <a:pt x="17044" y="16015"/>
                  <a:pt x="16923" y="16114"/>
                  <a:pt x="16923" y="16228"/>
                </a:cubicBezTo>
                <a:cubicBezTo>
                  <a:pt x="16923" y="16343"/>
                  <a:pt x="17044" y="16457"/>
                  <a:pt x="17181" y="16457"/>
                </a:cubicBezTo>
                <a:cubicBezTo>
                  <a:pt x="17318" y="16457"/>
                  <a:pt x="17044" y="16457"/>
                  <a:pt x="17181" y="16457"/>
                </a:cubicBezTo>
                <a:close/>
                <a:moveTo>
                  <a:pt x="21141" y="17866"/>
                </a:moveTo>
                <a:cubicBezTo>
                  <a:pt x="21380" y="18029"/>
                  <a:pt x="21141" y="18471"/>
                  <a:pt x="21141" y="18651"/>
                </a:cubicBezTo>
                <a:cubicBezTo>
                  <a:pt x="21141" y="18717"/>
                  <a:pt x="21295" y="18864"/>
                  <a:pt x="21278" y="18799"/>
                </a:cubicBezTo>
                <a:cubicBezTo>
                  <a:pt x="21244" y="18734"/>
                  <a:pt x="21141" y="18553"/>
                  <a:pt x="21158" y="18619"/>
                </a:cubicBezTo>
                <a:cubicBezTo>
                  <a:pt x="21192" y="18717"/>
                  <a:pt x="21261" y="18783"/>
                  <a:pt x="21295" y="18864"/>
                </a:cubicBezTo>
                <a:cubicBezTo>
                  <a:pt x="21346" y="18979"/>
                  <a:pt x="21346" y="19339"/>
                  <a:pt x="21346" y="19438"/>
                </a:cubicBezTo>
                <a:cubicBezTo>
                  <a:pt x="21364" y="19716"/>
                  <a:pt x="21072" y="19929"/>
                  <a:pt x="21072" y="20126"/>
                </a:cubicBezTo>
                <a:cubicBezTo>
                  <a:pt x="21072" y="20339"/>
                  <a:pt x="21158" y="20633"/>
                  <a:pt x="20969" y="20829"/>
                </a:cubicBezTo>
                <a:cubicBezTo>
                  <a:pt x="20952" y="20862"/>
                  <a:pt x="20866" y="20829"/>
                  <a:pt x="20866" y="20862"/>
                </a:cubicBezTo>
                <a:cubicBezTo>
                  <a:pt x="20866" y="20911"/>
                  <a:pt x="20986" y="20862"/>
                  <a:pt x="20969" y="20895"/>
                </a:cubicBezTo>
                <a:cubicBezTo>
                  <a:pt x="20969" y="20961"/>
                  <a:pt x="20866" y="20961"/>
                  <a:pt x="20832" y="21010"/>
                </a:cubicBezTo>
                <a:cubicBezTo>
                  <a:pt x="20781" y="21124"/>
                  <a:pt x="20832" y="21272"/>
                  <a:pt x="20747" y="21370"/>
                </a:cubicBezTo>
                <a:cubicBezTo>
                  <a:pt x="20506" y="21600"/>
                  <a:pt x="20575" y="21124"/>
                  <a:pt x="20524" y="21108"/>
                </a:cubicBezTo>
                <a:cubicBezTo>
                  <a:pt x="20301" y="21043"/>
                  <a:pt x="20163" y="21207"/>
                  <a:pt x="20009" y="20961"/>
                </a:cubicBezTo>
                <a:cubicBezTo>
                  <a:pt x="19975" y="20911"/>
                  <a:pt x="20078" y="20846"/>
                  <a:pt x="20043" y="20781"/>
                </a:cubicBezTo>
                <a:cubicBezTo>
                  <a:pt x="19992" y="20683"/>
                  <a:pt x="19787" y="20650"/>
                  <a:pt x="19803" y="20535"/>
                </a:cubicBezTo>
                <a:cubicBezTo>
                  <a:pt x="19803" y="20404"/>
                  <a:pt x="20078" y="20339"/>
                  <a:pt x="20061" y="20207"/>
                </a:cubicBezTo>
                <a:cubicBezTo>
                  <a:pt x="20043" y="20109"/>
                  <a:pt x="19769" y="20306"/>
                  <a:pt x="19752" y="20207"/>
                </a:cubicBezTo>
                <a:cubicBezTo>
                  <a:pt x="19718" y="20076"/>
                  <a:pt x="19992" y="20011"/>
                  <a:pt x="19975" y="19896"/>
                </a:cubicBezTo>
                <a:cubicBezTo>
                  <a:pt x="19958" y="19765"/>
                  <a:pt x="19701" y="19798"/>
                  <a:pt x="19667" y="19667"/>
                </a:cubicBezTo>
                <a:cubicBezTo>
                  <a:pt x="19650" y="19569"/>
                  <a:pt x="19872" y="19536"/>
                  <a:pt x="19872" y="19421"/>
                </a:cubicBezTo>
                <a:cubicBezTo>
                  <a:pt x="19872" y="19323"/>
                  <a:pt x="19701" y="19274"/>
                  <a:pt x="19650" y="19176"/>
                </a:cubicBezTo>
                <a:cubicBezTo>
                  <a:pt x="19632" y="19110"/>
                  <a:pt x="19821" y="19159"/>
                  <a:pt x="19855" y="19110"/>
                </a:cubicBezTo>
                <a:cubicBezTo>
                  <a:pt x="19889" y="18996"/>
                  <a:pt x="19872" y="18848"/>
                  <a:pt x="19940" y="18750"/>
                </a:cubicBezTo>
                <a:cubicBezTo>
                  <a:pt x="19958" y="18717"/>
                  <a:pt x="19992" y="18831"/>
                  <a:pt x="20026" y="18816"/>
                </a:cubicBezTo>
                <a:cubicBezTo>
                  <a:pt x="20112" y="18799"/>
                  <a:pt x="20129" y="18684"/>
                  <a:pt x="20215" y="18651"/>
                </a:cubicBezTo>
                <a:cubicBezTo>
                  <a:pt x="20284" y="18619"/>
                  <a:pt x="20369" y="18684"/>
                  <a:pt x="20438" y="18651"/>
                </a:cubicBezTo>
                <a:cubicBezTo>
                  <a:pt x="20524" y="18602"/>
                  <a:pt x="20524" y="18455"/>
                  <a:pt x="20609" y="18439"/>
                </a:cubicBezTo>
                <a:cubicBezTo>
                  <a:pt x="20712" y="18423"/>
                  <a:pt x="20798" y="18553"/>
                  <a:pt x="20918" y="18553"/>
                </a:cubicBezTo>
                <a:cubicBezTo>
                  <a:pt x="21021" y="18553"/>
                  <a:pt x="20901" y="18341"/>
                  <a:pt x="20918" y="18226"/>
                </a:cubicBezTo>
                <a:cubicBezTo>
                  <a:pt x="20935" y="18095"/>
                  <a:pt x="21072" y="17997"/>
                  <a:pt x="21141" y="17866"/>
                </a:cubicBezTo>
                <a:close/>
                <a:moveTo>
                  <a:pt x="11524" y="0"/>
                </a:moveTo>
                <a:cubicBezTo>
                  <a:pt x="11558" y="229"/>
                  <a:pt x="11575" y="851"/>
                  <a:pt x="11952" y="851"/>
                </a:cubicBezTo>
                <a:cubicBezTo>
                  <a:pt x="12089" y="851"/>
                  <a:pt x="12175" y="622"/>
                  <a:pt x="12278" y="671"/>
                </a:cubicBezTo>
                <a:cubicBezTo>
                  <a:pt x="12501" y="753"/>
                  <a:pt x="12398" y="1130"/>
                  <a:pt x="12466" y="1260"/>
                </a:cubicBezTo>
                <a:cubicBezTo>
                  <a:pt x="12569" y="1490"/>
                  <a:pt x="12946" y="1228"/>
                  <a:pt x="12998" y="1490"/>
                </a:cubicBezTo>
                <a:cubicBezTo>
                  <a:pt x="13015" y="1555"/>
                  <a:pt x="12963" y="1637"/>
                  <a:pt x="12980" y="1703"/>
                </a:cubicBezTo>
                <a:cubicBezTo>
                  <a:pt x="13015" y="1834"/>
                  <a:pt x="13718" y="1670"/>
                  <a:pt x="13752" y="1948"/>
                </a:cubicBezTo>
                <a:cubicBezTo>
                  <a:pt x="13752" y="2047"/>
                  <a:pt x="13615" y="2128"/>
                  <a:pt x="13615" y="2227"/>
                </a:cubicBezTo>
                <a:cubicBezTo>
                  <a:pt x="13598" y="2292"/>
                  <a:pt x="13735" y="2292"/>
                  <a:pt x="13735" y="2341"/>
                </a:cubicBezTo>
                <a:cubicBezTo>
                  <a:pt x="13735" y="2423"/>
                  <a:pt x="13649" y="2472"/>
                  <a:pt x="13598" y="2554"/>
                </a:cubicBezTo>
                <a:cubicBezTo>
                  <a:pt x="13546" y="2652"/>
                  <a:pt x="14112" y="2784"/>
                  <a:pt x="14352" y="2571"/>
                </a:cubicBezTo>
                <a:cubicBezTo>
                  <a:pt x="14472" y="2472"/>
                  <a:pt x="14575" y="2178"/>
                  <a:pt x="14695" y="2276"/>
                </a:cubicBezTo>
                <a:cubicBezTo>
                  <a:pt x="14729" y="2309"/>
                  <a:pt x="14644" y="2358"/>
                  <a:pt x="14626" y="2407"/>
                </a:cubicBezTo>
                <a:cubicBezTo>
                  <a:pt x="14609" y="2472"/>
                  <a:pt x="14541" y="2538"/>
                  <a:pt x="14541" y="2620"/>
                </a:cubicBezTo>
                <a:cubicBezTo>
                  <a:pt x="14541" y="2685"/>
                  <a:pt x="14644" y="2702"/>
                  <a:pt x="14661" y="2767"/>
                </a:cubicBezTo>
                <a:cubicBezTo>
                  <a:pt x="14661" y="2849"/>
                  <a:pt x="14524" y="2947"/>
                  <a:pt x="14592" y="3012"/>
                </a:cubicBezTo>
                <a:cubicBezTo>
                  <a:pt x="14661" y="3111"/>
                  <a:pt x="14832" y="3062"/>
                  <a:pt x="14952" y="3111"/>
                </a:cubicBezTo>
                <a:cubicBezTo>
                  <a:pt x="15020" y="3160"/>
                  <a:pt x="15038" y="3258"/>
                  <a:pt x="15106" y="3308"/>
                </a:cubicBezTo>
                <a:cubicBezTo>
                  <a:pt x="15124" y="3324"/>
                  <a:pt x="15175" y="3258"/>
                  <a:pt x="15209" y="3275"/>
                </a:cubicBezTo>
                <a:cubicBezTo>
                  <a:pt x="15244" y="3291"/>
                  <a:pt x="15261" y="3324"/>
                  <a:pt x="15278" y="3357"/>
                </a:cubicBezTo>
                <a:cubicBezTo>
                  <a:pt x="15278" y="3373"/>
                  <a:pt x="15192" y="3406"/>
                  <a:pt x="15209" y="3422"/>
                </a:cubicBezTo>
                <a:cubicBezTo>
                  <a:pt x="15261" y="3455"/>
                  <a:pt x="15346" y="3422"/>
                  <a:pt x="15381" y="3471"/>
                </a:cubicBezTo>
                <a:cubicBezTo>
                  <a:pt x="15432" y="3537"/>
                  <a:pt x="15363" y="3684"/>
                  <a:pt x="15449" y="3717"/>
                </a:cubicBezTo>
                <a:cubicBezTo>
                  <a:pt x="15552" y="3766"/>
                  <a:pt x="15672" y="3651"/>
                  <a:pt x="15792" y="3668"/>
                </a:cubicBezTo>
                <a:cubicBezTo>
                  <a:pt x="15844" y="3668"/>
                  <a:pt x="15895" y="3684"/>
                  <a:pt x="15946" y="3701"/>
                </a:cubicBezTo>
                <a:cubicBezTo>
                  <a:pt x="16032" y="3733"/>
                  <a:pt x="16101" y="3766"/>
                  <a:pt x="16169" y="3799"/>
                </a:cubicBezTo>
                <a:cubicBezTo>
                  <a:pt x="16186" y="3815"/>
                  <a:pt x="16169" y="3881"/>
                  <a:pt x="16186" y="3864"/>
                </a:cubicBezTo>
                <a:cubicBezTo>
                  <a:pt x="16289" y="3864"/>
                  <a:pt x="16375" y="3782"/>
                  <a:pt x="16461" y="3782"/>
                </a:cubicBezTo>
                <a:cubicBezTo>
                  <a:pt x="16564" y="3782"/>
                  <a:pt x="16666" y="3832"/>
                  <a:pt x="16752" y="3864"/>
                </a:cubicBezTo>
                <a:cubicBezTo>
                  <a:pt x="16786" y="3914"/>
                  <a:pt x="16889" y="3864"/>
                  <a:pt x="16941" y="3914"/>
                </a:cubicBezTo>
                <a:cubicBezTo>
                  <a:pt x="17078" y="3995"/>
                  <a:pt x="17163" y="4372"/>
                  <a:pt x="17335" y="4536"/>
                </a:cubicBezTo>
                <a:cubicBezTo>
                  <a:pt x="17541" y="4749"/>
                  <a:pt x="17198" y="4077"/>
                  <a:pt x="17712" y="4519"/>
                </a:cubicBezTo>
                <a:cubicBezTo>
                  <a:pt x="17747" y="4552"/>
                  <a:pt x="17678" y="4618"/>
                  <a:pt x="17695" y="4666"/>
                </a:cubicBezTo>
                <a:cubicBezTo>
                  <a:pt x="17729" y="4716"/>
                  <a:pt x="18278" y="4503"/>
                  <a:pt x="18363" y="4568"/>
                </a:cubicBezTo>
                <a:cubicBezTo>
                  <a:pt x="18415" y="4618"/>
                  <a:pt x="18381" y="4716"/>
                  <a:pt x="18432" y="4765"/>
                </a:cubicBezTo>
                <a:cubicBezTo>
                  <a:pt x="18501" y="4814"/>
                  <a:pt x="19529" y="4929"/>
                  <a:pt x="19461" y="5043"/>
                </a:cubicBezTo>
                <a:cubicBezTo>
                  <a:pt x="19272" y="5354"/>
                  <a:pt x="18929" y="5551"/>
                  <a:pt x="18792" y="5813"/>
                </a:cubicBezTo>
                <a:cubicBezTo>
                  <a:pt x="18741" y="5928"/>
                  <a:pt x="18723" y="6288"/>
                  <a:pt x="18707" y="6386"/>
                </a:cubicBezTo>
                <a:lnTo>
                  <a:pt x="18466" y="6763"/>
                </a:lnTo>
                <a:cubicBezTo>
                  <a:pt x="18432" y="6845"/>
                  <a:pt x="18398" y="6927"/>
                  <a:pt x="18415" y="7008"/>
                </a:cubicBezTo>
                <a:cubicBezTo>
                  <a:pt x="18415" y="7058"/>
                  <a:pt x="18483" y="7058"/>
                  <a:pt x="18483" y="7090"/>
                </a:cubicBezTo>
                <a:cubicBezTo>
                  <a:pt x="18466" y="7320"/>
                  <a:pt x="18295" y="7532"/>
                  <a:pt x="18312" y="7762"/>
                </a:cubicBezTo>
                <a:cubicBezTo>
                  <a:pt x="18312" y="7975"/>
                  <a:pt x="18312" y="8040"/>
                  <a:pt x="18329" y="8040"/>
                </a:cubicBezTo>
                <a:cubicBezTo>
                  <a:pt x="17747" y="8613"/>
                  <a:pt x="17952" y="7991"/>
                  <a:pt x="17472" y="8122"/>
                </a:cubicBezTo>
                <a:cubicBezTo>
                  <a:pt x="17438" y="8139"/>
                  <a:pt x="17507" y="8204"/>
                  <a:pt x="17507" y="8236"/>
                </a:cubicBezTo>
                <a:cubicBezTo>
                  <a:pt x="17507" y="8253"/>
                  <a:pt x="17472" y="8236"/>
                  <a:pt x="17472" y="8236"/>
                </a:cubicBezTo>
                <a:cubicBezTo>
                  <a:pt x="17421" y="8302"/>
                  <a:pt x="17283" y="8368"/>
                  <a:pt x="17318" y="8450"/>
                </a:cubicBezTo>
                <a:cubicBezTo>
                  <a:pt x="17335" y="8532"/>
                  <a:pt x="17592" y="8368"/>
                  <a:pt x="17592" y="8450"/>
                </a:cubicBezTo>
                <a:cubicBezTo>
                  <a:pt x="17575" y="8679"/>
                  <a:pt x="17489" y="8499"/>
                  <a:pt x="17404" y="8564"/>
                </a:cubicBezTo>
                <a:cubicBezTo>
                  <a:pt x="17249" y="8679"/>
                  <a:pt x="17112" y="9006"/>
                  <a:pt x="16992" y="9105"/>
                </a:cubicBezTo>
                <a:cubicBezTo>
                  <a:pt x="16889" y="9219"/>
                  <a:pt x="16649" y="9170"/>
                  <a:pt x="16581" y="9301"/>
                </a:cubicBezTo>
                <a:cubicBezTo>
                  <a:pt x="16529" y="9416"/>
                  <a:pt x="16632" y="9563"/>
                  <a:pt x="16581" y="9661"/>
                </a:cubicBezTo>
                <a:cubicBezTo>
                  <a:pt x="16512" y="9841"/>
                  <a:pt x="16204" y="9841"/>
                  <a:pt x="16083" y="10005"/>
                </a:cubicBezTo>
                <a:cubicBezTo>
                  <a:pt x="15878" y="10251"/>
                  <a:pt x="16101" y="10481"/>
                  <a:pt x="16015" y="10742"/>
                </a:cubicBezTo>
                <a:cubicBezTo>
                  <a:pt x="15998" y="10791"/>
                  <a:pt x="15826" y="10709"/>
                  <a:pt x="15826" y="10922"/>
                </a:cubicBezTo>
                <a:cubicBezTo>
                  <a:pt x="15826" y="10955"/>
                  <a:pt x="15741" y="10988"/>
                  <a:pt x="15758" y="10988"/>
                </a:cubicBezTo>
                <a:cubicBezTo>
                  <a:pt x="15964" y="11037"/>
                  <a:pt x="16204" y="10955"/>
                  <a:pt x="16307" y="10759"/>
                </a:cubicBezTo>
                <a:cubicBezTo>
                  <a:pt x="16323" y="10726"/>
                  <a:pt x="16238" y="10693"/>
                  <a:pt x="16221" y="10661"/>
                </a:cubicBezTo>
                <a:cubicBezTo>
                  <a:pt x="16221" y="10611"/>
                  <a:pt x="16204" y="10579"/>
                  <a:pt x="16238" y="10546"/>
                </a:cubicBezTo>
                <a:cubicBezTo>
                  <a:pt x="16392" y="10317"/>
                  <a:pt x="16872" y="10317"/>
                  <a:pt x="17095" y="10415"/>
                </a:cubicBezTo>
                <a:cubicBezTo>
                  <a:pt x="17163" y="10431"/>
                  <a:pt x="17027" y="10529"/>
                  <a:pt x="17044" y="10579"/>
                </a:cubicBezTo>
                <a:cubicBezTo>
                  <a:pt x="17044" y="10661"/>
                  <a:pt x="17146" y="10693"/>
                  <a:pt x="17163" y="10775"/>
                </a:cubicBezTo>
                <a:cubicBezTo>
                  <a:pt x="17181" y="10873"/>
                  <a:pt x="16941" y="10857"/>
                  <a:pt x="17044" y="11021"/>
                </a:cubicBezTo>
                <a:cubicBezTo>
                  <a:pt x="17078" y="11054"/>
                  <a:pt x="17181" y="11004"/>
                  <a:pt x="17198" y="11054"/>
                </a:cubicBezTo>
                <a:cubicBezTo>
                  <a:pt x="17232" y="11102"/>
                  <a:pt x="17146" y="11184"/>
                  <a:pt x="17163" y="11233"/>
                </a:cubicBezTo>
                <a:cubicBezTo>
                  <a:pt x="17181" y="11266"/>
                  <a:pt x="17249" y="11168"/>
                  <a:pt x="17266" y="11201"/>
                </a:cubicBezTo>
                <a:cubicBezTo>
                  <a:pt x="17352" y="11282"/>
                  <a:pt x="17352" y="11397"/>
                  <a:pt x="17421" y="11495"/>
                </a:cubicBezTo>
                <a:cubicBezTo>
                  <a:pt x="16632" y="11938"/>
                  <a:pt x="17078" y="11741"/>
                  <a:pt x="17318" y="12134"/>
                </a:cubicBezTo>
                <a:cubicBezTo>
                  <a:pt x="17352" y="12200"/>
                  <a:pt x="17283" y="12314"/>
                  <a:pt x="17335" y="12380"/>
                </a:cubicBezTo>
                <a:cubicBezTo>
                  <a:pt x="17387" y="12494"/>
                  <a:pt x="17558" y="12511"/>
                  <a:pt x="17609" y="12609"/>
                </a:cubicBezTo>
                <a:cubicBezTo>
                  <a:pt x="17695" y="12756"/>
                  <a:pt x="17146" y="13182"/>
                  <a:pt x="17061" y="13198"/>
                </a:cubicBezTo>
                <a:cubicBezTo>
                  <a:pt x="17009" y="13215"/>
                  <a:pt x="16975" y="13117"/>
                  <a:pt x="16923" y="13117"/>
                </a:cubicBezTo>
                <a:cubicBezTo>
                  <a:pt x="16838" y="13133"/>
                  <a:pt x="16683" y="13133"/>
                  <a:pt x="16683" y="13215"/>
                </a:cubicBezTo>
                <a:cubicBezTo>
                  <a:pt x="16649" y="13477"/>
                  <a:pt x="17215" y="13690"/>
                  <a:pt x="17301" y="13821"/>
                </a:cubicBezTo>
                <a:cubicBezTo>
                  <a:pt x="17352" y="13919"/>
                  <a:pt x="17369" y="14050"/>
                  <a:pt x="17369" y="14181"/>
                </a:cubicBezTo>
                <a:cubicBezTo>
                  <a:pt x="17352" y="14231"/>
                  <a:pt x="17198" y="14148"/>
                  <a:pt x="17181" y="14197"/>
                </a:cubicBezTo>
                <a:cubicBezTo>
                  <a:pt x="17163" y="14231"/>
                  <a:pt x="17215" y="14263"/>
                  <a:pt x="17198" y="14279"/>
                </a:cubicBezTo>
                <a:cubicBezTo>
                  <a:pt x="17146" y="14361"/>
                  <a:pt x="17061" y="14410"/>
                  <a:pt x="16992" y="14476"/>
                </a:cubicBezTo>
                <a:cubicBezTo>
                  <a:pt x="16941" y="14574"/>
                  <a:pt x="17112" y="14623"/>
                  <a:pt x="17129" y="14672"/>
                </a:cubicBezTo>
                <a:cubicBezTo>
                  <a:pt x="17129" y="14705"/>
                  <a:pt x="17044" y="14705"/>
                  <a:pt x="17044" y="14738"/>
                </a:cubicBezTo>
                <a:cubicBezTo>
                  <a:pt x="17027" y="14967"/>
                  <a:pt x="17472" y="15279"/>
                  <a:pt x="17661" y="15327"/>
                </a:cubicBezTo>
                <a:cubicBezTo>
                  <a:pt x="17763" y="15360"/>
                  <a:pt x="17884" y="15311"/>
                  <a:pt x="17986" y="15311"/>
                </a:cubicBezTo>
                <a:cubicBezTo>
                  <a:pt x="18089" y="15295"/>
                  <a:pt x="18210" y="15229"/>
                  <a:pt x="18295" y="15279"/>
                </a:cubicBezTo>
                <a:cubicBezTo>
                  <a:pt x="18552" y="15458"/>
                  <a:pt x="17969" y="15835"/>
                  <a:pt x="18055" y="16130"/>
                </a:cubicBezTo>
                <a:cubicBezTo>
                  <a:pt x="18038" y="16130"/>
                  <a:pt x="17747" y="16228"/>
                  <a:pt x="17712" y="16261"/>
                </a:cubicBezTo>
                <a:cubicBezTo>
                  <a:pt x="17695" y="16277"/>
                  <a:pt x="17747" y="16343"/>
                  <a:pt x="17712" y="16343"/>
                </a:cubicBezTo>
                <a:cubicBezTo>
                  <a:pt x="17695" y="16326"/>
                  <a:pt x="17712" y="16261"/>
                  <a:pt x="17695" y="16261"/>
                </a:cubicBezTo>
                <a:cubicBezTo>
                  <a:pt x="17592" y="16277"/>
                  <a:pt x="17472" y="16294"/>
                  <a:pt x="17404" y="16359"/>
                </a:cubicBezTo>
                <a:cubicBezTo>
                  <a:pt x="17352" y="16409"/>
                  <a:pt x="17438" y="16523"/>
                  <a:pt x="17369" y="16572"/>
                </a:cubicBezTo>
                <a:cubicBezTo>
                  <a:pt x="17301" y="16621"/>
                  <a:pt x="17181" y="16556"/>
                  <a:pt x="17095" y="16605"/>
                </a:cubicBezTo>
                <a:cubicBezTo>
                  <a:pt x="17027" y="16654"/>
                  <a:pt x="17044" y="16785"/>
                  <a:pt x="16958" y="16850"/>
                </a:cubicBezTo>
                <a:cubicBezTo>
                  <a:pt x="16889" y="16883"/>
                  <a:pt x="16803" y="16801"/>
                  <a:pt x="16735" y="16834"/>
                </a:cubicBezTo>
                <a:cubicBezTo>
                  <a:pt x="16683" y="16850"/>
                  <a:pt x="16718" y="16932"/>
                  <a:pt x="16666" y="16981"/>
                </a:cubicBezTo>
                <a:cubicBezTo>
                  <a:pt x="16615" y="17047"/>
                  <a:pt x="16478" y="17063"/>
                  <a:pt x="16443" y="17145"/>
                </a:cubicBezTo>
                <a:cubicBezTo>
                  <a:pt x="16426" y="17210"/>
                  <a:pt x="16581" y="17309"/>
                  <a:pt x="16512" y="17358"/>
                </a:cubicBezTo>
                <a:cubicBezTo>
                  <a:pt x="16426" y="17440"/>
                  <a:pt x="16255" y="17358"/>
                  <a:pt x="16135" y="17374"/>
                </a:cubicBezTo>
                <a:cubicBezTo>
                  <a:pt x="15981" y="17407"/>
                  <a:pt x="15878" y="17554"/>
                  <a:pt x="15741" y="17604"/>
                </a:cubicBezTo>
                <a:cubicBezTo>
                  <a:pt x="15586" y="17653"/>
                  <a:pt x="15706" y="17424"/>
                  <a:pt x="15363" y="17407"/>
                </a:cubicBezTo>
                <a:cubicBezTo>
                  <a:pt x="15141" y="17391"/>
                  <a:pt x="15381" y="17489"/>
                  <a:pt x="15346" y="17522"/>
                </a:cubicBezTo>
                <a:cubicBezTo>
                  <a:pt x="15312" y="17554"/>
                  <a:pt x="15244" y="17554"/>
                  <a:pt x="15192" y="17538"/>
                </a:cubicBezTo>
                <a:cubicBezTo>
                  <a:pt x="15141" y="17538"/>
                  <a:pt x="15089" y="17538"/>
                  <a:pt x="15072" y="17505"/>
                </a:cubicBezTo>
                <a:cubicBezTo>
                  <a:pt x="15072" y="17472"/>
                  <a:pt x="15192" y="17391"/>
                  <a:pt x="14952" y="17276"/>
                </a:cubicBezTo>
                <a:cubicBezTo>
                  <a:pt x="14901" y="17260"/>
                  <a:pt x="14849" y="17276"/>
                  <a:pt x="14780" y="17276"/>
                </a:cubicBezTo>
                <a:cubicBezTo>
                  <a:pt x="14661" y="17244"/>
                  <a:pt x="14524" y="17260"/>
                  <a:pt x="14438" y="17178"/>
                </a:cubicBezTo>
                <a:cubicBezTo>
                  <a:pt x="14352" y="17096"/>
                  <a:pt x="14438" y="16932"/>
                  <a:pt x="14369" y="16850"/>
                </a:cubicBezTo>
                <a:cubicBezTo>
                  <a:pt x="14335" y="16801"/>
                  <a:pt x="14267" y="16916"/>
                  <a:pt x="14198" y="16916"/>
                </a:cubicBezTo>
                <a:cubicBezTo>
                  <a:pt x="14095" y="16916"/>
                  <a:pt x="13889" y="16948"/>
                  <a:pt x="13907" y="16850"/>
                </a:cubicBezTo>
                <a:cubicBezTo>
                  <a:pt x="13924" y="16719"/>
                  <a:pt x="14232" y="16768"/>
                  <a:pt x="14249" y="16638"/>
                </a:cubicBezTo>
                <a:cubicBezTo>
                  <a:pt x="14249" y="16506"/>
                  <a:pt x="14061" y="16409"/>
                  <a:pt x="13941" y="16424"/>
                </a:cubicBezTo>
                <a:cubicBezTo>
                  <a:pt x="13838" y="16441"/>
                  <a:pt x="14026" y="16621"/>
                  <a:pt x="13975" y="16686"/>
                </a:cubicBezTo>
                <a:cubicBezTo>
                  <a:pt x="13889" y="16768"/>
                  <a:pt x="13752" y="16818"/>
                  <a:pt x="13632" y="16801"/>
                </a:cubicBezTo>
                <a:cubicBezTo>
                  <a:pt x="13358" y="16785"/>
                  <a:pt x="13444" y="16326"/>
                  <a:pt x="13392" y="16392"/>
                </a:cubicBezTo>
                <a:cubicBezTo>
                  <a:pt x="13152" y="16654"/>
                  <a:pt x="13683" y="16768"/>
                  <a:pt x="13529" y="16834"/>
                </a:cubicBezTo>
                <a:cubicBezTo>
                  <a:pt x="12980" y="17047"/>
                  <a:pt x="13221" y="16703"/>
                  <a:pt x="13203" y="16638"/>
                </a:cubicBezTo>
                <a:cubicBezTo>
                  <a:pt x="13186" y="16572"/>
                  <a:pt x="12586" y="16506"/>
                  <a:pt x="12535" y="16474"/>
                </a:cubicBezTo>
                <a:cubicBezTo>
                  <a:pt x="12398" y="16409"/>
                  <a:pt x="12226" y="16195"/>
                  <a:pt x="12055" y="16294"/>
                </a:cubicBezTo>
                <a:cubicBezTo>
                  <a:pt x="11867" y="16392"/>
                  <a:pt x="11592" y="16719"/>
                  <a:pt x="11403" y="16818"/>
                </a:cubicBezTo>
                <a:cubicBezTo>
                  <a:pt x="11232" y="16899"/>
                  <a:pt x="10889" y="16834"/>
                  <a:pt x="10684" y="17112"/>
                </a:cubicBezTo>
                <a:cubicBezTo>
                  <a:pt x="10649" y="17145"/>
                  <a:pt x="10735" y="17210"/>
                  <a:pt x="10735" y="17260"/>
                </a:cubicBezTo>
                <a:cubicBezTo>
                  <a:pt x="10701" y="17424"/>
                  <a:pt x="10478" y="17522"/>
                  <a:pt x="10461" y="17702"/>
                </a:cubicBezTo>
                <a:cubicBezTo>
                  <a:pt x="10461" y="17751"/>
                  <a:pt x="10580" y="17735"/>
                  <a:pt x="10598" y="17784"/>
                </a:cubicBezTo>
                <a:cubicBezTo>
                  <a:pt x="10684" y="18078"/>
                  <a:pt x="10461" y="17997"/>
                  <a:pt x="10580" y="18325"/>
                </a:cubicBezTo>
                <a:cubicBezTo>
                  <a:pt x="10615" y="18423"/>
                  <a:pt x="10718" y="18504"/>
                  <a:pt x="10821" y="18586"/>
                </a:cubicBezTo>
                <a:lnTo>
                  <a:pt x="10752" y="18586"/>
                </a:lnTo>
                <a:cubicBezTo>
                  <a:pt x="10478" y="18521"/>
                  <a:pt x="10169" y="18373"/>
                  <a:pt x="9912" y="18537"/>
                </a:cubicBezTo>
                <a:cubicBezTo>
                  <a:pt x="9861" y="18570"/>
                  <a:pt x="9929" y="18701"/>
                  <a:pt x="9861" y="18717"/>
                </a:cubicBezTo>
                <a:cubicBezTo>
                  <a:pt x="9689" y="18766"/>
                  <a:pt x="9398" y="18439"/>
                  <a:pt x="9226" y="18439"/>
                </a:cubicBezTo>
                <a:cubicBezTo>
                  <a:pt x="9072" y="18439"/>
                  <a:pt x="8952" y="18521"/>
                  <a:pt x="8815" y="18537"/>
                </a:cubicBezTo>
                <a:cubicBezTo>
                  <a:pt x="8712" y="18553"/>
                  <a:pt x="8695" y="18373"/>
                  <a:pt x="8661" y="18341"/>
                </a:cubicBezTo>
                <a:cubicBezTo>
                  <a:pt x="8575" y="18275"/>
                  <a:pt x="8438" y="18242"/>
                  <a:pt x="8318" y="18193"/>
                </a:cubicBezTo>
                <a:cubicBezTo>
                  <a:pt x="8489" y="17980"/>
                  <a:pt x="8455" y="17767"/>
                  <a:pt x="8009" y="17800"/>
                </a:cubicBezTo>
                <a:cubicBezTo>
                  <a:pt x="7992" y="17800"/>
                  <a:pt x="7941" y="17866"/>
                  <a:pt x="7906" y="17948"/>
                </a:cubicBezTo>
                <a:lnTo>
                  <a:pt x="7906" y="17931"/>
                </a:lnTo>
                <a:cubicBezTo>
                  <a:pt x="7821" y="17882"/>
                  <a:pt x="7872" y="17735"/>
                  <a:pt x="7787" y="17669"/>
                </a:cubicBezTo>
                <a:cubicBezTo>
                  <a:pt x="7735" y="17620"/>
                  <a:pt x="7632" y="17620"/>
                  <a:pt x="7546" y="17604"/>
                </a:cubicBezTo>
                <a:cubicBezTo>
                  <a:pt x="7512" y="17604"/>
                  <a:pt x="7461" y="17620"/>
                  <a:pt x="7443" y="17604"/>
                </a:cubicBezTo>
                <a:cubicBezTo>
                  <a:pt x="7255" y="17440"/>
                  <a:pt x="7083" y="17244"/>
                  <a:pt x="6792" y="17194"/>
                </a:cubicBezTo>
                <a:cubicBezTo>
                  <a:pt x="6586" y="17162"/>
                  <a:pt x="6672" y="17538"/>
                  <a:pt x="6672" y="17538"/>
                </a:cubicBezTo>
                <a:cubicBezTo>
                  <a:pt x="6483" y="17522"/>
                  <a:pt x="6329" y="17391"/>
                  <a:pt x="6158" y="17407"/>
                </a:cubicBezTo>
                <a:cubicBezTo>
                  <a:pt x="6106" y="17407"/>
                  <a:pt x="6106" y="17505"/>
                  <a:pt x="6055" y="17505"/>
                </a:cubicBezTo>
                <a:cubicBezTo>
                  <a:pt x="5952" y="17489"/>
                  <a:pt x="5900" y="17374"/>
                  <a:pt x="5798" y="17358"/>
                </a:cubicBezTo>
                <a:cubicBezTo>
                  <a:pt x="5695" y="17342"/>
                  <a:pt x="5626" y="17440"/>
                  <a:pt x="5523" y="17424"/>
                </a:cubicBezTo>
                <a:cubicBezTo>
                  <a:pt x="5300" y="17424"/>
                  <a:pt x="5386" y="17210"/>
                  <a:pt x="5266" y="17112"/>
                </a:cubicBezTo>
                <a:cubicBezTo>
                  <a:pt x="5026" y="16916"/>
                  <a:pt x="4803" y="17210"/>
                  <a:pt x="4580" y="17047"/>
                </a:cubicBezTo>
                <a:cubicBezTo>
                  <a:pt x="4563" y="17047"/>
                  <a:pt x="4392" y="16670"/>
                  <a:pt x="4375" y="16654"/>
                </a:cubicBezTo>
                <a:cubicBezTo>
                  <a:pt x="4152" y="16490"/>
                  <a:pt x="3775" y="16572"/>
                  <a:pt x="3535" y="16359"/>
                </a:cubicBezTo>
                <a:cubicBezTo>
                  <a:pt x="3500" y="16326"/>
                  <a:pt x="3552" y="16245"/>
                  <a:pt x="3535" y="16212"/>
                </a:cubicBezTo>
                <a:cubicBezTo>
                  <a:pt x="3500" y="16179"/>
                  <a:pt x="3398" y="16359"/>
                  <a:pt x="3295" y="16326"/>
                </a:cubicBezTo>
                <a:cubicBezTo>
                  <a:pt x="3072" y="16228"/>
                  <a:pt x="3569" y="16032"/>
                  <a:pt x="3415" y="15868"/>
                </a:cubicBezTo>
                <a:cubicBezTo>
                  <a:pt x="3364" y="15802"/>
                  <a:pt x="3261" y="15769"/>
                  <a:pt x="3175" y="15753"/>
                </a:cubicBezTo>
                <a:cubicBezTo>
                  <a:pt x="3158" y="15753"/>
                  <a:pt x="3175" y="15835"/>
                  <a:pt x="3141" y="15819"/>
                </a:cubicBezTo>
                <a:cubicBezTo>
                  <a:pt x="3141" y="15819"/>
                  <a:pt x="2952" y="15655"/>
                  <a:pt x="2849" y="15557"/>
                </a:cubicBezTo>
                <a:cubicBezTo>
                  <a:pt x="2952" y="15540"/>
                  <a:pt x="3021" y="15524"/>
                  <a:pt x="3089" y="15491"/>
                </a:cubicBezTo>
                <a:cubicBezTo>
                  <a:pt x="3586" y="15262"/>
                  <a:pt x="3792" y="13690"/>
                  <a:pt x="3981" y="13198"/>
                </a:cubicBezTo>
                <a:cubicBezTo>
                  <a:pt x="4015" y="13117"/>
                  <a:pt x="4049" y="13002"/>
                  <a:pt x="4135" y="12969"/>
                </a:cubicBezTo>
                <a:cubicBezTo>
                  <a:pt x="4203" y="12936"/>
                  <a:pt x="4358" y="13084"/>
                  <a:pt x="4392" y="13002"/>
                </a:cubicBezTo>
                <a:cubicBezTo>
                  <a:pt x="4443" y="12920"/>
                  <a:pt x="4323" y="12789"/>
                  <a:pt x="4220" y="12773"/>
                </a:cubicBezTo>
                <a:cubicBezTo>
                  <a:pt x="4135" y="12756"/>
                  <a:pt x="4118" y="12986"/>
                  <a:pt x="4032" y="12953"/>
                </a:cubicBezTo>
                <a:cubicBezTo>
                  <a:pt x="3860" y="12903"/>
                  <a:pt x="4118" y="12642"/>
                  <a:pt x="4152" y="12478"/>
                </a:cubicBezTo>
                <a:cubicBezTo>
                  <a:pt x="4220" y="12216"/>
                  <a:pt x="4409" y="11250"/>
                  <a:pt x="4598" y="11119"/>
                </a:cubicBezTo>
                <a:cubicBezTo>
                  <a:pt x="4666" y="11086"/>
                  <a:pt x="4906" y="11446"/>
                  <a:pt x="4975" y="11610"/>
                </a:cubicBezTo>
                <a:cubicBezTo>
                  <a:pt x="5215" y="12101"/>
                  <a:pt x="4889" y="11643"/>
                  <a:pt x="5061" y="12167"/>
                </a:cubicBezTo>
                <a:cubicBezTo>
                  <a:pt x="5095" y="12265"/>
                  <a:pt x="5198" y="12347"/>
                  <a:pt x="5232" y="12446"/>
                </a:cubicBezTo>
                <a:cubicBezTo>
                  <a:pt x="5249" y="12494"/>
                  <a:pt x="5181" y="12642"/>
                  <a:pt x="5232" y="12626"/>
                </a:cubicBezTo>
                <a:cubicBezTo>
                  <a:pt x="5318" y="12609"/>
                  <a:pt x="5369" y="12494"/>
                  <a:pt x="5352" y="12429"/>
                </a:cubicBezTo>
                <a:cubicBezTo>
                  <a:pt x="5318" y="12331"/>
                  <a:pt x="5198" y="12298"/>
                  <a:pt x="5129" y="12216"/>
                </a:cubicBezTo>
                <a:cubicBezTo>
                  <a:pt x="4992" y="12003"/>
                  <a:pt x="5181" y="11610"/>
                  <a:pt x="5043" y="11364"/>
                </a:cubicBezTo>
                <a:cubicBezTo>
                  <a:pt x="4975" y="11233"/>
                  <a:pt x="4855" y="11119"/>
                  <a:pt x="4752" y="11004"/>
                </a:cubicBezTo>
                <a:cubicBezTo>
                  <a:pt x="4684" y="10922"/>
                  <a:pt x="4598" y="10840"/>
                  <a:pt x="4495" y="10775"/>
                </a:cubicBezTo>
                <a:cubicBezTo>
                  <a:pt x="4598" y="10808"/>
                  <a:pt x="4718" y="10840"/>
                  <a:pt x="4821" y="10791"/>
                </a:cubicBezTo>
                <a:cubicBezTo>
                  <a:pt x="4940" y="10726"/>
                  <a:pt x="4563" y="10562"/>
                  <a:pt x="4598" y="10431"/>
                </a:cubicBezTo>
                <a:cubicBezTo>
                  <a:pt x="4632" y="10300"/>
                  <a:pt x="4786" y="10234"/>
                  <a:pt x="4803" y="10104"/>
                </a:cubicBezTo>
                <a:cubicBezTo>
                  <a:pt x="4821" y="10005"/>
                  <a:pt x="4700" y="9923"/>
                  <a:pt x="4700" y="9825"/>
                </a:cubicBezTo>
                <a:cubicBezTo>
                  <a:pt x="4700" y="9711"/>
                  <a:pt x="4803" y="9596"/>
                  <a:pt x="4803" y="9481"/>
                </a:cubicBezTo>
                <a:cubicBezTo>
                  <a:pt x="4803" y="9449"/>
                  <a:pt x="4718" y="9449"/>
                  <a:pt x="4666" y="9465"/>
                </a:cubicBezTo>
                <a:cubicBezTo>
                  <a:pt x="4632" y="9481"/>
                  <a:pt x="4666" y="9580"/>
                  <a:pt x="4632" y="9563"/>
                </a:cubicBezTo>
                <a:cubicBezTo>
                  <a:pt x="4546" y="9530"/>
                  <a:pt x="4529" y="9400"/>
                  <a:pt x="4461" y="9351"/>
                </a:cubicBezTo>
                <a:cubicBezTo>
                  <a:pt x="4409" y="9334"/>
                  <a:pt x="4341" y="9400"/>
                  <a:pt x="4289" y="9367"/>
                </a:cubicBezTo>
                <a:cubicBezTo>
                  <a:pt x="4238" y="9334"/>
                  <a:pt x="4289" y="9219"/>
                  <a:pt x="4238" y="9186"/>
                </a:cubicBezTo>
                <a:cubicBezTo>
                  <a:pt x="3929" y="8908"/>
                  <a:pt x="4101" y="9514"/>
                  <a:pt x="3809" y="8974"/>
                </a:cubicBezTo>
                <a:cubicBezTo>
                  <a:pt x="3792" y="8924"/>
                  <a:pt x="3775" y="8564"/>
                  <a:pt x="3706" y="8482"/>
                </a:cubicBezTo>
                <a:cubicBezTo>
                  <a:pt x="3689" y="8466"/>
                  <a:pt x="3638" y="8482"/>
                  <a:pt x="3621" y="8466"/>
                </a:cubicBezTo>
                <a:cubicBezTo>
                  <a:pt x="3552" y="8368"/>
                  <a:pt x="3466" y="8253"/>
                  <a:pt x="3415" y="8139"/>
                </a:cubicBezTo>
                <a:cubicBezTo>
                  <a:pt x="3347" y="7975"/>
                  <a:pt x="3689" y="7811"/>
                  <a:pt x="3723" y="7745"/>
                </a:cubicBezTo>
                <a:cubicBezTo>
                  <a:pt x="3792" y="7598"/>
                  <a:pt x="3381" y="7500"/>
                  <a:pt x="3381" y="7483"/>
                </a:cubicBezTo>
                <a:cubicBezTo>
                  <a:pt x="3347" y="7369"/>
                  <a:pt x="3347" y="7303"/>
                  <a:pt x="3364" y="7254"/>
                </a:cubicBezTo>
                <a:lnTo>
                  <a:pt x="3347" y="7254"/>
                </a:lnTo>
                <a:cubicBezTo>
                  <a:pt x="2643" y="7189"/>
                  <a:pt x="3295" y="7025"/>
                  <a:pt x="3312" y="6665"/>
                </a:cubicBezTo>
                <a:cubicBezTo>
                  <a:pt x="3329" y="6452"/>
                  <a:pt x="2609" y="6632"/>
                  <a:pt x="2592" y="6550"/>
                </a:cubicBezTo>
                <a:cubicBezTo>
                  <a:pt x="2558" y="6419"/>
                  <a:pt x="2763" y="6370"/>
                  <a:pt x="2866" y="6305"/>
                </a:cubicBezTo>
                <a:cubicBezTo>
                  <a:pt x="2884" y="6288"/>
                  <a:pt x="2781" y="6337"/>
                  <a:pt x="2763" y="6321"/>
                </a:cubicBezTo>
                <a:cubicBezTo>
                  <a:pt x="2746" y="6305"/>
                  <a:pt x="2763" y="6255"/>
                  <a:pt x="2746" y="6239"/>
                </a:cubicBezTo>
                <a:cubicBezTo>
                  <a:pt x="2695" y="6239"/>
                  <a:pt x="2678" y="6288"/>
                  <a:pt x="2626" y="6305"/>
                </a:cubicBezTo>
                <a:cubicBezTo>
                  <a:pt x="2489" y="6305"/>
                  <a:pt x="2352" y="6206"/>
                  <a:pt x="2232" y="6255"/>
                </a:cubicBezTo>
                <a:cubicBezTo>
                  <a:pt x="2215" y="6272"/>
                  <a:pt x="2198" y="6288"/>
                  <a:pt x="2198" y="6305"/>
                </a:cubicBezTo>
                <a:lnTo>
                  <a:pt x="2198" y="6288"/>
                </a:lnTo>
                <a:cubicBezTo>
                  <a:pt x="2232" y="6075"/>
                  <a:pt x="2403" y="5862"/>
                  <a:pt x="2043" y="5829"/>
                </a:cubicBezTo>
                <a:cubicBezTo>
                  <a:pt x="1855" y="5813"/>
                  <a:pt x="1906" y="6042"/>
                  <a:pt x="1769" y="5961"/>
                </a:cubicBezTo>
                <a:cubicBezTo>
                  <a:pt x="1666" y="5895"/>
                  <a:pt x="1529" y="5682"/>
                  <a:pt x="1426" y="5633"/>
                </a:cubicBezTo>
                <a:cubicBezTo>
                  <a:pt x="1357" y="5616"/>
                  <a:pt x="1272" y="5682"/>
                  <a:pt x="1220" y="5633"/>
                </a:cubicBezTo>
                <a:cubicBezTo>
                  <a:pt x="997" y="5469"/>
                  <a:pt x="1272" y="5273"/>
                  <a:pt x="843" y="5306"/>
                </a:cubicBezTo>
                <a:cubicBezTo>
                  <a:pt x="809" y="5322"/>
                  <a:pt x="878" y="5404"/>
                  <a:pt x="843" y="5420"/>
                </a:cubicBezTo>
                <a:cubicBezTo>
                  <a:pt x="724" y="5469"/>
                  <a:pt x="552" y="5567"/>
                  <a:pt x="449" y="5486"/>
                </a:cubicBezTo>
                <a:cubicBezTo>
                  <a:pt x="346" y="5420"/>
                  <a:pt x="449" y="5240"/>
                  <a:pt x="415" y="5125"/>
                </a:cubicBezTo>
                <a:cubicBezTo>
                  <a:pt x="363" y="4929"/>
                  <a:pt x="140" y="4978"/>
                  <a:pt x="3" y="4896"/>
                </a:cubicBezTo>
                <a:cubicBezTo>
                  <a:pt x="-13" y="4880"/>
                  <a:pt x="38" y="4830"/>
                  <a:pt x="72" y="4830"/>
                </a:cubicBezTo>
                <a:cubicBezTo>
                  <a:pt x="243" y="4798"/>
                  <a:pt x="415" y="4814"/>
                  <a:pt x="586" y="4814"/>
                </a:cubicBezTo>
                <a:cubicBezTo>
                  <a:pt x="620" y="4814"/>
                  <a:pt x="706" y="4880"/>
                  <a:pt x="706" y="4847"/>
                </a:cubicBezTo>
                <a:cubicBezTo>
                  <a:pt x="706" y="4814"/>
                  <a:pt x="552" y="4585"/>
                  <a:pt x="449" y="4421"/>
                </a:cubicBezTo>
                <a:lnTo>
                  <a:pt x="466" y="4437"/>
                </a:lnTo>
                <a:cubicBezTo>
                  <a:pt x="552" y="4470"/>
                  <a:pt x="655" y="4437"/>
                  <a:pt x="758" y="4454"/>
                </a:cubicBezTo>
                <a:cubicBezTo>
                  <a:pt x="826" y="4454"/>
                  <a:pt x="981" y="4519"/>
                  <a:pt x="929" y="4487"/>
                </a:cubicBezTo>
                <a:cubicBezTo>
                  <a:pt x="809" y="4421"/>
                  <a:pt x="603" y="4454"/>
                  <a:pt x="552" y="4339"/>
                </a:cubicBezTo>
                <a:cubicBezTo>
                  <a:pt x="518" y="4241"/>
                  <a:pt x="792" y="4274"/>
                  <a:pt x="809" y="4176"/>
                </a:cubicBezTo>
                <a:cubicBezTo>
                  <a:pt x="860" y="3979"/>
                  <a:pt x="-219" y="4733"/>
                  <a:pt x="140" y="3848"/>
                </a:cubicBezTo>
                <a:cubicBezTo>
                  <a:pt x="158" y="3848"/>
                  <a:pt x="724" y="3635"/>
                  <a:pt x="878" y="3635"/>
                </a:cubicBezTo>
                <a:cubicBezTo>
                  <a:pt x="1066" y="3635"/>
                  <a:pt x="638" y="3848"/>
                  <a:pt x="1049" y="3733"/>
                </a:cubicBezTo>
                <a:cubicBezTo>
                  <a:pt x="1169" y="3717"/>
                  <a:pt x="1289" y="3586"/>
                  <a:pt x="1409" y="3619"/>
                </a:cubicBezTo>
                <a:cubicBezTo>
                  <a:pt x="1512" y="3651"/>
                  <a:pt x="1461" y="3848"/>
                  <a:pt x="1564" y="3881"/>
                </a:cubicBezTo>
                <a:cubicBezTo>
                  <a:pt x="1632" y="3881"/>
                  <a:pt x="1581" y="3684"/>
                  <a:pt x="1649" y="3668"/>
                </a:cubicBezTo>
                <a:cubicBezTo>
                  <a:pt x="1769" y="3668"/>
                  <a:pt x="1855" y="3881"/>
                  <a:pt x="1975" y="3848"/>
                </a:cubicBezTo>
                <a:cubicBezTo>
                  <a:pt x="2078" y="3815"/>
                  <a:pt x="2009" y="3602"/>
                  <a:pt x="2112" y="3537"/>
                </a:cubicBezTo>
                <a:cubicBezTo>
                  <a:pt x="2146" y="3504"/>
                  <a:pt x="2215" y="3602"/>
                  <a:pt x="2266" y="3602"/>
                </a:cubicBezTo>
                <a:cubicBezTo>
                  <a:pt x="2369" y="3602"/>
                  <a:pt x="2489" y="3504"/>
                  <a:pt x="2575" y="3553"/>
                </a:cubicBezTo>
                <a:cubicBezTo>
                  <a:pt x="2661" y="3602"/>
                  <a:pt x="2592" y="3766"/>
                  <a:pt x="2678" y="3815"/>
                </a:cubicBezTo>
                <a:cubicBezTo>
                  <a:pt x="2729" y="3848"/>
                  <a:pt x="2729" y="3733"/>
                  <a:pt x="2781" y="3701"/>
                </a:cubicBezTo>
                <a:cubicBezTo>
                  <a:pt x="2866" y="3635"/>
                  <a:pt x="3141" y="4339"/>
                  <a:pt x="3209" y="4470"/>
                </a:cubicBezTo>
                <a:cubicBezTo>
                  <a:pt x="3226" y="4487"/>
                  <a:pt x="3226" y="4405"/>
                  <a:pt x="3261" y="4405"/>
                </a:cubicBezTo>
                <a:cubicBezTo>
                  <a:pt x="3364" y="4339"/>
                  <a:pt x="3466" y="4323"/>
                  <a:pt x="3586" y="4274"/>
                </a:cubicBezTo>
                <a:cubicBezTo>
                  <a:pt x="3672" y="4225"/>
                  <a:pt x="3740" y="4093"/>
                  <a:pt x="3826" y="4126"/>
                </a:cubicBezTo>
                <a:cubicBezTo>
                  <a:pt x="3981" y="4192"/>
                  <a:pt x="3843" y="4765"/>
                  <a:pt x="4255" y="4601"/>
                </a:cubicBezTo>
                <a:cubicBezTo>
                  <a:pt x="4375" y="4552"/>
                  <a:pt x="4306" y="4339"/>
                  <a:pt x="4392" y="4225"/>
                </a:cubicBezTo>
                <a:cubicBezTo>
                  <a:pt x="4478" y="4110"/>
                  <a:pt x="4495" y="4454"/>
                  <a:pt x="4598" y="4470"/>
                </a:cubicBezTo>
                <a:cubicBezTo>
                  <a:pt x="4700" y="4487"/>
                  <a:pt x="4786" y="4437"/>
                  <a:pt x="4889" y="4454"/>
                </a:cubicBezTo>
                <a:cubicBezTo>
                  <a:pt x="4992" y="4454"/>
                  <a:pt x="5198" y="4601"/>
                  <a:pt x="5232" y="4503"/>
                </a:cubicBezTo>
                <a:cubicBezTo>
                  <a:pt x="5266" y="4323"/>
                  <a:pt x="4872" y="4192"/>
                  <a:pt x="4923" y="4012"/>
                </a:cubicBezTo>
                <a:cubicBezTo>
                  <a:pt x="4958" y="3897"/>
                  <a:pt x="4992" y="3782"/>
                  <a:pt x="5043" y="3668"/>
                </a:cubicBezTo>
                <a:cubicBezTo>
                  <a:pt x="5009" y="3668"/>
                  <a:pt x="4975" y="3651"/>
                  <a:pt x="4992" y="3586"/>
                </a:cubicBezTo>
                <a:cubicBezTo>
                  <a:pt x="5026" y="3471"/>
                  <a:pt x="5129" y="3340"/>
                  <a:pt x="5129" y="3209"/>
                </a:cubicBezTo>
                <a:cubicBezTo>
                  <a:pt x="5129" y="3177"/>
                  <a:pt x="5026" y="3226"/>
                  <a:pt x="5009" y="3193"/>
                </a:cubicBezTo>
                <a:cubicBezTo>
                  <a:pt x="4975" y="3111"/>
                  <a:pt x="5009" y="2980"/>
                  <a:pt x="4958" y="2898"/>
                </a:cubicBezTo>
                <a:cubicBezTo>
                  <a:pt x="4940" y="2849"/>
                  <a:pt x="4838" y="2849"/>
                  <a:pt x="4803" y="2800"/>
                </a:cubicBezTo>
                <a:cubicBezTo>
                  <a:pt x="4769" y="2702"/>
                  <a:pt x="4752" y="2571"/>
                  <a:pt x="4769" y="2472"/>
                </a:cubicBezTo>
                <a:cubicBezTo>
                  <a:pt x="4769" y="2423"/>
                  <a:pt x="4855" y="2407"/>
                  <a:pt x="4855" y="2374"/>
                </a:cubicBezTo>
                <a:cubicBezTo>
                  <a:pt x="4855" y="2260"/>
                  <a:pt x="4786" y="2145"/>
                  <a:pt x="4769" y="2030"/>
                </a:cubicBezTo>
                <a:cubicBezTo>
                  <a:pt x="4769" y="1998"/>
                  <a:pt x="4803" y="2096"/>
                  <a:pt x="4821" y="2112"/>
                </a:cubicBezTo>
                <a:cubicBezTo>
                  <a:pt x="4958" y="2178"/>
                  <a:pt x="5077" y="2243"/>
                  <a:pt x="5215" y="2276"/>
                </a:cubicBezTo>
                <a:cubicBezTo>
                  <a:pt x="5249" y="2292"/>
                  <a:pt x="5300" y="2260"/>
                  <a:pt x="5335" y="2260"/>
                </a:cubicBezTo>
                <a:cubicBezTo>
                  <a:pt x="5472" y="2260"/>
                  <a:pt x="5609" y="2194"/>
                  <a:pt x="5729" y="2260"/>
                </a:cubicBezTo>
                <a:cubicBezTo>
                  <a:pt x="5798" y="2276"/>
                  <a:pt x="5763" y="2374"/>
                  <a:pt x="5729" y="2440"/>
                </a:cubicBezTo>
                <a:cubicBezTo>
                  <a:pt x="5712" y="2472"/>
                  <a:pt x="5661" y="2456"/>
                  <a:pt x="5626" y="2489"/>
                </a:cubicBezTo>
                <a:cubicBezTo>
                  <a:pt x="5575" y="2538"/>
                  <a:pt x="5763" y="3062"/>
                  <a:pt x="5781" y="3062"/>
                </a:cubicBezTo>
                <a:cubicBezTo>
                  <a:pt x="6483" y="3160"/>
                  <a:pt x="5472" y="2751"/>
                  <a:pt x="6021" y="2947"/>
                </a:cubicBezTo>
                <a:cubicBezTo>
                  <a:pt x="6278" y="3045"/>
                  <a:pt x="6603" y="3095"/>
                  <a:pt x="6844" y="3209"/>
                </a:cubicBezTo>
                <a:cubicBezTo>
                  <a:pt x="6929" y="3258"/>
                  <a:pt x="6980" y="3373"/>
                  <a:pt x="7067" y="3390"/>
                </a:cubicBezTo>
                <a:cubicBezTo>
                  <a:pt x="7461" y="3439"/>
                  <a:pt x="7375" y="3226"/>
                  <a:pt x="7666" y="3144"/>
                </a:cubicBezTo>
                <a:cubicBezTo>
                  <a:pt x="7735" y="3127"/>
                  <a:pt x="7804" y="3127"/>
                  <a:pt x="7889" y="3127"/>
                </a:cubicBezTo>
                <a:cubicBezTo>
                  <a:pt x="7701" y="3095"/>
                  <a:pt x="7529" y="2980"/>
                  <a:pt x="7769" y="2587"/>
                </a:cubicBezTo>
                <a:cubicBezTo>
                  <a:pt x="7941" y="2325"/>
                  <a:pt x="9089" y="2292"/>
                  <a:pt x="9398" y="2128"/>
                </a:cubicBezTo>
                <a:cubicBezTo>
                  <a:pt x="9518" y="2079"/>
                  <a:pt x="9604" y="1981"/>
                  <a:pt x="9723" y="1916"/>
                </a:cubicBezTo>
                <a:cubicBezTo>
                  <a:pt x="9826" y="1866"/>
                  <a:pt x="10015" y="1883"/>
                  <a:pt x="10066" y="1785"/>
                </a:cubicBezTo>
                <a:cubicBezTo>
                  <a:pt x="10118" y="1686"/>
                  <a:pt x="9929" y="1637"/>
                  <a:pt x="9912" y="1539"/>
                </a:cubicBezTo>
                <a:cubicBezTo>
                  <a:pt x="9895" y="1490"/>
                  <a:pt x="9912" y="1408"/>
                  <a:pt x="9946" y="1375"/>
                </a:cubicBezTo>
                <a:cubicBezTo>
                  <a:pt x="9980" y="1342"/>
                  <a:pt x="10049" y="1408"/>
                  <a:pt x="10049" y="1375"/>
                </a:cubicBezTo>
                <a:cubicBezTo>
                  <a:pt x="10049" y="1342"/>
                  <a:pt x="9964" y="1342"/>
                  <a:pt x="9964" y="1293"/>
                </a:cubicBezTo>
                <a:cubicBezTo>
                  <a:pt x="9964" y="1178"/>
                  <a:pt x="10101" y="393"/>
                  <a:pt x="10135" y="311"/>
                </a:cubicBezTo>
                <a:cubicBezTo>
                  <a:pt x="10204" y="114"/>
                  <a:pt x="10769" y="82"/>
                  <a:pt x="10923" y="65"/>
                </a:cubicBezTo>
                <a:cubicBezTo>
                  <a:pt x="11129" y="49"/>
                  <a:pt x="11335" y="33"/>
                  <a:pt x="11524" y="0"/>
                </a:cubicBezTo>
                <a:close/>
              </a:path>
            </a:pathLst>
          </a:custGeom>
          <a:solidFill>
            <a:schemeClr val="accent6"/>
          </a:solidFill>
          <a:ln w="25400" cap="flat" cmpd="sng">
            <a:solidFill>
              <a:srgbClr val="EEEEEE"/>
            </a:solidFill>
            <a:prstDash val="solid"/>
            <a:miter lim="0"/>
            <a:headEnd/>
            <a:tailEnd/>
          </a:ln>
          <a:effectLs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sp>
        <p:nvSpPr>
          <p:cNvPr id="95265" name="AutoShape 33"/>
          <p:cNvSpPr>
            <a:spLocks/>
          </p:cNvSpPr>
          <p:nvPr/>
        </p:nvSpPr>
        <p:spPr bwMode="auto">
          <a:xfrm>
            <a:off x="14184313" y="4851400"/>
            <a:ext cx="1898650" cy="2955925"/>
          </a:xfrm>
          <a:custGeom>
            <a:avLst/>
            <a:gdLst>
              <a:gd name="T0" fmla="+- 0 10724 110"/>
              <a:gd name="T1" fmla="*/ T0 w 21228"/>
              <a:gd name="T2" fmla="*/ 10800 h 21600"/>
              <a:gd name="T3" fmla="+- 0 10724 110"/>
              <a:gd name="T4" fmla="*/ T3 w 21228"/>
              <a:gd name="T5" fmla="*/ 10800 h 21600"/>
              <a:gd name="T6" fmla="+- 0 10724 110"/>
              <a:gd name="T7" fmla="*/ T6 w 21228"/>
              <a:gd name="T8" fmla="*/ 10800 h 21600"/>
              <a:gd name="T9" fmla="+- 0 10724 110"/>
              <a:gd name="T10" fmla="*/ T9 w 21228"/>
              <a:gd name="T11" fmla="*/ 10800 h 21600"/>
            </a:gdLst>
            <a:ahLst/>
            <a:cxnLst>
              <a:cxn ang="0">
                <a:pos x="T1" y="T2"/>
              </a:cxn>
              <a:cxn ang="0">
                <a:pos x="T4" y="T5"/>
              </a:cxn>
              <a:cxn ang="0">
                <a:pos x="T7" y="T8"/>
              </a:cxn>
              <a:cxn ang="0">
                <a:pos x="T10" y="T11"/>
              </a:cxn>
            </a:cxnLst>
            <a:rect l="0" t="0" r="r" b="b"/>
            <a:pathLst>
              <a:path w="21228" h="21600">
                <a:moveTo>
                  <a:pt x="8375" y="10712"/>
                </a:moveTo>
                <a:cubicBezTo>
                  <a:pt x="8227" y="10732"/>
                  <a:pt x="8078" y="10732"/>
                  <a:pt x="7930" y="10790"/>
                </a:cubicBezTo>
                <a:cubicBezTo>
                  <a:pt x="7812" y="10848"/>
                  <a:pt x="7782" y="10984"/>
                  <a:pt x="7663" y="11061"/>
                </a:cubicBezTo>
                <a:cubicBezTo>
                  <a:pt x="6387" y="11817"/>
                  <a:pt x="8435" y="11623"/>
                  <a:pt x="8375" y="10712"/>
                </a:cubicBezTo>
                <a:close/>
                <a:moveTo>
                  <a:pt x="2589" y="8175"/>
                </a:moveTo>
                <a:cubicBezTo>
                  <a:pt x="2678" y="8252"/>
                  <a:pt x="2797" y="8310"/>
                  <a:pt x="2916" y="8272"/>
                </a:cubicBezTo>
                <a:cubicBezTo>
                  <a:pt x="3094" y="8214"/>
                  <a:pt x="3153" y="8020"/>
                  <a:pt x="3331" y="7962"/>
                </a:cubicBezTo>
                <a:cubicBezTo>
                  <a:pt x="3509" y="7884"/>
                  <a:pt x="3717" y="8059"/>
                  <a:pt x="3895" y="8039"/>
                </a:cubicBezTo>
                <a:cubicBezTo>
                  <a:pt x="4103" y="8039"/>
                  <a:pt x="4251" y="7942"/>
                  <a:pt x="4429" y="7962"/>
                </a:cubicBezTo>
                <a:cubicBezTo>
                  <a:pt x="4637" y="7981"/>
                  <a:pt x="4755" y="8116"/>
                  <a:pt x="4933" y="8155"/>
                </a:cubicBezTo>
                <a:cubicBezTo>
                  <a:pt x="5023" y="8194"/>
                  <a:pt x="5200" y="8116"/>
                  <a:pt x="5230" y="8175"/>
                </a:cubicBezTo>
                <a:cubicBezTo>
                  <a:pt x="5349" y="8310"/>
                  <a:pt x="5408" y="8504"/>
                  <a:pt x="5349" y="8659"/>
                </a:cubicBezTo>
                <a:cubicBezTo>
                  <a:pt x="5349" y="8717"/>
                  <a:pt x="5230" y="8736"/>
                  <a:pt x="5230" y="8775"/>
                </a:cubicBezTo>
                <a:cubicBezTo>
                  <a:pt x="5557" y="9608"/>
                  <a:pt x="5408" y="8523"/>
                  <a:pt x="5764" y="9260"/>
                </a:cubicBezTo>
                <a:cubicBezTo>
                  <a:pt x="5883" y="9473"/>
                  <a:pt x="5112" y="9763"/>
                  <a:pt x="5112" y="9763"/>
                </a:cubicBezTo>
                <a:cubicBezTo>
                  <a:pt x="5616" y="9686"/>
                  <a:pt x="6150" y="9434"/>
                  <a:pt x="6061" y="10208"/>
                </a:cubicBezTo>
                <a:cubicBezTo>
                  <a:pt x="5942" y="10964"/>
                  <a:pt x="5112" y="10557"/>
                  <a:pt x="4874" y="10732"/>
                </a:cubicBezTo>
                <a:cubicBezTo>
                  <a:pt x="4667" y="10868"/>
                  <a:pt x="4815" y="11178"/>
                  <a:pt x="4281" y="11120"/>
                </a:cubicBezTo>
                <a:cubicBezTo>
                  <a:pt x="4162" y="11120"/>
                  <a:pt x="4073" y="11042"/>
                  <a:pt x="3984" y="10984"/>
                </a:cubicBezTo>
                <a:lnTo>
                  <a:pt x="3866" y="10887"/>
                </a:lnTo>
                <a:cubicBezTo>
                  <a:pt x="3420" y="10712"/>
                  <a:pt x="4044" y="11158"/>
                  <a:pt x="3035" y="10925"/>
                </a:cubicBezTo>
                <a:cubicBezTo>
                  <a:pt x="2886" y="10906"/>
                  <a:pt x="3094" y="10732"/>
                  <a:pt x="3153" y="10635"/>
                </a:cubicBezTo>
                <a:cubicBezTo>
                  <a:pt x="3183" y="10500"/>
                  <a:pt x="2886" y="10538"/>
                  <a:pt x="2827" y="10461"/>
                </a:cubicBezTo>
                <a:cubicBezTo>
                  <a:pt x="2678" y="10267"/>
                  <a:pt x="2827" y="9802"/>
                  <a:pt x="2501" y="9841"/>
                </a:cubicBezTo>
                <a:cubicBezTo>
                  <a:pt x="1225" y="9957"/>
                  <a:pt x="2857" y="10344"/>
                  <a:pt x="1492" y="10422"/>
                </a:cubicBezTo>
                <a:cubicBezTo>
                  <a:pt x="1046" y="10441"/>
                  <a:pt x="-110" y="9434"/>
                  <a:pt x="8" y="9337"/>
                </a:cubicBezTo>
                <a:cubicBezTo>
                  <a:pt x="38" y="9337"/>
                  <a:pt x="1195" y="9143"/>
                  <a:pt x="1195" y="9143"/>
                </a:cubicBezTo>
                <a:cubicBezTo>
                  <a:pt x="1254" y="9027"/>
                  <a:pt x="869" y="8969"/>
                  <a:pt x="839" y="8853"/>
                </a:cubicBezTo>
                <a:cubicBezTo>
                  <a:pt x="779" y="8736"/>
                  <a:pt x="1551" y="8891"/>
                  <a:pt x="1640" y="8853"/>
                </a:cubicBezTo>
                <a:cubicBezTo>
                  <a:pt x="2115" y="8659"/>
                  <a:pt x="1937" y="8175"/>
                  <a:pt x="2589" y="8175"/>
                </a:cubicBezTo>
                <a:cubicBezTo>
                  <a:pt x="2589" y="8175"/>
                  <a:pt x="2589" y="8175"/>
                  <a:pt x="2589" y="8175"/>
                </a:cubicBezTo>
                <a:close/>
                <a:moveTo>
                  <a:pt x="10511" y="0"/>
                </a:moveTo>
                <a:cubicBezTo>
                  <a:pt x="10690" y="58"/>
                  <a:pt x="11075" y="174"/>
                  <a:pt x="11105" y="309"/>
                </a:cubicBezTo>
                <a:cubicBezTo>
                  <a:pt x="11105" y="406"/>
                  <a:pt x="10690" y="581"/>
                  <a:pt x="10808" y="522"/>
                </a:cubicBezTo>
                <a:cubicBezTo>
                  <a:pt x="10986" y="445"/>
                  <a:pt x="11045" y="213"/>
                  <a:pt x="11253" y="232"/>
                </a:cubicBezTo>
                <a:cubicBezTo>
                  <a:pt x="11431" y="271"/>
                  <a:pt x="11224" y="522"/>
                  <a:pt x="11372" y="600"/>
                </a:cubicBezTo>
                <a:cubicBezTo>
                  <a:pt x="11491" y="658"/>
                  <a:pt x="11550" y="445"/>
                  <a:pt x="11669" y="426"/>
                </a:cubicBezTo>
                <a:cubicBezTo>
                  <a:pt x="12114" y="348"/>
                  <a:pt x="13122" y="465"/>
                  <a:pt x="13716" y="522"/>
                </a:cubicBezTo>
                <a:cubicBezTo>
                  <a:pt x="13953" y="542"/>
                  <a:pt x="14280" y="406"/>
                  <a:pt x="14429" y="522"/>
                </a:cubicBezTo>
                <a:cubicBezTo>
                  <a:pt x="14576" y="619"/>
                  <a:pt x="14190" y="716"/>
                  <a:pt x="14101" y="833"/>
                </a:cubicBezTo>
                <a:cubicBezTo>
                  <a:pt x="14042" y="949"/>
                  <a:pt x="14101" y="1065"/>
                  <a:pt x="14042" y="1181"/>
                </a:cubicBezTo>
                <a:cubicBezTo>
                  <a:pt x="13983" y="1278"/>
                  <a:pt x="12114" y="2014"/>
                  <a:pt x="11758" y="2188"/>
                </a:cubicBezTo>
                <a:cubicBezTo>
                  <a:pt x="11164" y="2479"/>
                  <a:pt x="12025" y="2150"/>
                  <a:pt x="12322" y="2305"/>
                </a:cubicBezTo>
                <a:cubicBezTo>
                  <a:pt x="12440" y="2343"/>
                  <a:pt x="12173" y="2421"/>
                  <a:pt x="12054" y="2479"/>
                </a:cubicBezTo>
                <a:cubicBezTo>
                  <a:pt x="11966" y="2537"/>
                  <a:pt x="11906" y="2634"/>
                  <a:pt x="11758" y="2654"/>
                </a:cubicBezTo>
                <a:cubicBezTo>
                  <a:pt x="11698" y="2654"/>
                  <a:pt x="11758" y="2518"/>
                  <a:pt x="11698" y="2518"/>
                </a:cubicBezTo>
                <a:cubicBezTo>
                  <a:pt x="11580" y="2498"/>
                  <a:pt x="11491" y="2576"/>
                  <a:pt x="11402" y="2595"/>
                </a:cubicBezTo>
                <a:cubicBezTo>
                  <a:pt x="11194" y="2654"/>
                  <a:pt x="11164" y="2498"/>
                  <a:pt x="11075" y="2634"/>
                </a:cubicBezTo>
                <a:cubicBezTo>
                  <a:pt x="10838" y="2983"/>
                  <a:pt x="11402" y="3099"/>
                  <a:pt x="11550" y="2983"/>
                </a:cubicBezTo>
                <a:cubicBezTo>
                  <a:pt x="11580" y="2944"/>
                  <a:pt x="11431" y="2886"/>
                  <a:pt x="11491" y="2886"/>
                </a:cubicBezTo>
                <a:cubicBezTo>
                  <a:pt x="11639" y="2866"/>
                  <a:pt x="11787" y="2944"/>
                  <a:pt x="11966" y="2944"/>
                </a:cubicBezTo>
                <a:cubicBezTo>
                  <a:pt x="12292" y="2925"/>
                  <a:pt x="12707" y="2692"/>
                  <a:pt x="13122" y="2750"/>
                </a:cubicBezTo>
                <a:cubicBezTo>
                  <a:pt x="13330" y="2770"/>
                  <a:pt x="13508" y="2905"/>
                  <a:pt x="13716" y="2944"/>
                </a:cubicBezTo>
                <a:cubicBezTo>
                  <a:pt x="14220" y="3041"/>
                  <a:pt x="15881" y="3022"/>
                  <a:pt x="16149" y="3409"/>
                </a:cubicBezTo>
                <a:cubicBezTo>
                  <a:pt x="16209" y="3525"/>
                  <a:pt x="16238" y="3641"/>
                  <a:pt x="16178" y="3758"/>
                </a:cubicBezTo>
                <a:lnTo>
                  <a:pt x="15496" y="4203"/>
                </a:lnTo>
                <a:cubicBezTo>
                  <a:pt x="15407" y="4281"/>
                  <a:pt x="15348" y="4377"/>
                  <a:pt x="15318" y="4475"/>
                </a:cubicBezTo>
                <a:cubicBezTo>
                  <a:pt x="15289" y="4513"/>
                  <a:pt x="15348" y="4552"/>
                  <a:pt x="15318" y="4571"/>
                </a:cubicBezTo>
                <a:cubicBezTo>
                  <a:pt x="15080" y="4862"/>
                  <a:pt x="13835" y="6005"/>
                  <a:pt x="13449" y="6024"/>
                </a:cubicBezTo>
                <a:cubicBezTo>
                  <a:pt x="12855" y="6063"/>
                  <a:pt x="12648" y="5870"/>
                  <a:pt x="12143" y="6121"/>
                </a:cubicBezTo>
                <a:cubicBezTo>
                  <a:pt x="12054" y="6160"/>
                  <a:pt x="12322" y="6179"/>
                  <a:pt x="12410" y="6160"/>
                </a:cubicBezTo>
                <a:cubicBezTo>
                  <a:pt x="12648" y="6141"/>
                  <a:pt x="12855" y="6044"/>
                  <a:pt x="13063" y="6024"/>
                </a:cubicBezTo>
                <a:cubicBezTo>
                  <a:pt x="13478" y="6005"/>
                  <a:pt x="13152" y="6199"/>
                  <a:pt x="13182" y="6257"/>
                </a:cubicBezTo>
                <a:cubicBezTo>
                  <a:pt x="13271" y="6393"/>
                  <a:pt x="13656" y="6431"/>
                  <a:pt x="13626" y="6567"/>
                </a:cubicBezTo>
                <a:cubicBezTo>
                  <a:pt x="13538" y="6993"/>
                  <a:pt x="12915" y="6625"/>
                  <a:pt x="12736" y="6644"/>
                </a:cubicBezTo>
                <a:cubicBezTo>
                  <a:pt x="11817" y="6741"/>
                  <a:pt x="13478" y="6993"/>
                  <a:pt x="11550" y="6896"/>
                </a:cubicBezTo>
                <a:cubicBezTo>
                  <a:pt x="11520" y="6896"/>
                  <a:pt x="11520" y="7109"/>
                  <a:pt x="11550" y="7109"/>
                </a:cubicBezTo>
                <a:cubicBezTo>
                  <a:pt x="11758" y="7167"/>
                  <a:pt x="11520" y="7051"/>
                  <a:pt x="11728" y="7070"/>
                </a:cubicBezTo>
                <a:cubicBezTo>
                  <a:pt x="11966" y="7109"/>
                  <a:pt x="12470" y="7361"/>
                  <a:pt x="12736" y="7245"/>
                </a:cubicBezTo>
                <a:cubicBezTo>
                  <a:pt x="12855" y="7187"/>
                  <a:pt x="12885" y="7051"/>
                  <a:pt x="13004" y="7012"/>
                </a:cubicBezTo>
                <a:cubicBezTo>
                  <a:pt x="13063" y="6993"/>
                  <a:pt x="14190" y="7535"/>
                  <a:pt x="14309" y="7613"/>
                </a:cubicBezTo>
                <a:cubicBezTo>
                  <a:pt x="14517" y="7710"/>
                  <a:pt x="14606" y="8194"/>
                  <a:pt x="14814" y="8349"/>
                </a:cubicBezTo>
                <a:cubicBezTo>
                  <a:pt x="14932" y="8426"/>
                  <a:pt x="15110" y="8446"/>
                  <a:pt x="15199" y="8523"/>
                </a:cubicBezTo>
                <a:cubicBezTo>
                  <a:pt x="15229" y="8562"/>
                  <a:pt x="15170" y="8601"/>
                  <a:pt x="15170" y="8659"/>
                </a:cubicBezTo>
                <a:cubicBezTo>
                  <a:pt x="15141" y="8775"/>
                  <a:pt x="15141" y="8911"/>
                  <a:pt x="15141" y="9027"/>
                </a:cubicBezTo>
                <a:cubicBezTo>
                  <a:pt x="15170" y="9376"/>
                  <a:pt x="15377" y="10809"/>
                  <a:pt x="15555" y="11100"/>
                </a:cubicBezTo>
                <a:cubicBezTo>
                  <a:pt x="15585" y="11139"/>
                  <a:pt x="15645" y="11023"/>
                  <a:pt x="15704" y="11042"/>
                </a:cubicBezTo>
                <a:cubicBezTo>
                  <a:pt x="15823" y="11061"/>
                  <a:pt x="15912" y="11158"/>
                  <a:pt x="16030" y="11197"/>
                </a:cubicBezTo>
                <a:cubicBezTo>
                  <a:pt x="16564" y="11410"/>
                  <a:pt x="16446" y="11236"/>
                  <a:pt x="16950" y="11642"/>
                </a:cubicBezTo>
                <a:cubicBezTo>
                  <a:pt x="17128" y="11778"/>
                  <a:pt x="17039" y="12010"/>
                  <a:pt x="17187" y="12165"/>
                </a:cubicBezTo>
                <a:cubicBezTo>
                  <a:pt x="17336" y="12379"/>
                  <a:pt x="17751" y="12185"/>
                  <a:pt x="17751" y="12572"/>
                </a:cubicBezTo>
                <a:cubicBezTo>
                  <a:pt x="17751" y="12689"/>
                  <a:pt x="17424" y="12689"/>
                  <a:pt x="17395" y="12805"/>
                </a:cubicBezTo>
                <a:cubicBezTo>
                  <a:pt x="17276" y="13115"/>
                  <a:pt x="17840" y="13560"/>
                  <a:pt x="17959" y="13832"/>
                </a:cubicBezTo>
                <a:cubicBezTo>
                  <a:pt x="18107" y="14200"/>
                  <a:pt x="17632" y="13657"/>
                  <a:pt x="17603" y="14064"/>
                </a:cubicBezTo>
                <a:cubicBezTo>
                  <a:pt x="17603" y="14161"/>
                  <a:pt x="18671" y="14897"/>
                  <a:pt x="18137" y="15265"/>
                </a:cubicBezTo>
                <a:cubicBezTo>
                  <a:pt x="17721" y="15536"/>
                  <a:pt x="17544" y="15226"/>
                  <a:pt x="17247" y="15710"/>
                </a:cubicBezTo>
                <a:cubicBezTo>
                  <a:pt x="17217" y="15769"/>
                  <a:pt x="17455" y="15691"/>
                  <a:pt x="17514" y="15730"/>
                </a:cubicBezTo>
                <a:cubicBezTo>
                  <a:pt x="17632" y="15788"/>
                  <a:pt x="17662" y="15904"/>
                  <a:pt x="17751" y="15963"/>
                </a:cubicBezTo>
                <a:cubicBezTo>
                  <a:pt x="17840" y="16021"/>
                  <a:pt x="17988" y="16117"/>
                  <a:pt x="18078" y="16079"/>
                </a:cubicBezTo>
                <a:cubicBezTo>
                  <a:pt x="18671" y="15827"/>
                  <a:pt x="18226" y="15575"/>
                  <a:pt x="18849" y="15633"/>
                </a:cubicBezTo>
                <a:cubicBezTo>
                  <a:pt x="19858" y="15730"/>
                  <a:pt x="21489" y="16021"/>
                  <a:pt x="21192" y="17066"/>
                </a:cubicBezTo>
                <a:cubicBezTo>
                  <a:pt x="21104" y="17396"/>
                  <a:pt x="20422" y="18268"/>
                  <a:pt x="19917" y="18384"/>
                </a:cubicBezTo>
                <a:cubicBezTo>
                  <a:pt x="19739" y="18422"/>
                  <a:pt x="19472" y="18190"/>
                  <a:pt x="19413" y="18287"/>
                </a:cubicBezTo>
                <a:cubicBezTo>
                  <a:pt x="19145" y="18636"/>
                  <a:pt x="20540" y="18539"/>
                  <a:pt x="19353" y="18752"/>
                </a:cubicBezTo>
                <a:cubicBezTo>
                  <a:pt x="19265" y="18772"/>
                  <a:pt x="19205" y="18732"/>
                  <a:pt x="19116" y="18694"/>
                </a:cubicBezTo>
                <a:cubicBezTo>
                  <a:pt x="19086" y="18694"/>
                  <a:pt x="19086" y="18656"/>
                  <a:pt x="19057" y="18656"/>
                </a:cubicBezTo>
                <a:cubicBezTo>
                  <a:pt x="18819" y="18674"/>
                  <a:pt x="18463" y="18636"/>
                  <a:pt x="18344" y="18752"/>
                </a:cubicBezTo>
                <a:cubicBezTo>
                  <a:pt x="18256" y="18868"/>
                  <a:pt x="18790" y="18713"/>
                  <a:pt x="18908" y="18810"/>
                </a:cubicBezTo>
                <a:cubicBezTo>
                  <a:pt x="19027" y="18887"/>
                  <a:pt x="18938" y="19042"/>
                  <a:pt x="18849" y="19139"/>
                </a:cubicBezTo>
                <a:cubicBezTo>
                  <a:pt x="18612" y="19391"/>
                  <a:pt x="17959" y="19217"/>
                  <a:pt x="17632" y="19295"/>
                </a:cubicBezTo>
                <a:cubicBezTo>
                  <a:pt x="17544" y="19314"/>
                  <a:pt x="17306" y="19372"/>
                  <a:pt x="17395" y="19411"/>
                </a:cubicBezTo>
                <a:cubicBezTo>
                  <a:pt x="17424" y="19411"/>
                  <a:pt x="18285" y="19236"/>
                  <a:pt x="18256" y="19488"/>
                </a:cubicBezTo>
                <a:cubicBezTo>
                  <a:pt x="18226" y="19585"/>
                  <a:pt x="17899" y="19469"/>
                  <a:pt x="17781" y="19527"/>
                </a:cubicBezTo>
                <a:cubicBezTo>
                  <a:pt x="17692" y="19585"/>
                  <a:pt x="18018" y="19682"/>
                  <a:pt x="18137" y="19643"/>
                </a:cubicBezTo>
                <a:cubicBezTo>
                  <a:pt x="18197" y="19604"/>
                  <a:pt x="18197" y="19488"/>
                  <a:pt x="18285" y="19488"/>
                </a:cubicBezTo>
                <a:cubicBezTo>
                  <a:pt x="18404" y="19469"/>
                  <a:pt x="18523" y="19546"/>
                  <a:pt x="18641" y="19604"/>
                </a:cubicBezTo>
                <a:cubicBezTo>
                  <a:pt x="19057" y="19856"/>
                  <a:pt x="17781" y="19721"/>
                  <a:pt x="18641" y="19817"/>
                </a:cubicBezTo>
                <a:cubicBezTo>
                  <a:pt x="19057" y="19856"/>
                  <a:pt x="19502" y="19643"/>
                  <a:pt x="19947" y="19759"/>
                </a:cubicBezTo>
                <a:cubicBezTo>
                  <a:pt x="20065" y="19779"/>
                  <a:pt x="19769" y="19876"/>
                  <a:pt x="19739" y="19953"/>
                </a:cubicBezTo>
                <a:cubicBezTo>
                  <a:pt x="19680" y="20089"/>
                  <a:pt x="19709" y="20224"/>
                  <a:pt x="19680" y="20379"/>
                </a:cubicBezTo>
                <a:cubicBezTo>
                  <a:pt x="19591" y="20573"/>
                  <a:pt x="19057" y="20495"/>
                  <a:pt x="18760" y="20592"/>
                </a:cubicBezTo>
                <a:cubicBezTo>
                  <a:pt x="18641" y="20650"/>
                  <a:pt x="18730" y="20844"/>
                  <a:pt x="18582" y="20883"/>
                </a:cubicBezTo>
                <a:cubicBezTo>
                  <a:pt x="18048" y="20999"/>
                  <a:pt x="18315" y="20689"/>
                  <a:pt x="17988" y="20825"/>
                </a:cubicBezTo>
                <a:cubicBezTo>
                  <a:pt x="17662" y="20960"/>
                  <a:pt x="17365" y="20902"/>
                  <a:pt x="17039" y="20999"/>
                </a:cubicBezTo>
                <a:cubicBezTo>
                  <a:pt x="16891" y="21038"/>
                  <a:pt x="16832" y="21193"/>
                  <a:pt x="16653" y="21193"/>
                </a:cubicBezTo>
                <a:cubicBezTo>
                  <a:pt x="16386" y="21193"/>
                  <a:pt x="15912" y="20864"/>
                  <a:pt x="15645" y="20825"/>
                </a:cubicBezTo>
                <a:cubicBezTo>
                  <a:pt x="15437" y="20805"/>
                  <a:pt x="13953" y="21038"/>
                  <a:pt x="13865" y="20825"/>
                </a:cubicBezTo>
                <a:cubicBezTo>
                  <a:pt x="13835" y="20728"/>
                  <a:pt x="14250" y="20805"/>
                  <a:pt x="13953" y="20670"/>
                </a:cubicBezTo>
                <a:cubicBezTo>
                  <a:pt x="13775" y="20592"/>
                  <a:pt x="13865" y="20767"/>
                  <a:pt x="13805" y="20825"/>
                </a:cubicBezTo>
                <a:cubicBezTo>
                  <a:pt x="13746" y="20844"/>
                  <a:pt x="13656" y="20805"/>
                  <a:pt x="13626" y="20767"/>
                </a:cubicBezTo>
                <a:cubicBezTo>
                  <a:pt x="13626" y="20709"/>
                  <a:pt x="13835" y="20650"/>
                  <a:pt x="13746" y="20650"/>
                </a:cubicBezTo>
                <a:cubicBezTo>
                  <a:pt x="13656" y="20631"/>
                  <a:pt x="13568" y="20767"/>
                  <a:pt x="13478" y="20748"/>
                </a:cubicBezTo>
                <a:cubicBezTo>
                  <a:pt x="13390" y="20728"/>
                  <a:pt x="13568" y="20631"/>
                  <a:pt x="13508" y="20573"/>
                </a:cubicBezTo>
                <a:cubicBezTo>
                  <a:pt x="13301" y="20398"/>
                  <a:pt x="13419" y="20748"/>
                  <a:pt x="13330" y="20728"/>
                </a:cubicBezTo>
                <a:cubicBezTo>
                  <a:pt x="12974" y="20650"/>
                  <a:pt x="12707" y="20263"/>
                  <a:pt x="12618" y="20321"/>
                </a:cubicBezTo>
                <a:cubicBezTo>
                  <a:pt x="12500" y="20418"/>
                  <a:pt x="12855" y="20553"/>
                  <a:pt x="12826" y="20670"/>
                </a:cubicBezTo>
                <a:cubicBezTo>
                  <a:pt x="12796" y="20864"/>
                  <a:pt x="11135" y="20611"/>
                  <a:pt x="11075" y="20670"/>
                </a:cubicBezTo>
                <a:cubicBezTo>
                  <a:pt x="10986" y="20767"/>
                  <a:pt x="11283" y="20902"/>
                  <a:pt x="11253" y="21019"/>
                </a:cubicBezTo>
                <a:cubicBezTo>
                  <a:pt x="11224" y="21077"/>
                  <a:pt x="11075" y="20999"/>
                  <a:pt x="10986" y="20999"/>
                </a:cubicBezTo>
                <a:lnTo>
                  <a:pt x="10956" y="20999"/>
                </a:lnTo>
                <a:cubicBezTo>
                  <a:pt x="10808" y="20941"/>
                  <a:pt x="10333" y="20728"/>
                  <a:pt x="10185" y="20767"/>
                </a:cubicBezTo>
                <a:cubicBezTo>
                  <a:pt x="10007" y="20825"/>
                  <a:pt x="10066" y="20999"/>
                  <a:pt x="9977" y="21096"/>
                </a:cubicBezTo>
                <a:cubicBezTo>
                  <a:pt x="9918" y="21135"/>
                  <a:pt x="10037" y="20980"/>
                  <a:pt x="10007" y="20922"/>
                </a:cubicBezTo>
                <a:cubicBezTo>
                  <a:pt x="9948" y="20825"/>
                  <a:pt x="9800" y="20748"/>
                  <a:pt x="9651" y="20670"/>
                </a:cubicBezTo>
                <a:cubicBezTo>
                  <a:pt x="9265" y="20418"/>
                  <a:pt x="8138" y="20244"/>
                  <a:pt x="7604" y="20379"/>
                </a:cubicBezTo>
                <a:cubicBezTo>
                  <a:pt x="7604" y="20379"/>
                  <a:pt x="7277" y="21309"/>
                  <a:pt x="6833" y="21444"/>
                </a:cubicBezTo>
                <a:cubicBezTo>
                  <a:pt x="6476" y="21541"/>
                  <a:pt x="5853" y="20980"/>
                  <a:pt x="5616" y="20902"/>
                </a:cubicBezTo>
                <a:cubicBezTo>
                  <a:pt x="5468" y="20844"/>
                  <a:pt x="5913" y="21077"/>
                  <a:pt x="5526" y="21019"/>
                </a:cubicBezTo>
                <a:cubicBezTo>
                  <a:pt x="5171" y="20960"/>
                  <a:pt x="4667" y="20728"/>
                  <a:pt x="4251" y="20805"/>
                </a:cubicBezTo>
                <a:cubicBezTo>
                  <a:pt x="4103" y="20825"/>
                  <a:pt x="4162" y="20999"/>
                  <a:pt x="4044" y="21038"/>
                </a:cubicBezTo>
                <a:cubicBezTo>
                  <a:pt x="3866" y="21077"/>
                  <a:pt x="3658" y="20999"/>
                  <a:pt x="3450" y="20999"/>
                </a:cubicBezTo>
                <a:cubicBezTo>
                  <a:pt x="3420" y="20999"/>
                  <a:pt x="3390" y="20999"/>
                  <a:pt x="3361" y="21019"/>
                </a:cubicBezTo>
                <a:cubicBezTo>
                  <a:pt x="3302" y="21115"/>
                  <a:pt x="2945" y="21600"/>
                  <a:pt x="2827" y="21600"/>
                </a:cubicBezTo>
                <a:cubicBezTo>
                  <a:pt x="2648" y="21581"/>
                  <a:pt x="2738" y="21329"/>
                  <a:pt x="2619" y="21232"/>
                </a:cubicBezTo>
                <a:cubicBezTo>
                  <a:pt x="2441" y="21038"/>
                  <a:pt x="1729" y="21174"/>
                  <a:pt x="1729" y="20960"/>
                </a:cubicBezTo>
                <a:cubicBezTo>
                  <a:pt x="1729" y="20825"/>
                  <a:pt x="2916" y="20786"/>
                  <a:pt x="2945" y="20786"/>
                </a:cubicBezTo>
                <a:cubicBezTo>
                  <a:pt x="3064" y="20767"/>
                  <a:pt x="3183" y="20689"/>
                  <a:pt x="3272" y="20611"/>
                </a:cubicBezTo>
                <a:cubicBezTo>
                  <a:pt x="3331" y="20592"/>
                  <a:pt x="3272" y="20515"/>
                  <a:pt x="3331" y="20495"/>
                </a:cubicBezTo>
                <a:cubicBezTo>
                  <a:pt x="3390" y="20457"/>
                  <a:pt x="3509" y="20515"/>
                  <a:pt x="3568" y="20495"/>
                </a:cubicBezTo>
                <a:cubicBezTo>
                  <a:pt x="3776" y="20379"/>
                  <a:pt x="3836" y="20205"/>
                  <a:pt x="4044" y="20108"/>
                </a:cubicBezTo>
                <a:cubicBezTo>
                  <a:pt x="4133" y="20069"/>
                  <a:pt x="4281" y="20147"/>
                  <a:pt x="4370" y="20127"/>
                </a:cubicBezTo>
                <a:cubicBezTo>
                  <a:pt x="4459" y="20089"/>
                  <a:pt x="4429" y="20011"/>
                  <a:pt x="4518" y="19972"/>
                </a:cubicBezTo>
                <a:cubicBezTo>
                  <a:pt x="4667" y="19876"/>
                  <a:pt x="4933" y="19856"/>
                  <a:pt x="5082" y="19740"/>
                </a:cubicBezTo>
                <a:cubicBezTo>
                  <a:pt x="5171" y="19663"/>
                  <a:pt x="5141" y="19217"/>
                  <a:pt x="5349" y="19159"/>
                </a:cubicBezTo>
                <a:cubicBezTo>
                  <a:pt x="5468" y="19139"/>
                  <a:pt x="5586" y="19295"/>
                  <a:pt x="5704" y="19314"/>
                </a:cubicBezTo>
                <a:cubicBezTo>
                  <a:pt x="6387" y="19352"/>
                  <a:pt x="5586" y="18674"/>
                  <a:pt x="7248" y="18868"/>
                </a:cubicBezTo>
                <a:cubicBezTo>
                  <a:pt x="7812" y="18926"/>
                  <a:pt x="8553" y="19430"/>
                  <a:pt x="9117" y="19139"/>
                </a:cubicBezTo>
                <a:cubicBezTo>
                  <a:pt x="9295" y="19042"/>
                  <a:pt x="9236" y="18849"/>
                  <a:pt x="9325" y="18732"/>
                </a:cubicBezTo>
                <a:cubicBezTo>
                  <a:pt x="9354" y="18694"/>
                  <a:pt x="10779" y="18113"/>
                  <a:pt x="10956" y="17977"/>
                </a:cubicBezTo>
                <a:cubicBezTo>
                  <a:pt x="11135" y="17841"/>
                  <a:pt x="10185" y="18248"/>
                  <a:pt x="10066" y="18306"/>
                </a:cubicBezTo>
                <a:cubicBezTo>
                  <a:pt x="9918" y="18345"/>
                  <a:pt x="9770" y="18365"/>
                  <a:pt x="9621" y="18384"/>
                </a:cubicBezTo>
                <a:cubicBezTo>
                  <a:pt x="9532" y="18384"/>
                  <a:pt x="9473" y="18287"/>
                  <a:pt x="9384" y="18306"/>
                </a:cubicBezTo>
                <a:cubicBezTo>
                  <a:pt x="8642" y="18442"/>
                  <a:pt x="8820" y="18849"/>
                  <a:pt x="7930" y="18520"/>
                </a:cubicBezTo>
                <a:cubicBezTo>
                  <a:pt x="7633" y="18384"/>
                  <a:pt x="7693" y="18055"/>
                  <a:pt x="7426" y="17880"/>
                </a:cubicBezTo>
                <a:cubicBezTo>
                  <a:pt x="7189" y="17725"/>
                  <a:pt x="6743" y="18074"/>
                  <a:pt x="6447" y="17977"/>
                </a:cubicBezTo>
                <a:cubicBezTo>
                  <a:pt x="6387" y="17958"/>
                  <a:pt x="6328" y="17357"/>
                  <a:pt x="6298" y="17299"/>
                </a:cubicBezTo>
                <a:cubicBezTo>
                  <a:pt x="6269" y="17260"/>
                  <a:pt x="6239" y="17376"/>
                  <a:pt x="6180" y="17376"/>
                </a:cubicBezTo>
                <a:cubicBezTo>
                  <a:pt x="5972" y="17396"/>
                  <a:pt x="6239" y="17241"/>
                  <a:pt x="5526" y="17376"/>
                </a:cubicBezTo>
                <a:cubicBezTo>
                  <a:pt x="5438" y="17376"/>
                  <a:pt x="5468" y="17493"/>
                  <a:pt x="5408" y="17531"/>
                </a:cubicBezTo>
                <a:cubicBezTo>
                  <a:pt x="5230" y="17570"/>
                  <a:pt x="4992" y="17609"/>
                  <a:pt x="4815" y="17570"/>
                </a:cubicBezTo>
                <a:cubicBezTo>
                  <a:pt x="4667" y="17551"/>
                  <a:pt x="4400" y="17435"/>
                  <a:pt x="4459" y="17357"/>
                </a:cubicBezTo>
                <a:cubicBezTo>
                  <a:pt x="4548" y="17241"/>
                  <a:pt x="4844" y="17319"/>
                  <a:pt x="5023" y="17299"/>
                </a:cubicBezTo>
                <a:cubicBezTo>
                  <a:pt x="5112" y="17280"/>
                  <a:pt x="4281" y="17260"/>
                  <a:pt x="4192" y="17182"/>
                </a:cubicBezTo>
                <a:cubicBezTo>
                  <a:pt x="4073" y="17066"/>
                  <a:pt x="4133" y="16911"/>
                  <a:pt x="4133" y="16776"/>
                </a:cubicBezTo>
                <a:cubicBezTo>
                  <a:pt x="4133" y="16389"/>
                  <a:pt x="5230" y="16602"/>
                  <a:pt x="5379" y="16563"/>
                </a:cubicBezTo>
                <a:cubicBezTo>
                  <a:pt x="5557" y="16524"/>
                  <a:pt x="5586" y="16331"/>
                  <a:pt x="5794" y="16311"/>
                </a:cubicBezTo>
                <a:cubicBezTo>
                  <a:pt x="5942" y="16311"/>
                  <a:pt x="6091" y="16408"/>
                  <a:pt x="6239" y="16389"/>
                </a:cubicBezTo>
                <a:cubicBezTo>
                  <a:pt x="6714" y="16311"/>
                  <a:pt x="7663" y="15788"/>
                  <a:pt x="7842" y="15517"/>
                </a:cubicBezTo>
                <a:cubicBezTo>
                  <a:pt x="7900" y="15440"/>
                  <a:pt x="7782" y="14684"/>
                  <a:pt x="7604" y="14567"/>
                </a:cubicBezTo>
                <a:cubicBezTo>
                  <a:pt x="7099" y="14161"/>
                  <a:pt x="6535" y="15323"/>
                  <a:pt x="6328" y="14529"/>
                </a:cubicBezTo>
                <a:cubicBezTo>
                  <a:pt x="6269" y="14393"/>
                  <a:pt x="6892" y="14374"/>
                  <a:pt x="7277" y="14180"/>
                </a:cubicBezTo>
                <a:cubicBezTo>
                  <a:pt x="7337" y="14122"/>
                  <a:pt x="7307" y="14025"/>
                  <a:pt x="7366" y="13967"/>
                </a:cubicBezTo>
                <a:cubicBezTo>
                  <a:pt x="7426" y="13909"/>
                  <a:pt x="7485" y="13870"/>
                  <a:pt x="7544" y="13851"/>
                </a:cubicBezTo>
                <a:cubicBezTo>
                  <a:pt x="7663" y="13792"/>
                  <a:pt x="7782" y="13773"/>
                  <a:pt x="7871" y="13754"/>
                </a:cubicBezTo>
                <a:cubicBezTo>
                  <a:pt x="8078" y="13754"/>
                  <a:pt x="8256" y="13812"/>
                  <a:pt x="8672" y="13715"/>
                </a:cubicBezTo>
                <a:cubicBezTo>
                  <a:pt x="8731" y="13696"/>
                  <a:pt x="8553" y="13560"/>
                  <a:pt x="8642" y="13579"/>
                </a:cubicBezTo>
                <a:cubicBezTo>
                  <a:pt x="8850" y="13599"/>
                  <a:pt x="8968" y="13754"/>
                  <a:pt x="9176" y="13773"/>
                </a:cubicBezTo>
                <a:cubicBezTo>
                  <a:pt x="9592" y="13812"/>
                  <a:pt x="9681" y="13560"/>
                  <a:pt x="9977" y="13735"/>
                </a:cubicBezTo>
                <a:cubicBezTo>
                  <a:pt x="10126" y="13832"/>
                  <a:pt x="10185" y="14122"/>
                  <a:pt x="10363" y="14044"/>
                </a:cubicBezTo>
                <a:cubicBezTo>
                  <a:pt x="10541" y="13967"/>
                  <a:pt x="10215" y="13754"/>
                  <a:pt x="10274" y="13618"/>
                </a:cubicBezTo>
                <a:cubicBezTo>
                  <a:pt x="10304" y="13540"/>
                  <a:pt x="10838" y="13579"/>
                  <a:pt x="11224" y="13889"/>
                </a:cubicBezTo>
                <a:cubicBezTo>
                  <a:pt x="11313" y="13948"/>
                  <a:pt x="10986" y="13889"/>
                  <a:pt x="10868" y="13851"/>
                </a:cubicBezTo>
                <a:cubicBezTo>
                  <a:pt x="10600" y="13754"/>
                  <a:pt x="10481" y="13463"/>
                  <a:pt x="10541" y="13250"/>
                </a:cubicBezTo>
                <a:cubicBezTo>
                  <a:pt x="10571" y="13134"/>
                  <a:pt x="10749" y="13037"/>
                  <a:pt x="10897" y="12960"/>
                </a:cubicBezTo>
                <a:cubicBezTo>
                  <a:pt x="11016" y="12901"/>
                  <a:pt x="11313" y="12960"/>
                  <a:pt x="11283" y="12863"/>
                </a:cubicBezTo>
                <a:cubicBezTo>
                  <a:pt x="11224" y="12746"/>
                  <a:pt x="10868" y="12746"/>
                  <a:pt x="10808" y="12631"/>
                </a:cubicBezTo>
                <a:cubicBezTo>
                  <a:pt x="10423" y="12088"/>
                  <a:pt x="11431" y="12514"/>
                  <a:pt x="11431" y="12281"/>
                </a:cubicBezTo>
                <a:cubicBezTo>
                  <a:pt x="11461" y="12165"/>
                  <a:pt x="11224" y="12224"/>
                  <a:pt x="11313" y="12088"/>
                </a:cubicBezTo>
                <a:cubicBezTo>
                  <a:pt x="11402" y="11952"/>
                  <a:pt x="11669" y="11856"/>
                  <a:pt x="11639" y="11701"/>
                </a:cubicBezTo>
                <a:cubicBezTo>
                  <a:pt x="11609" y="11410"/>
                  <a:pt x="11253" y="11933"/>
                  <a:pt x="10838" y="11952"/>
                </a:cubicBezTo>
                <a:cubicBezTo>
                  <a:pt x="10571" y="11952"/>
                  <a:pt x="10927" y="11584"/>
                  <a:pt x="10838" y="11429"/>
                </a:cubicBezTo>
                <a:cubicBezTo>
                  <a:pt x="10779" y="11352"/>
                  <a:pt x="10631" y="11584"/>
                  <a:pt x="10511" y="11565"/>
                </a:cubicBezTo>
                <a:cubicBezTo>
                  <a:pt x="10155" y="11487"/>
                  <a:pt x="10452" y="11274"/>
                  <a:pt x="10423" y="11158"/>
                </a:cubicBezTo>
                <a:lnTo>
                  <a:pt x="10066" y="10674"/>
                </a:lnTo>
                <a:cubicBezTo>
                  <a:pt x="10037" y="10441"/>
                  <a:pt x="11016" y="9802"/>
                  <a:pt x="11045" y="9802"/>
                </a:cubicBezTo>
                <a:cubicBezTo>
                  <a:pt x="11105" y="9821"/>
                  <a:pt x="11075" y="9918"/>
                  <a:pt x="11135" y="9899"/>
                </a:cubicBezTo>
                <a:cubicBezTo>
                  <a:pt x="11372" y="9860"/>
                  <a:pt x="11698" y="9821"/>
                  <a:pt x="11758" y="9686"/>
                </a:cubicBezTo>
                <a:cubicBezTo>
                  <a:pt x="11817" y="9570"/>
                  <a:pt x="11402" y="9686"/>
                  <a:pt x="11224" y="9666"/>
                </a:cubicBezTo>
                <a:cubicBezTo>
                  <a:pt x="11105" y="9647"/>
                  <a:pt x="10986" y="9550"/>
                  <a:pt x="10838" y="9570"/>
                </a:cubicBezTo>
                <a:cubicBezTo>
                  <a:pt x="10659" y="9608"/>
                  <a:pt x="10571" y="9763"/>
                  <a:pt x="10393" y="9802"/>
                </a:cubicBezTo>
                <a:cubicBezTo>
                  <a:pt x="10244" y="9841"/>
                  <a:pt x="10066" y="9763"/>
                  <a:pt x="9918" y="9782"/>
                </a:cubicBezTo>
                <a:cubicBezTo>
                  <a:pt x="9740" y="9821"/>
                  <a:pt x="9651" y="9918"/>
                  <a:pt x="9503" y="9957"/>
                </a:cubicBezTo>
                <a:cubicBezTo>
                  <a:pt x="9443" y="9976"/>
                  <a:pt x="9354" y="9976"/>
                  <a:pt x="9325" y="9938"/>
                </a:cubicBezTo>
                <a:cubicBezTo>
                  <a:pt x="9295" y="9879"/>
                  <a:pt x="9473" y="9782"/>
                  <a:pt x="9384" y="9763"/>
                </a:cubicBezTo>
                <a:cubicBezTo>
                  <a:pt x="9295" y="9744"/>
                  <a:pt x="9325" y="9879"/>
                  <a:pt x="9265" y="9918"/>
                </a:cubicBezTo>
                <a:cubicBezTo>
                  <a:pt x="9236" y="9938"/>
                  <a:pt x="9176" y="9918"/>
                  <a:pt x="9147" y="9899"/>
                </a:cubicBezTo>
                <a:cubicBezTo>
                  <a:pt x="8999" y="9782"/>
                  <a:pt x="8999" y="9492"/>
                  <a:pt x="8672" y="9453"/>
                </a:cubicBezTo>
                <a:cubicBezTo>
                  <a:pt x="8256" y="9395"/>
                  <a:pt x="8820" y="9724"/>
                  <a:pt x="8524" y="10034"/>
                </a:cubicBezTo>
                <a:cubicBezTo>
                  <a:pt x="8405" y="10151"/>
                  <a:pt x="8256" y="9841"/>
                  <a:pt x="8138" y="9724"/>
                </a:cubicBezTo>
                <a:cubicBezTo>
                  <a:pt x="7277" y="8988"/>
                  <a:pt x="8167" y="9841"/>
                  <a:pt x="7010" y="9395"/>
                </a:cubicBezTo>
                <a:cubicBezTo>
                  <a:pt x="6714" y="9278"/>
                  <a:pt x="7426" y="9376"/>
                  <a:pt x="7396" y="9278"/>
                </a:cubicBezTo>
                <a:cubicBezTo>
                  <a:pt x="7366" y="8833"/>
                  <a:pt x="7485" y="8872"/>
                  <a:pt x="7900" y="8562"/>
                </a:cubicBezTo>
                <a:cubicBezTo>
                  <a:pt x="8672" y="8000"/>
                  <a:pt x="7366" y="8659"/>
                  <a:pt x="8316" y="8097"/>
                </a:cubicBezTo>
                <a:cubicBezTo>
                  <a:pt x="8405" y="8039"/>
                  <a:pt x="8613" y="8039"/>
                  <a:pt x="8672" y="7962"/>
                </a:cubicBezTo>
                <a:cubicBezTo>
                  <a:pt x="8791" y="7826"/>
                  <a:pt x="8227" y="7380"/>
                  <a:pt x="8197" y="7342"/>
                </a:cubicBezTo>
                <a:cubicBezTo>
                  <a:pt x="8167" y="7283"/>
                  <a:pt x="8345" y="7283"/>
                  <a:pt x="8375" y="7226"/>
                </a:cubicBezTo>
                <a:cubicBezTo>
                  <a:pt x="8464" y="7090"/>
                  <a:pt x="8375" y="6916"/>
                  <a:pt x="8464" y="6761"/>
                </a:cubicBezTo>
                <a:cubicBezTo>
                  <a:pt x="8583" y="6586"/>
                  <a:pt x="8820" y="6780"/>
                  <a:pt x="9087" y="6858"/>
                </a:cubicBezTo>
                <a:cubicBezTo>
                  <a:pt x="10066" y="7148"/>
                  <a:pt x="8583" y="6683"/>
                  <a:pt x="8583" y="6644"/>
                </a:cubicBezTo>
                <a:cubicBezTo>
                  <a:pt x="8494" y="6528"/>
                  <a:pt x="8583" y="6373"/>
                  <a:pt x="8613" y="6218"/>
                </a:cubicBezTo>
                <a:cubicBezTo>
                  <a:pt x="8613" y="6121"/>
                  <a:pt x="8731" y="6005"/>
                  <a:pt x="8642" y="5927"/>
                </a:cubicBezTo>
                <a:cubicBezTo>
                  <a:pt x="8613" y="5908"/>
                  <a:pt x="7426" y="6334"/>
                  <a:pt x="7337" y="6393"/>
                </a:cubicBezTo>
                <a:cubicBezTo>
                  <a:pt x="7099" y="6528"/>
                  <a:pt x="7485" y="6799"/>
                  <a:pt x="7426" y="7012"/>
                </a:cubicBezTo>
                <a:cubicBezTo>
                  <a:pt x="7396" y="7090"/>
                  <a:pt x="7159" y="7070"/>
                  <a:pt x="7070" y="7129"/>
                </a:cubicBezTo>
                <a:cubicBezTo>
                  <a:pt x="7010" y="7167"/>
                  <a:pt x="6951" y="7226"/>
                  <a:pt x="6951" y="7283"/>
                </a:cubicBezTo>
                <a:cubicBezTo>
                  <a:pt x="6921" y="7342"/>
                  <a:pt x="6981" y="7419"/>
                  <a:pt x="6951" y="7458"/>
                </a:cubicBezTo>
                <a:cubicBezTo>
                  <a:pt x="6862" y="7613"/>
                  <a:pt x="6625" y="7690"/>
                  <a:pt x="6535" y="7845"/>
                </a:cubicBezTo>
                <a:cubicBezTo>
                  <a:pt x="6506" y="7884"/>
                  <a:pt x="6684" y="7962"/>
                  <a:pt x="6625" y="7981"/>
                </a:cubicBezTo>
                <a:cubicBezTo>
                  <a:pt x="6417" y="8059"/>
                  <a:pt x="6150" y="8116"/>
                  <a:pt x="5913" y="8059"/>
                </a:cubicBezTo>
                <a:cubicBezTo>
                  <a:pt x="5735" y="8000"/>
                  <a:pt x="6150" y="7845"/>
                  <a:pt x="6239" y="7749"/>
                </a:cubicBezTo>
                <a:cubicBezTo>
                  <a:pt x="6417" y="7593"/>
                  <a:pt x="6358" y="7342"/>
                  <a:pt x="6535" y="7187"/>
                </a:cubicBezTo>
                <a:lnTo>
                  <a:pt x="7159" y="6838"/>
                </a:lnTo>
                <a:cubicBezTo>
                  <a:pt x="7099" y="6741"/>
                  <a:pt x="6773" y="6877"/>
                  <a:pt x="6714" y="6780"/>
                </a:cubicBezTo>
                <a:cubicBezTo>
                  <a:pt x="6654" y="6702"/>
                  <a:pt x="7515" y="6373"/>
                  <a:pt x="7099" y="6315"/>
                </a:cubicBezTo>
                <a:cubicBezTo>
                  <a:pt x="6921" y="6276"/>
                  <a:pt x="6833" y="6567"/>
                  <a:pt x="6684" y="6509"/>
                </a:cubicBezTo>
                <a:cubicBezTo>
                  <a:pt x="6506" y="6412"/>
                  <a:pt x="7099" y="6334"/>
                  <a:pt x="7218" y="6199"/>
                </a:cubicBezTo>
                <a:cubicBezTo>
                  <a:pt x="7337" y="6044"/>
                  <a:pt x="7248" y="5695"/>
                  <a:pt x="7337" y="5559"/>
                </a:cubicBezTo>
                <a:cubicBezTo>
                  <a:pt x="7396" y="5443"/>
                  <a:pt x="7544" y="5327"/>
                  <a:pt x="7693" y="5308"/>
                </a:cubicBezTo>
                <a:cubicBezTo>
                  <a:pt x="7842" y="5288"/>
                  <a:pt x="8108" y="5501"/>
                  <a:pt x="8108" y="5405"/>
                </a:cubicBezTo>
                <a:cubicBezTo>
                  <a:pt x="8108" y="5308"/>
                  <a:pt x="7782" y="5308"/>
                  <a:pt x="7693" y="5211"/>
                </a:cubicBezTo>
                <a:cubicBezTo>
                  <a:pt x="7485" y="4940"/>
                  <a:pt x="8702" y="4804"/>
                  <a:pt x="8731" y="4804"/>
                </a:cubicBezTo>
                <a:cubicBezTo>
                  <a:pt x="8820" y="4746"/>
                  <a:pt x="8345" y="4823"/>
                  <a:pt x="8345" y="4746"/>
                </a:cubicBezTo>
                <a:cubicBezTo>
                  <a:pt x="8345" y="4629"/>
                  <a:pt x="8642" y="4610"/>
                  <a:pt x="8702" y="4494"/>
                </a:cubicBezTo>
                <a:cubicBezTo>
                  <a:pt x="8761" y="4436"/>
                  <a:pt x="8524" y="4533"/>
                  <a:pt x="8435" y="4591"/>
                </a:cubicBezTo>
                <a:cubicBezTo>
                  <a:pt x="8227" y="4688"/>
                  <a:pt x="8256" y="4726"/>
                  <a:pt x="8078" y="4785"/>
                </a:cubicBezTo>
                <a:cubicBezTo>
                  <a:pt x="7693" y="4920"/>
                  <a:pt x="7337" y="5133"/>
                  <a:pt x="7070" y="5056"/>
                </a:cubicBezTo>
                <a:cubicBezTo>
                  <a:pt x="7099" y="5095"/>
                  <a:pt x="7129" y="5114"/>
                  <a:pt x="7189" y="5133"/>
                </a:cubicBezTo>
                <a:cubicBezTo>
                  <a:pt x="7218" y="5172"/>
                  <a:pt x="7337" y="5211"/>
                  <a:pt x="7277" y="5249"/>
                </a:cubicBezTo>
                <a:cubicBezTo>
                  <a:pt x="7040" y="5385"/>
                  <a:pt x="5853" y="5656"/>
                  <a:pt x="5646" y="5385"/>
                </a:cubicBezTo>
                <a:cubicBezTo>
                  <a:pt x="5616" y="5366"/>
                  <a:pt x="5646" y="5308"/>
                  <a:pt x="5675" y="5308"/>
                </a:cubicBezTo>
                <a:cubicBezTo>
                  <a:pt x="6269" y="5153"/>
                  <a:pt x="5794" y="5734"/>
                  <a:pt x="6535" y="5075"/>
                </a:cubicBezTo>
                <a:cubicBezTo>
                  <a:pt x="7010" y="4668"/>
                  <a:pt x="5141" y="4881"/>
                  <a:pt x="6476" y="4591"/>
                </a:cubicBezTo>
                <a:cubicBezTo>
                  <a:pt x="6535" y="4668"/>
                  <a:pt x="6595" y="4746"/>
                  <a:pt x="6684" y="4804"/>
                </a:cubicBezTo>
                <a:cubicBezTo>
                  <a:pt x="6714" y="4843"/>
                  <a:pt x="6773" y="4881"/>
                  <a:pt x="6833" y="4901"/>
                </a:cubicBezTo>
                <a:cubicBezTo>
                  <a:pt x="6773" y="4843"/>
                  <a:pt x="6714" y="4765"/>
                  <a:pt x="6684" y="4668"/>
                </a:cubicBezTo>
                <a:cubicBezTo>
                  <a:pt x="6654" y="4610"/>
                  <a:pt x="6892" y="4668"/>
                  <a:pt x="6981" y="4668"/>
                </a:cubicBezTo>
                <a:cubicBezTo>
                  <a:pt x="7218" y="4668"/>
                  <a:pt x="7456" y="4746"/>
                  <a:pt x="7663" y="4688"/>
                </a:cubicBezTo>
                <a:cubicBezTo>
                  <a:pt x="7930" y="4610"/>
                  <a:pt x="6061" y="4629"/>
                  <a:pt x="6298" y="4397"/>
                </a:cubicBezTo>
                <a:cubicBezTo>
                  <a:pt x="6476" y="4242"/>
                  <a:pt x="7248" y="4455"/>
                  <a:pt x="7307" y="4377"/>
                </a:cubicBezTo>
                <a:cubicBezTo>
                  <a:pt x="7426" y="4184"/>
                  <a:pt x="6566" y="3951"/>
                  <a:pt x="7396" y="3816"/>
                </a:cubicBezTo>
                <a:cubicBezTo>
                  <a:pt x="7604" y="3777"/>
                  <a:pt x="7812" y="3951"/>
                  <a:pt x="8049" y="3913"/>
                </a:cubicBezTo>
                <a:cubicBezTo>
                  <a:pt x="8850" y="3796"/>
                  <a:pt x="7842" y="3448"/>
                  <a:pt x="7842" y="3448"/>
                </a:cubicBezTo>
                <a:cubicBezTo>
                  <a:pt x="7930" y="3312"/>
                  <a:pt x="8375" y="3487"/>
                  <a:pt x="8524" y="3370"/>
                </a:cubicBezTo>
                <a:cubicBezTo>
                  <a:pt x="8672" y="3254"/>
                  <a:pt x="8553" y="3061"/>
                  <a:pt x="8553" y="2905"/>
                </a:cubicBezTo>
                <a:cubicBezTo>
                  <a:pt x="8553" y="2789"/>
                  <a:pt x="8583" y="2673"/>
                  <a:pt x="8524" y="2595"/>
                </a:cubicBezTo>
                <a:cubicBezTo>
                  <a:pt x="8494" y="2556"/>
                  <a:pt x="7515" y="1879"/>
                  <a:pt x="8167" y="1704"/>
                </a:cubicBezTo>
                <a:cubicBezTo>
                  <a:pt x="8316" y="1646"/>
                  <a:pt x="8345" y="2014"/>
                  <a:pt x="8524" y="1975"/>
                </a:cubicBezTo>
                <a:cubicBezTo>
                  <a:pt x="8761" y="1937"/>
                  <a:pt x="8435" y="1491"/>
                  <a:pt x="8791" y="1627"/>
                </a:cubicBezTo>
                <a:cubicBezTo>
                  <a:pt x="9265" y="1801"/>
                  <a:pt x="9295" y="1820"/>
                  <a:pt x="9295" y="1801"/>
                </a:cubicBezTo>
                <a:cubicBezTo>
                  <a:pt x="9384" y="1549"/>
                  <a:pt x="9058" y="1530"/>
                  <a:pt x="9087" y="1278"/>
                </a:cubicBezTo>
                <a:cubicBezTo>
                  <a:pt x="9087" y="1181"/>
                  <a:pt x="9473" y="1395"/>
                  <a:pt x="9532" y="1297"/>
                </a:cubicBezTo>
                <a:cubicBezTo>
                  <a:pt x="9651" y="1162"/>
                  <a:pt x="9384" y="988"/>
                  <a:pt x="9414" y="852"/>
                </a:cubicBezTo>
                <a:cubicBezTo>
                  <a:pt x="9414" y="794"/>
                  <a:pt x="9503" y="949"/>
                  <a:pt x="9592" y="949"/>
                </a:cubicBezTo>
                <a:cubicBezTo>
                  <a:pt x="9800" y="1007"/>
                  <a:pt x="10126" y="1123"/>
                  <a:pt x="10274" y="1007"/>
                </a:cubicBezTo>
                <a:cubicBezTo>
                  <a:pt x="10393" y="910"/>
                  <a:pt x="9977" y="813"/>
                  <a:pt x="9918" y="697"/>
                </a:cubicBezTo>
                <a:cubicBezTo>
                  <a:pt x="9770" y="368"/>
                  <a:pt x="10215" y="619"/>
                  <a:pt x="10215" y="619"/>
                </a:cubicBezTo>
                <a:cubicBezTo>
                  <a:pt x="10274" y="581"/>
                  <a:pt x="10126" y="503"/>
                  <a:pt x="10155" y="465"/>
                </a:cubicBezTo>
                <a:cubicBezTo>
                  <a:pt x="10215" y="445"/>
                  <a:pt x="10363" y="542"/>
                  <a:pt x="10363" y="503"/>
                </a:cubicBezTo>
                <a:cubicBezTo>
                  <a:pt x="10363" y="445"/>
                  <a:pt x="10155" y="406"/>
                  <a:pt x="10185" y="348"/>
                </a:cubicBezTo>
                <a:cubicBezTo>
                  <a:pt x="10215" y="213"/>
                  <a:pt x="10393" y="115"/>
                  <a:pt x="10511" y="0"/>
                </a:cubicBezTo>
                <a:close/>
                <a:moveTo>
                  <a:pt x="7544" y="13851"/>
                </a:moveTo>
                <a:cubicBezTo>
                  <a:pt x="7456" y="13889"/>
                  <a:pt x="7366" y="13909"/>
                  <a:pt x="7277" y="13909"/>
                </a:cubicBezTo>
                <a:cubicBezTo>
                  <a:pt x="7189" y="13909"/>
                  <a:pt x="7366" y="13832"/>
                  <a:pt x="7337" y="13792"/>
                </a:cubicBezTo>
                <a:cubicBezTo>
                  <a:pt x="7159" y="13386"/>
                  <a:pt x="6714" y="13308"/>
                  <a:pt x="7456" y="13153"/>
                </a:cubicBezTo>
                <a:moveTo>
                  <a:pt x="7456" y="13153"/>
                </a:moveTo>
                <a:cubicBezTo>
                  <a:pt x="7989" y="13425"/>
                  <a:pt x="8435" y="13579"/>
                  <a:pt x="7871" y="13754"/>
                </a:cubicBezTo>
              </a:path>
            </a:pathLst>
          </a:custGeom>
          <a:solidFill>
            <a:schemeClr val="accent3"/>
          </a:solidFill>
          <a:ln w="25400" cap="flat" cmpd="sng">
            <a:solidFill>
              <a:srgbClr val="EEEEEE"/>
            </a:solidFill>
            <a:prstDash val="solid"/>
            <a:miter lim="0"/>
            <a:headEnd/>
            <a:tailEnd/>
          </a:ln>
          <a:effectLs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sp>
        <p:nvSpPr>
          <p:cNvPr id="95269" name="AutoShape 37"/>
          <p:cNvSpPr>
            <a:spLocks/>
          </p:cNvSpPr>
          <p:nvPr/>
        </p:nvSpPr>
        <p:spPr bwMode="auto">
          <a:xfrm>
            <a:off x="16903700" y="6464300"/>
            <a:ext cx="1998663" cy="2660650"/>
          </a:xfrm>
          <a:custGeom>
            <a:avLst/>
            <a:gdLst>
              <a:gd name="T0" fmla="+- 0 10819 204"/>
              <a:gd name="T1" fmla="*/ T0 w 21230"/>
              <a:gd name="T2" fmla="*/ 10739 h 21479"/>
              <a:gd name="T3" fmla="+- 0 10819 204"/>
              <a:gd name="T4" fmla="*/ T3 w 21230"/>
              <a:gd name="T5" fmla="*/ 10739 h 21479"/>
              <a:gd name="T6" fmla="+- 0 10819 204"/>
              <a:gd name="T7" fmla="*/ T6 w 21230"/>
              <a:gd name="T8" fmla="*/ 10739 h 21479"/>
              <a:gd name="T9" fmla="+- 0 10819 204"/>
              <a:gd name="T10" fmla="*/ T9 w 21230"/>
              <a:gd name="T11" fmla="*/ 10739 h 21479"/>
            </a:gdLst>
            <a:ahLst/>
            <a:cxnLst>
              <a:cxn ang="0">
                <a:pos x="T1" y="T2"/>
              </a:cxn>
              <a:cxn ang="0">
                <a:pos x="T4" y="T5"/>
              </a:cxn>
              <a:cxn ang="0">
                <a:pos x="T7" y="T8"/>
              </a:cxn>
              <a:cxn ang="0">
                <a:pos x="T10" y="T11"/>
              </a:cxn>
            </a:cxnLst>
            <a:rect l="0" t="0" r="r" b="b"/>
            <a:pathLst>
              <a:path w="21230" h="21479">
                <a:moveTo>
                  <a:pt x="16412" y="1498"/>
                </a:moveTo>
                <a:cubicBezTo>
                  <a:pt x="16467" y="1305"/>
                  <a:pt x="16355" y="1070"/>
                  <a:pt x="16439" y="877"/>
                </a:cubicBezTo>
                <a:cubicBezTo>
                  <a:pt x="16524" y="685"/>
                  <a:pt x="17368" y="1241"/>
                  <a:pt x="17199" y="1049"/>
                </a:cubicBezTo>
                <a:cubicBezTo>
                  <a:pt x="17086" y="920"/>
                  <a:pt x="16721" y="984"/>
                  <a:pt x="16636" y="835"/>
                </a:cubicBezTo>
                <a:cubicBezTo>
                  <a:pt x="16608" y="706"/>
                  <a:pt x="16861" y="599"/>
                  <a:pt x="16974" y="492"/>
                </a:cubicBezTo>
                <a:cubicBezTo>
                  <a:pt x="17086" y="428"/>
                  <a:pt x="16890" y="749"/>
                  <a:pt x="17003" y="770"/>
                </a:cubicBezTo>
                <a:cubicBezTo>
                  <a:pt x="17199" y="813"/>
                  <a:pt x="17396" y="749"/>
                  <a:pt x="17566" y="792"/>
                </a:cubicBezTo>
                <a:cubicBezTo>
                  <a:pt x="17735" y="835"/>
                  <a:pt x="17341" y="1006"/>
                  <a:pt x="17396" y="1135"/>
                </a:cubicBezTo>
                <a:cubicBezTo>
                  <a:pt x="17453" y="1284"/>
                  <a:pt x="17707" y="1305"/>
                  <a:pt x="17791" y="1455"/>
                </a:cubicBezTo>
                <a:cubicBezTo>
                  <a:pt x="17847" y="1498"/>
                  <a:pt x="17481" y="1712"/>
                  <a:pt x="17031" y="1798"/>
                </a:cubicBezTo>
                <a:cubicBezTo>
                  <a:pt x="16805" y="1862"/>
                  <a:pt x="16608" y="1606"/>
                  <a:pt x="16412" y="1498"/>
                </a:cubicBezTo>
                <a:close/>
                <a:moveTo>
                  <a:pt x="18974" y="3146"/>
                </a:moveTo>
                <a:cubicBezTo>
                  <a:pt x="19030" y="3489"/>
                  <a:pt x="19481" y="4153"/>
                  <a:pt x="19537" y="4367"/>
                </a:cubicBezTo>
                <a:cubicBezTo>
                  <a:pt x="19621" y="4880"/>
                  <a:pt x="18720" y="5223"/>
                  <a:pt x="18917" y="5630"/>
                </a:cubicBezTo>
                <a:cubicBezTo>
                  <a:pt x="19030" y="5887"/>
                  <a:pt x="20100" y="5994"/>
                  <a:pt x="20100" y="6314"/>
                </a:cubicBezTo>
                <a:cubicBezTo>
                  <a:pt x="20100" y="6636"/>
                  <a:pt x="19762" y="6743"/>
                  <a:pt x="20016" y="6979"/>
                </a:cubicBezTo>
                <a:cubicBezTo>
                  <a:pt x="20100" y="7085"/>
                  <a:pt x="20297" y="7128"/>
                  <a:pt x="20354" y="7256"/>
                </a:cubicBezTo>
                <a:cubicBezTo>
                  <a:pt x="20438" y="7363"/>
                  <a:pt x="20325" y="7514"/>
                  <a:pt x="20354" y="7620"/>
                </a:cubicBezTo>
                <a:cubicBezTo>
                  <a:pt x="20381" y="7686"/>
                  <a:pt x="20495" y="7664"/>
                  <a:pt x="20522" y="7706"/>
                </a:cubicBezTo>
                <a:cubicBezTo>
                  <a:pt x="20663" y="7856"/>
                  <a:pt x="20325" y="8220"/>
                  <a:pt x="20241" y="8349"/>
                </a:cubicBezTo>
                <a:cubicBezTo>
                  <a:pt x="20072" y="8541"/>
                  <a:pt x="20495" y="8648"/>
                  <a:pt x="20579" y="8841"/>
                </a:cubicBezTo>
                <a:cubicBezTo>
                  <a:pt x="20635" y="8948"/>
                  <a:pt x="20438" y="9076"/>
                  <a:pt x="20522" y="9162"/>
                </a:cubicBezTo>
                <a:cubicBezTo>
                  <a:pt x="20635" y="9291"/>
                  <a:pt x="20889" y="9247"/>
                  <a:pt x="21001" y="9333"/>
                </a:cubicBezTo>
                <a:cubicBezTo>
                  <a:pt x="21396" y="9611"/>
                  <a:pt x="21226" y="11174"/>
                  <a:pt x="20889" y="11218"/>
                </a:cubicBezTo>
                <a:cubicBezTo>
                  <a:pt x="20522" y="11281"/>
                  <a:pt x="19931" y="10104"/>
                  <a:pt x="19621" y="10768"/>
                </a:cubicBezTo>
                <a:cubicBezTo>
                  <a:pt x="19565" y="10875"/>
                  <a:pt x="20072" y="10960"/>
                  <a:pt x="19960" y="11024"/>
                </a:cubicBezTo>
                <a:cubicBezTo>
                  <a:pt x="19621" y="11238"/>
                  <a:pt x="19143" y="11260"/>
                  <a:pt x="18805" y="11410"/>
                </a:cubicBezTo>
                <a:cubicBezTo>
                  <a:pt x="18748" y="11431"/>
                  <a:pt x="18805" y="11538"/>
                  <a:pt x="18748" y="11560"/>
                </a:cubicBezTo>
                <a:cubicBezTo>
                  <a:pt x="18523" y="11645"/>
                  <a:pt x="18213" y="11516"/>
                  <a:pt x="18044" y="11623"/>
                </a:cubicBezTo>
                <a:cubicBezTo>
                  <a:pt x="17903" y="11710"/>
                  <a:pt x="17960" y="11881"/>
                  <a:pt x="17819" y="11966"/>
                </a:cubicBezTo>
                <a:cubicBezTo>
                  <a:pt x="17762" y="12009"/>
                  <a:pt x="17707" y="11859"/>
                  <a:pt x="17622" y="11881"/>
                </a:cubicBezTo>
                <a:cubicBezTo>
                  <a:pt x="17368" y="11924"/>
                  <a:pt x="17341" y="12180"/>
                  <a:pt x="17171" y="12266"/>
                </a:cubicBezTo>
                <a:cubicBezTo>
                  <a:pt x="17086" y="12331"/>
                  <a:pt x="16918" y="12223"/>
                  <a:pt x="16833" y="12287"/>
                </a:cubicBezTo>
                <a:cubicBezTo>
                  <a:pt x="16749" y="12331"/>
                  <a:pt x="16833" y="12459"/>
                  <a:pt x="16749" y="12523"/>
                </a:cubicBezTo>
                <a:cubicBezTo>
                  <a:pt x="16636" y="12630"/>
                  <a:pt x="16326" y="12437"/>
                  <a:pt x="16242" y="12437"/>
                </a:cubicBezTo>
                <a:cubicBezTo>
                  <a:pt x="15538" y="12523"/>
                  <a:pt x="15425" y="12930"/>
                  <a:pt x="15200" y="13272"/>
                </a:cubicBezTo>
                <a:cubicBezTo>
                  <a:pt x="15144" y="13357"/>
                  <a:pt x="15144" y="13058"/>
                  <a:pt x="15031" y="12994"/>
                </a:cubicBezTo>
                <a:cubicBezTo>
                  <a:pt x="14947" y="12909"/>
                  <a:pt x="14777" y="12887"/>
                  <a:pt x="14637" y="12865"/>
                </a:cubicBezTo>
                <a:cubicBezTo>
                  <a:pt x="14383" y="12823"/>
                  <a:pt x="14918" y="13508"/>
                  <a:pt x="15482" y="13785"/>
                </a:cubicBezTo>
                <a:cubicBezTo>
                  <a:pt x="15538" y="13807"/>
                  <a:pt x="15735" y="13829"/>
                  <a:pt x="15763" y="13957"/>
                </a:cubicBezTo>
                <a:cubicBezTo>
                  <a:pt x="15848" y="14257"/>
                  <a:pt x="15482" y="14150"/>
                  <a:pt x="15425" y="14385"/>
                </a:cubicBezTo>
                <a:cubicBezTo>
                  <a:pt x="15397" y="14449"/>
                  <a:pt x="16017" y="15242"/>
                  <a:pt x="16101" y="15306"/>
                </a:cubicBezTo>
                <a:cubicBezTo>
                  <a:pt x="16580" y="15670"/>
                  <a:pt x="16692" y="15413"/>
                  <a:pt x="17003" y="15648"/>
                </a:cubicBezTo>
                <a:cubicBezTo>
                  <a:pt x="17199" y="15798"/>
                  <a:pt x="17228" y="16034"/>
                  <a:pt x="17425" y="16162"/>
                </a:cubicBezTo>
                <a:cubicBezTo>
                  <a:pt x="17875" y="16397"/>
                  <a:pt x="19086" y="16719"/>
                  <a:pt x="19058" y="17275"/>
                </a:cubicBezTo>
                <a:cubicBezTo>
                  <a:pt x="19030" y="17853"/>
                  <a:pt x="18861" y="17725"/>
                  <a:pt x="18270" y="17618"/>
                </a:cubicBezTo>
                <a:cubicBezTo>
                  <a:pt x="18213" y="17618"/>
                  <a:pt x="18157" y="17640"/>
                  <a:pt x="18129" y="17682"/>
                </a:cubicBezTo>
                <a:cubicBezTo>
                  <a:pt x="18072" y="17896"/>
                  <a:pt x="18242" y="18132"/>
                  <a:pt x="17960" y="18303"/>
                </a:cubicBezTo>
                <a:cubicBezTo>
                  <a:pt x="17707" y="18453"/>
                  <a:pt x="16524" y="18667"/>
                  <a:pt x="16496" y="19009"/>
                </a:cubicBezTo>
                <a:cubicBezTo>
                  <a:pt x="16496" y="19009"/>
                  <a:pt x="17171" y="19716"/>
                  <a:pt x="17171" y="19737"/>
                </a:cubicBezTo>
                <a:cubicBezTo>
                  <a:pt x="17199" y="19759"/>
                  <a:pt x="16805" y="20015"/>
                  <a:pt x="16946" y="20101"/>
                </a:cubicBezTo>
                <a:cubicBezTo>
                  <a:pt x="17256" y="20315"/>
                  <a:pt x="17566" y="19994"/>
                  <a:pt x="17312" y="20701"/>
                </a:cubicBezTo>
                <a:cubicBezTo>
                  <a:pt x="17312" y="20744"/>
                  <a:pt x="17256" y="20807"/>
                  <a:pt x="17199" y="20807"/>
                </a:cubicBezTo>
                <a:cubicBezTo>
                  <a:pt x="16298" y="20615"/>
                  <a:pt x="17003" y="20272"/>
                  <a:pt x="16580" y="20251"/>
                </a:cubicBezTo>
                <a:cubicBezTo>
                  <a:pt x="16355" y="20251"/>
                  <a:pt x="16157" y="20401"/>
                  <a:pt x="15932" y="20380"/>
                </a:cubicBezTo>
                <a:cubicBezTo>
                  <a:pt x="15820" y="20359"/>
                  <a:pt x="15848" y="20208"/>
                  <a:pt x="15763" y="20187"/>
                </a:cubicBezTo>
                <a:cubicBezTo>
                  <a:pt x="15594" y="20144"/>
                  <a:pt x="15425" y="20251"/>
                  <a:pt x="15284" y="20208"/>
                </a:cubicBezTo>
                <a:cubicBezTo>
                  <a:pt x="15228" y="20187"/>
                  <a:pt x="15341" y="20058"/>
                  <a:pt x="15284" y="20058"/>
                </a:cubicBezTo>
                <a:cubicBezTo>
                  <a:pt x="14947" y="20080"/>
                  <a:pt x="15257" y="20422"/>
                  <a:pt x="15172" y="20443"/>
                </a:cubicBezTo>
                <a:cubicBezTo>
                  <a:pt x="14777" y="20529"/>
                  <a:pt x="14130" y="20401"/>
                  <a:pt x="13764" y="20508"/>
                </a:cubicBezTo>
                <a:cubicBezTo>
                  <a:pt x="13651" y="20551"/>
                  <a:pt x="13708" y="20701"/>
                  <a:pt x="13595" y="20744"/>
                </a:cubicBezTo>
                <a:cubicBezTo>
                  <a:pt x="13482" y="20807"/>
                  <a:pt x="13341" y="20701"/>
                  <a:pt x="13228" y="20765"/>
                </a:cubicBezTo>
                <a:cubicBezTo>
                  <a:pt x="13144" y="20786"/>
                  <a:pt x="13257" y="20893"/>
                  <a:pt x="13200" y="20936"/>
                </a:cubicBezTo>
                <a:cubicBezTo>
                  <a:pt x="13172" y="20957"/>
                  <a:pt x="12214" y="21150"/>
                  <a:pt x="12102" y="21107"/>
                </a:cubicBezTo>
                <a:cubicBezTo>
                  <a:pt x="12046" y="21065"/>
                  <a:pt x="12102" y="20957"/>
                  <a:pt x="12046" y="20914"/>
                </a:cubicBezTo>
                <a:cubicBezTo>
                  <a:pt x="12018" y="20871"/>
                  <a:pt x="11877" y="20871"/>
                  <a:pt x="11849" y="20829"/>
                </a:cubicBezTo>
                <a:cubicBezTo>
                  <a:pt x="11820" y="20786"/>
                  <a:pt x="11990" y="20807"/>
                  <a:pt x="11961" y="20765"/>
                </a:cubicBezTo>
                <a:cubicBezTo>
                  <a:pt x="11849" y="20487"/>
                  <a:pt x="11060" y="20829"/>
                  <a:pt x="10835" y="20636"/>
                </a:cubicBezTo>
                <a:cubicBezTo>
                  <a:pt x="10835" y="20636"/>
                  <a:pt x="10891" y="20615"/>
                  <a:pt x="10891" y="20593"/>
                </a:cubicBezTo>
                <a:cubicBezTo>
                  <a:pt x="10722" y="20508"/>
                  <a:pt x="10891" y="20871"/>
                  <a:pt x="10835" y="21022"/>
                </a:cubicBezTo>
                <a:cubicBezTo>
                  <a:pt x="10835" y="21107"/>
                  <a:pt x="10300" y="21599"/>
                  <a:pt x="10102" y="21450"/>
                </a:cubicBezTo>
                <a:cubicBezTo>
                  <a:pt x="9990" y="21364"/>
                  <a:pt x="10300" y="21236"/>
                  <a:pt x="10215" y="21150"/>
                </a:cubicBezTo>
                <a:cubicBezTo>
                  <a:pt x="10187" y="21129"/>
                  <a:pt x="10102" y="21215"/>
                  <a:pt x="10046" y="21215"/>
                </a:cubicBezTo>
                <a:cubicBezTo>
                  <a:pt x="9990" y="21215"/>
                  <a:pt x="9905" y="21193"/>
                  <a:pt x="9877" y="21150"/>
                </a:cubicBezTo>
                <a:cubicBezTo>
                  <a:pt x="9821" y="21086"/>
                  <a:pt x="10018" y="21001"/>
                  <a:pt x="9877" y="20914"/>
                </a:cubicBezTo>
                <a:cubicBezTo>
                  <a:pt x="9764" y="20850"/>
                  <a:pt x="9708" y="20744"/>
                  <a:pt x="9596" y="20701"/>
                </a:cubicBezTo>
                <a:cubicBezTo>
                  <a:pt x="9511" y="20658"/>
                  <a:pt x="9398" y="20765"/>
                  <a:pt x="9286" y="20744"/>
                </a:cubicBezTo>
                <a:cubicBezTo>
                  <a:pt x="9229" y="20701"/>
                  <a:pt x="9286" y="20593"/>
                  <a:pt x="9229" y="20551"/>
                </a:cubicBezTo>
                <a:cubicBezTo>
                  <a:pt x="9089" y="20465"/>
                  <a:pt x="9117" y="20850"/>
                  <a:pt x="8666" y="20744"/>
                </a:cubicBezTo>
                <a:cubicBezTo>
                  <a:pt x="8357" y="20658"/>
                  <a:pt x="8160" y="20422"/>
                  <a:pt x="7850" y="20359"/>
                </a:cubicBezTo>
                <a:cubicBezTo>
                  <a:pt x="7822" y="20359"/>
                  <a:pt x="6892" y="20401"/>
                  <a:pt x="6892" y="20401"/>
                </a:cubicBezTo>
                <a:cubicBezTo>
                  <a:pt x="6780" y="20359"/>
                  <a:pt x="6780" y="20208"/>
                  <a:pt x="6667" y="20165"/>
                </a:cubicBezTo>
                <a:cubicBezTo>
                  <a:pt x="6639" y="20122"/>
                  <a:pt x="6723" y="20272"/>
                  <a:pt x="6667" y="20294"/>
                </a:cubicBezTo>
                <a:cubicBezTo>
                  <a:pt x="6610" y="20315"/>
                  <a:pt x="6498" y="20294"/>
                  <a:pt x="6470" y="20251"/>
                </a:cubicBezTo>
                <a:cubicBezTo>
                  <a:pt x="6441" y="20187"/>
                  <a:pt x="6582" y="20101"/>
                  <a:pt x="6526" y="20058"/>
                </a:cubicBezTo>
                <a:cubicBezTo>
                  <a:pt x="6104" y="19737"/>
                  <a:pt x="5625" y="20315"/>
                  <a:pt x="5710" y="20336"/>
                </a:cubicBezTo>
                <a:cubicBezTo>
                  <a:pt x="5878" y="20359"/>
                  <a:pt x="6047" y="20315"/>
                  <a:pt x="6216" y="20336"/>
                </a:cubicBezTo>
                <a:cubicBezTo>
                  <a:pt x="6329" y="20359"/>
                  <a:pt x="6019" y="20380"/>
                  <a:pt x="5935" y="20422"/>
                </a:cubicBezTo>
                <a:cubicBezTo>
                  <a:pt x="5878" y="20443"/>
                  <a:pt x="5963" y="20551"/>
                  <a:pt x="5935" y="20572"/>
                </a:cubicBezTo>
                <a:cubicBezTo>
                  <a:pt x="5231" y="20850"/>
                  <a:pt x="5737" y="20443"/>
                  <a:pt x="5175" y="20465"/>
                </a:cubicBezTo>
                <a:cubicBezTo>
                  <a:pt x="5090" y="20465"/>
                  <a:pt x="3794" y="20701"/>
                  <a:pt x="3710" y="20572"/>
                </a:cubicBezTo>
                <a:cubicBezTo>
                  <a:pt x="3681" y="20529"/>
                  <a:pt x="3878" y="20508"/>
                  <a:pt x="3850" y="20487"/>
                </a:cubicBezTo>
                <a:cubicBezTo>
                  <a:pt x="3597" y="20336"/>
                  <a:pt x="3485" y="20979"/>
                  <a:pt x="3485" y="20230"/>
                </a:cubicBezTo>
                <a:cubicBezTo>
                  <a:pt x="3456" y="19930"/>
                  <a:pt x="3738" y="19652"/>
                  <a:pt x="3766" y="19352"/>
                </a:cubicBezTo>
                <a:cubicBezTo>
                  <a:pt x="3766" y="19309"/>
                  <a:pt x="3654" y="19309"/>
                  <a:pt x="3654" y="19244"/>
                </a:cubicBezTo>
                <a:cubicBezTo>
                  <a:pt x="3625" y="19138"/>
                  <a:pt x="3681" y="19031"/>
                  <a:pt x="3738" y="18924"/>
                </a:cubicBezTo>
                <a:lnTo>
                  <a:pt x="4133" y="18431"/>
                </a:lnTo>
                <a:cubicBezTo>
                  <a:pt x="4160" y="18303"/>
                  <a:pt x="4189" y="17832"/>
                  <a:pt x="4273" y="17682"/>
                </a:cubicBezTo>
                <a:cubicBezTo>
                  <a:pt x="4498" y="17339"/>
                  <a:pt x="5062" y="17082"/>
                  <a:pt x="5371" y="16676"/>
                </a:cubicBezTo>
                <a:cubicBezTo>
                  <a:pt x="5484" y="16526"/>
                  <a:pt x="3794" y="16376"/>
                  <a:pt x="3681" y="16312"/>
                </a:cubicBezTo>
                <a:cubicBezTo>
                  <a:pt x="3597" y="16248"/>
                  <a:pt x="3654" y="16119"/>
                  <a:pt x="3569" y="16055"/>
                </a:cubicBezTo>
                <a:cubicBezTo>
                  <a:pt x="3428" y="15970"/>
                  <a:pt x="2527" y="16248"/>
                  <a:pt x="2471" y="16183"/>
                </a:cubicBezTo>
                <a:cubicBezTo>
                  <a:pt x="2443" y="16119"/>
                  <a:pt x="2555" y="16034"/>
                  <a:pt x="2499" y="15991"/>
                </a:cubicBezTo>
                <a:cubicBezTo>
                  <a:pt x="1654" y="15413"/>
                  <a:pt x="2217" y="16291"/>
                  <a:pt x="1879" y="16012"/>
                </a:cubicBezTo>
                <a:cubicBezTo>
                  <a:pt x="1597" y="15798"/>
                  <a:pt x="1457" y="15306"/>
                  <a:pt x="1232" y="15199"/>
                </a:cubicBezTo>
                <a:cubicBezTo>
                  <a:pt x="1147" y="15135"/>
                  <a:pt x="978" y="15199"/>
                  <a:pt x="922" y="15135"/>
                </a:cubicBezTo>
                <a:cubicBezTo>
                  <a:pt x="612" y="14707"/>
                  <a:pt x="1738" y="14535"/>
                  <a:pt x="1345" y="14171"/>
                </a:cubicBezTo>
                <a:cubicBezTo>
                  <a:pt x="1288" y="14107"/>
                  <a:pt x="612" y="14064"/>
                  <a:pt x="472" y="13615"/>
                </a:cubicBezTo>
                <a:cubicBezTo>
                  <a:pt x="218" y="12823"/>
                  <a:pt x="1513" y="12865"/>
                  <a:pt x="1119" y="12373"/>
                </a:cubicBezTo>
                <a:cubicBezTo>
                  <a:pt x="1034" y="12266"/>
                  <a:pt x="781" y="12287"/>
                  <a:pt x="724" y="12158"/>
                </a:cubicBezTo>
                <a:cubicBezTo>
                  <a:pt x="697" y="12073"/>
                  <a:pt x="922" y="11987"/>
                  <a:pt x="893" y="11902"/>
                </a:cubicBezTo>
                <a:cubicBezTo>
                  <a:pt x="893" y="11838"/>
                  <a:pt x="724" y="11924"/>
                  <a:pt x="669" y="11881"/>
                </a:cubicBezTo>
                <a:cubicBezTo>
                  <a:pt x="640" y="11859"/>
                  <a:pt x="246" y="11410"/>
                  <a:pt x="274" y="11345"/>
                </a:cubicBezTo>
                <a:cubicBezTo>
                  <a:pt x="302" y="11260"/>
                  <a:pt x="499" y="11260"/>
                  <a:pt x="527" y="11174"/>
                </a:cubicBezTo>
                <a:cubicBezTo>
                  <a:pt x="612" y="10810"/>
                  <a:pt x="-204" y="10682"/>
                  <a:pt x="49" y="10639"/>
                </a:cubicBezTo>
                <a:cubicBezTo>
                  <a:pt x="133" y="10617"/>
                  <a:pt x="190" y="10703"/>
                  <a:pt x="246" y="10703"/>
                </a:cubicBezTo>
                <a:lnTo>
                  <a:pt x="781" y="10339"/>
                </a:lnTo>
                <a:cubicBezTo>
                  <a:pt x="809" y="10232"/>
                  <a:pt x="443" y="10361"/>
                  <a:pt x="555" y="10190"/>
                </a:cubicBezTo>
                <a:cubicBezTo>
                  <a:pt x="640" y="10039"/>
                  <a:pt x="838" y="9932"/>
                  <a:pt x="922" y="9783"/>
                </a:cubicBezTo>
                <a:cubicBezTo>
                  <a:pt x="1175" y="9312"/>
                  <a:pt x="555" y="8969"/>
                  <a:pt x="387" y="8734"/>
                </a:cubicBezTo>
                <a:cubicBezTo>
                  <a:pt x="359" y="8691"/>
                  <a:pt x="415" y="8627"/>
                  <a:pt x="443" y="8584"/>
                </a:cubicBezTo>
                <a:cubicBezTo>
                  <a:pt x="443" y="8541"/>
                  <a:pt x="387" y="8477"/>
                  <a:pt x="443" y="8455"/>
                </a:cubicBezTo>
                <a:cubicBezTo>
                  <a:pt x="584" y="8392"/>
                  <a:pt x="753" y="8455"/>
                  <a:pt x="922" y="8412"/>
                </a:cubicBezTo>
                <a:cubicBezTo>
                  <a:pt x="978" y="8392"/>
                  <a:pt x="866" y="8263"/>
                  <a:pt x="922" y="8284"/>
                </a:cubicBezTo>
                <a:cubicBezTo>
                  <a:pt x="1091" y="8327"/>
                  <a:pt x="1203" y="8477"/>
                  <a:pt x="1401" y="8477"/>
                </a:cubicBezTo>
                <a:cubicBezTo>
                  <a:pt x="1597" y="8498"/>
                  <a:pt x="2358" y="8305"/>
                  <a:pt x="2443" y="8155"/>
                </a:cubicBezTo>
                <a:cubicBezTo>
                  <a:pt x="2527" y="8006"/>
                  <a:pt x="1907" y="7985"/>
                  <a:pt x="2162" y="7856"/>
                </a:cubicBezTo>
                <a:cubicBezTo>
                  <a:pt x="2612" y="7620"/>
                  <a:pt x="3147" y="7535"/>
                  <a:pt x="3034" y="7000"/>
                </a:cubicBezTo>
                <a:cubicBezTo>
                  <a:pt x="3006" y="6700"/>
                  <a:pt x="1964" y="6828"/>
                  <a:pt x="2217" y="6507"/>
                </a:cubicBezTo>
                <a:cubicBezTo>
                  <a:pt x="2245" y="6443"/>
                  <a:pt x="2386" y="6507"/>
                  <a:pt x="2386" y="6464"/>
                </a:cubicBezTo>
                <a:cubicBezTo>
                  <a:pt x="2415" y="6401"/>
                  <a:pt x="2274" y="6336"/>
                  <a:pt x="2302" y="6272"/>
                </a:cubicBezTo>
                <a:cubicBezTo>
                  <a:pt x="2302" y="6229"/>
                  <a:pt x="2386" y="6229"/>
                  <a:pt x="2443" y="6229"/>
                </a:cubicBezTo>
                <a:cubicBezTo>
                  <a:pt x="2640" y="6229"/>
                  <a:pt x="2809" y="6293"/>
                  <a:pt x="3006" y="6293"/>
                </a:cubicBezTo>
                <a:cubicBezTo>
                  <a:pt x="3231" y="6293"/>
                  <a:pt x="3034" y="5951"/>
                  <a:pt x="3118" y="5780"/>
                </a:cubicBezTo>
                <a:cubicBezTo>
                  <a:pt x="3175" y="5630"/>
                  <a:pt x="3654" y="4944"/>
                  <a:pt x="3597" y="4580"/>
                </a:cubicBezTo>
                <a:cubicBezTo>
                  <a:pt x="3681" y="4559"/>
                  <a:pt x="3766" y="4516"/>
                  <a:pt x="3850" y="4431"/>
                </a:cubicBezTo>
                <a:cubicBezTo>
                  <a:pt x="3963" y="4345"/>
                  <a:pt x="3710" y="4388"/>
                  <a:pt x="3456" y="4388"/>
                </a:cubicBezTo>
                <a:cubicBezTo>
                  <a:pt x="3400" y="4345"/>
                  <a:pt x="3316" y="4367"/>
                  <a:pt x="3259" y="4367"/>
                </a:cubicBezTo>
                <a:cubicBezTo>
                  <a:pt x="3203" y="4367"/>
                  <a:pt x="3175" y="4345"/>
                  <a:pt x="3147" y="4324"/>
                </a:cubicBezTo>
                <a:cubicBezTo>
                  <a:pt x="2921" y="4110"/>
                  <a:pt x="3541" y="3446"/>
                  <a:pt x="3766" y="3361"/>
                </a:cubicBezTo>
                <a:cubicBezTo>
                  <a:pt x="3907" y="3296"/>
                  <a:pt x="4076" y="3425"/>
                  <a:pt x="4217" y="3425"/>
                </a:cubicBezTo>
                <a:cubicBezTo>
                  <a:pt x="6329" y="3361"/>
                  <a:pt x="2020" y="3232"/>
                  <a:pt x="5231" y="3296"/>
                </a:cubicBezTo>
                <a:cubicBezTo>
                  <a:pt x="5259" y="3296"/>
                  <a:pt x="5343" y="3318"/>
                  <a:pt x="5371" y="3339"/>
                </a:cubicBezTo>
                <a:cubicBezTo>
                  <a:pt x="5541" y="3575"/>
                  <a:pt x="5653" y="4559"/>
                  <a:pt x="6357" y="4345"/>
                </a:cubicBezTo>
                <a:cubicBezTo>
                  <a:pt x="6582" y="4281"/>
                  <a:pt x="6132" y="2803"/>
                  <a:pt x="6780" y="2803"/>
                </a:cubicBezTo>
                <a:cubicBezTo>
                  <a:pt x="6836" y="2803"/>
                  <a:pt x="6836" y="2932"/>
                  <a:pt x="6920" y="2954"/>
                </a:cubicBezTo>
                <a:cubicBezTo>
                  <a:pt x="7005" y="2997"/>
                  <a:pt x="7146" y="2997"/>
                  <a:pt x="7258" y="2997"/>
                </a:cubicBezTo>
                <a:cubicBezTo>
                  <a:pt x="7540" y="3039"/>
                  <a:pt x="7850" y="2825"/>
                  <a:pt x="8103" y="2911"/>
                </a:cubicBezTo>
                <a:cubicBezTo>
                  <a:pt x="8300" y="2975"/>
                  <a:pt x="8300" y="3189"/>
                  <a:pt x="8413" y="3318"/>
                </a:cubicBezTo>
                <a:cubicBezTo>
                  <a:pt x="8554" y="3489"/>
                  <a:pt x="9314" y="4580"/>
                  <a:pt x="9314" y="3853"/>
                </a:cubicBezTo>
                <a:cubicBezTo>
                  <a:pt x="9314" y="3703"/>
                  <a:pt x="8892" y="3745"/>
                  <a:pt x="8723" y="3617"/>
                </a:cubicBezTo>
                <a:cubicBezTo>
                  <a:pt x="8441" y="3425"/>
                  <a:pt x="8498" y="2932"/>
                  <a:pt x="7962" y="2868"/>
                </a:cubicBezTo>
                <a:cubicBezTo>
                  <a:pt x="7878" y="2868"/>
                  <a:pt x="7230" y="2975"/>
                  <a:pt x="7287" y="2675"/>
                </a:cubicBezTo>
                <a:cubicBezTo>
                  <a:pt x="7315" y="2483"/>
                  <a:pt x="7709" y="1883"/>
                  <a:pt x="7455" y="1648"/>
                </a:cubicBezTo>
                <a:cubicBezTo>
                  <a:pt x="7371" y="1584"/>
                  <a:pt x="6751" y="1819"/>
                  <a:pt x="6667" y="1584"/>
                </a:cubicBezTo>
                <a:cubicBezTo>
                  <a:pt x="6639" y="1541"/>
                  <a:pt x="6836" y="1584"/>
                  <a:pt x="6864" y="1541"/>
                </a:cubicBezTo>
                <a:cubicBezTo>
                  <a:pt x="6920" y="1498"/>
                  <a:pt x="6667" y="1412"/>
                  <a:pt x="6723" y="1412"/>
                </a:cubicBezTo>
                <a:cubicBezTo>
                  <a:pt x="7005" y="1348"/>
                  <a:pt x="7484" y="1562"/>
                  <a:pt x="7568" y="1135"/>
                </a:cubicBezTo>
                <a:cubicBezTo>
                  <a:pt x="7568" y="1091"/>
                  <a:pt x="6920" y="557"/>
                  <a:pt x="6864" y="470"/>
                </a:cubicBezTo>
                <a:cubicBezTo>
                  <a:pt x="6780" y="320"/>
                  <a:pt x="6751" y="149"/>
                  <a:pt x="6751" y="0"/>
                </a:cubicBezTo>
                <a:cubicBezTo>
                  <a:pt x="6949" y="21"/>
                  <a:pt x="7287" y="0"/>
                  <a:pt x="7371" y="0"/>
                </a:cubicBezTo>
                <a:cubicBezTo>
                  <a:pt x="7737" y="42"/>
                  <a:pt x="8103" y="192"/>
                  <a:pt x="8469" y="235"/>
                </a:cubicBezTo>
                <a:cubicBezTo>
                  <a:pt x="8441" y="299"/>
                  <a:pt x="8441" y="320"/>
                  <a:pt x="8498" y="299"/>
                </a:cubicBezTo>
                <a:cubicBezTo>
                  <a:pt x="8610" y="235"/>
                  <a:pt x="8666" y="128"/>
                  <a:pt x="8779" y="107"/>
                </a:cubicBezTo>
                <a:cubicBezTo>
                  <a:pt x="8835" y="107"/>
                  <a:pt x="8750" y="213"/>
                  <a:pt x="8779" y="256"/>
                </a:cubicBezTo>
                <a:cubicBezTo>
                  <a:pt x="8863" y="299"/>
                  <a:pt x="8977" y="278"/>
                  <a:pt x="9061" y="299"/>
                </a:cubicBezTo>
                <a:cubicBezTo>
                  <a:pt x="9258" y="320"/>
                  <a:pt x="9455" y="320"/>
                  <a:pt x="9596" y="385"/>
                </a:cubicBezTo>
                <a:cubicBezTo>
                  <a:pt x="9680" y="428"/>
                  <a:pt x="9708" y="513"/>
                  <a:pt x="9708" y="577"/>
                </a:cubicBezTo>
                <a:cubicBezTo>
                  <a:pt x="9708" y="599"/>
                  <a:pt x="9652" y="577"/>
                  <a:pt x="9652" y="577"/>
                </a:cubicBezTo>
                <a:cubicBezTo>
                  <a:pt x="9596" y="599"/>
                  <a:pt x="9483" y="642"/>
                  <a:pt x="9539" y="663"/>
                </a:cubicBezTo>
                <a:cubicBezTo>
                  <a:pt x="9567" y="706"/>
                  <a:pt x="9708" y="621"/>
                  <a:pt x="9737" y="663"/>
                </a:cubicBezTo>
                <a:cubicBezTo>
                  <a:pt x="9821" y="770"/>
                  <a:pt x="9793" y="899"/>
                  <a:pt x="9737" y="1006"/>
                </a:cubicBezTo>
                <a:cubicBezTo>
                  <a:pt x="9680" y="1113"/>
                  <a:pt x="9286" y="1177"/>
                  <a:pt x="9398" y="1284"/>
                </a:cubicBezTo>
                <a:cubicBezTo>
                  <a:pt x="9539" y="1434"/>
                  <a:pt x="10075" y="1049"/>
                  <a:pt x="10102" y="1241"/>
                </a:cubicBezTo>
                <a:cubicBezTo>
                  <a:pt x="10131" y="1370"/>
                  <a:pt x="9821" y="1606"/>
                  <a:pt x="9990" y="1648"/>
                </a:cubicBezTo>
                <a:cubicBezTo>
                  <a:pt x="10187" y="1712"/>
                  <a:pt x="10187" y="1348"/>
                  <a:pt x="10384" y="1327"/>
                </a:cubicBezTo>
                <a:cubicBezTo>
                  <a:pt x="10553" y="1305"/>
                  <a:pt x="11201" y="1734"/>
                  <a:pt x="11342" y="1691"/>
                </a:cubicBezTo>
                <a:cubicBezTo>
                  <a:pt x="11370" y="1691"/>
                  <a:pt x="11933" y="1198"/>
                  <a:pt x="12130" y="1455"/>
                </a:cubicBezTo>
                <a:cubicBezTo>
                  <a:pt x="12524" y="2012"/>
                  <a:pt x="10553" y="2590"/>
                  <a:pt x="11624" y="2675"/>
                </a:cubicBezTo>
                <a:cubicBezTo>
                  <a:pt x="11849" y="2697"/>
                  <a:pt x="12018" y="2483"/>
                  <a:pt x="12243" y="2483"/>
                </a:cubicBezTo>
                <a:cubicBezTo>
                  <a:pt x="12524" y="2505"/>
                  <a:pt x="12214" y="3126"/>
                  <a:pt x="12835" y="2803"/>
                </a:cubicBezTo>
                <a:cubicBezTo>
                  <a:pt x="12975" y="2739"/>
                  <a:pt x="13060" y="2204"/>
                  <a:pt x="13313" y="2097"/>
                </a:cubicBezTo>
                <a:cubicBezTo>
                  <a:pt x="13679" y="1947"/>
                  <a:pt x="14073" y="1883"/>
                  <a:pt x="14243" y="2183"/>
                </a:cubicBezTo>
                <a:cubicBezTo>
                  <a:pt x="14214" y="2119"/>
                  <a:pt x="14186" y="2012"/>
                  <a:pt x="14214" y="1991"/>
                </a:cubicBezTo>
                <a:cubicBezTo>
                  <a:pt x="14383" y="1841"/>
                  <a:pt x="14609" y="1776"/>
                  <a:pt x="14749" y="1648"/>
                </a:cubicBezTo>
                <a:cubicBezTo>
                  <a:pt x="14918" y="1498"/>
                  <a:pt x="14947" y="1263"/>
                  <a:pt x="15115" y="1113"/>
                </a:cubicBezTo>
                <a:cubicBezTo>
                  <a:pt x="15172" y="1070"/>
                  <a:pt x="15538" y="1177"/>
                  <a:pt x="15876" y="1263"/>
                </a:cubicBezTo>
                <a:cubicBezTo>
                  <a:pt x="16017" y="1241"/>
                  <a:pt x="16157" y="1220"/>
                  <a:pt x="16214" y="1220"/>
                </a:cubicBezTo>
                <a:cubicBezTo>
                  <a:pt x="16412" y="1220"/>
                  <a:pt x="16298" y="1520"/>
                  <a:pt x="16412" y="1648"/>
                </a:cubicBezTo>
                <a:cubicBezTo>
                  <a:pt x="16496" y="1734"/>
                  <a:pt x="16692" y="1691"/>
                  <a:pt x="16777" y="1776"/>
                </a:cubicBezTo>
                <a:cubicBezTo>
                  <a:pt x="16946" y="1883"/>
                  <a:pt x="17031" y="2183"/>
                  <a:pt x="17284" y="2162"/>
                </a:cubicBezTo>
                <a:cubicBezTo>
                  <a:pt x="17481" y="2162"/>
                  <a:pt x="17707" y="2055"/>
                  <a:pt x="17932" y="2097"/>
                </a:cubicBezTo>
                <a:cubicBezTo>
                  <a:pt x="18016" y="2119"/>
                  <a:pt x="17819" y="2226"/>
                  <a:pt x="17819" y="2290"/>
                </a:cubicBezTo>
                <a:cubicBezTo>
                  <a:pt x="17847" y="2461"/>
                  <a:pt x="17932" y="2633"/>
                  <a:pt x="18016" y="2803"/>
                </a:cubicBezTo>
                <a:cubicBezTo>
                  <a:pt x="18101" y="2975"/>
                  <a:pt x="18382" y="3039"/>
                  <a:pt x="18607" y="3103"/>
                </a:cubicBezTo>
                <a:cubicBezTo>
                  <a:pt x="18777" y="3146"/>
                  <a:pt x="18889" y="3167"/>
                  <a:pt x="18974" y="3146"/>
                </a:cubicBezTo>
                <a:close/>
              </a:path>
            </a:pathLst>
          </a:custGeom>
          <a:solidFill>
            <a:schemeClr val="accent2"/>
          </a:solidFill>
          <a:ln w="25400" cap="flat" cmpd="sng">
            <a:solidFill>
              <a:srgbClr val="EEEEEE"/>
            </a:solidFill>
            <a:prstDash val="solid"/>
            <a:miter lim="0"/>
            <a:headEnd/>
            <a:tailEnd/>
          </a:ln>
          <a:effectLs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sp>
        <p:nvSpPr>
          <p:cNvPr id="95274" name="AutoShape 42"/>
          <p:cNvSpPr>
            <a:spLocks/>
          </p:cNvSpPr>
          <p:nvPr/>
        </p:nvSpPr>
        <p:spPr bwMode="auto">
          <a:xfrm>
            <a:off x="16978313" y="9182100"/>
            <a:ext cx="3122612" cy="3570288"/>
          </a:xfrm>
          <a:custGeom>
            <a:avLst/>
            <a:gdLst>
              <a:gd name="T0" fmla="+- 0 10799 53"/>
              <a:gd name="T1" fmla="*/ T0 w 21492"/>
              <a:gd name="T2" fmla="*/ 10779 h 21559"/>
              <a:gd name="T3" fmla="+- 0 10799 53"/>
              <a:gd name="T4" fmla="*/ T3 w 21492"/>
              <a:gd name="T5" fmla="*/ 10779 h 21559"/>
              <a:gd name="T6" fmla="+- 0 10799 53"/>
              <a:gd name="T7" fmla="*/ T6 w 21492"/>
              <a:gd name="T8" fmla="*/ 10779 h 21559"/>
              <a:gd name="T9" fmla="+- 0 10799 53"/>
              <a:gd name="T10" fmla="*/ T9 w 21492"/>
              <a:gd name="T11" fmla="*/ 10779 h 21559"/>
            </a:gdLst>
            <a:ahLst/>
            <a:cxnLst>
              <a:cxn ang="0">
                <a:pos x="T1" y="T2"/>
              </a:cxn>
              <a:cxn ang="0">
                <a:pos x="T4" y="T5"/>
              </a:cxn>
              <a:cxn ang="0">
                <a:pos x="T7" y="T8"/>
              </a:cxn>
              <a:cxn ang="0">
                <a:pos x="T10" y="T11"/>
              </a:cxn>
            </a:cxnLst>
            <a:rect l="0" t="0" r="r" b="b"/>
            <a:pathLst>
              <a:path w="21492" h="21559">
                <a:moveTo>
                  <a:pt x="9916" y="6629"/>
                </a:moveTo>
                <a:cubicBezTo>
                  <a:pt x="9952" y="6580"/>
                  <a:pt x="9952" y="6516"/>
                  <a:pt x="10007" y="6484"/>
                </a:cubicBezTo>
                <a:cubicBezTo>
                  <a:pt x="10153" y="6356"/>
                  <a:pt x="10117" y="6853"/>
                  <a:pt x="9916" y="6629"/>
                </a:cubicBezTo>
                <a:close/>
                <a:moveTo>
                  <a:pt x="11906" y="1056"/>
                </a:moveTo>
                <a:cubicBezTo>
                  <a:pt x="11869" y="1377"/>
                  <a:pt x="11413" y="1312"/>
                  <a:pt x="11377" y="1569"/>
                </a:cubicBezTo>
                <a:cubicBezTo>
                  <a:pt x="11340" y="1761"/>
                  <a:pt x="11760" y="1729"/>
                  <a:pt x="11851" y="1793"/>
                </a:cubicBezTo>
                <a:cubicBezTo>
                  <a:pt x="11979" y="1889"/>
                  <a:pt x="11632" y="2017"/>
                  <a:pt x="11577" y="2161"/>
                </a:cubicBezTo>
                <a:cubicBezTo>
                  <a:pt x="11505" y="2369"/>
                  <a:pt x="11797" y="2145"/>
                  <a:pt x="11833" y="2225"/>
                </a:cubicBezTo>
                <a:cubicBezTo>
                  <a:pt x="11869" y="2306"/>
                  <a:pt x="11669" y="2513"/>
                  <a:pt x="11797" y="2577"/>
                </a:cubicBezTo>
                <a:cubicBezTo>
                  <a:pt x="11979" y="2673"/>
                  <a:pt x="12709" y="3058"/>
                  <a:pt x="12070" y="3026"/>
                </a:cubicBezTo>
                <a:cubicBezTo>
                  <a:pt x="12107" y="2946"/>
                  <a:pt x="12107" y="2882"/>
                  <a:pt x="12034" y="2802"/>
                </a:cubicBezTo>
                <a:cubicBezTo>
                  <a:pt x="11687" y="2513"/>
                  <a:pt x="11705" y="2641"/>
                  <a:pt x="11505" y="2866"/>
                </a:cubicBezTo>
                <a:cubicBezTo>
                  <a:pt x="11522" y="2850"/>
                  <a:pt x="11522" y="2834"/>
                  <a:pt x="11522" y="2834"/>
                </a:cubicBezTo>
                <a:cubicBezTo>
                  <a:pt x="11522" y="2673"/>
                  <a:pt x="11175" y="2641"/>
                  <a:pt x="11011" y="2706"/>
                </a:cubicBezTo>
                <a:cubicBezTo>
                  <a:pt x="10920" y="2754"/>
                  <a:pt x="11011" y="2930"/>
                  <a:pt x="10938" y="2994"/>
                </a:cubicBezTo>
                <a:cubicBezTo>
                  <a:pt x="10865" y="3058"/>
                  <a:pt x="10737" y="3010"/>
                  <a:pt x="10628" y="3042"/>
                </a:cubicBezTo>
                <a:cubicBezTo>
                  <a:pt x="10372" y="3138"/>
                  <a:pt x="10135" y="3394"/>
                  <a:pt x="9843" y="3442"/>
                </a:cubicBezTo>
                <a:cubicBezTo>
                  <a:pt x="9751" y="3458"/>
                  <a:pt x="9660" y="3378"/>
                  <a:pt x="9587" y="3426"/>
                </a:cubicBezTo>
                <a:cubicBezTo>
                  <a:pt x="9514" y="3442"/>
                  <a:pt x="9587" y="3538"/>
                  <a:pt x="9551" y="3602"/>
                </a:cubicBezTo>
                <a:cubicBezTo>
                  <a:pt x="9532" y="3650"/>
                  <a:pt x="9478" y="3714"/>
                  <a:pt x="9441" y="3762"/>
                </a:cubicBezTo>
                <a:cubicBezTo>
                  <a:pt x="9459" y="3746"/>
                  <a:pt x="9459" y="3730"/>
                  <a:pt x="9478" y="3730"/>
                </a:cubicBezTo>
                <a:cubicBezTo>
                  <a:pt x="9569" y="3730"/>
                  <a:pt x="9496" y="3907"/>
                  <a:pt x="9569" y="3938"/>
                </a:cubicBezTo>
                <a:cubicBezTo>
                  <a:pt x="9606" y="3954"/>
                  <a:pt x="9624" y="3842"/>
                  <a:pt x="9660" y="3874"/>
                </a:cubicBezTo>
                <a:cubicBezTo>
                  <a:pt x="9697" y="3938"/>
                  <a:pt x="9770" y="4067"/>
                  <a:pt x="9697" y="4114"/>
                </a:cubicBezTo>
                <a:cubicBezTo>
                  <a:pt x="9660" y="4131"/>
                  <a:pt x="9642" y="4163"/>
                  <a:pt x="9660" y="4195"/>
                </a:cubicBezTo>
                <a:cubicBezTo>
                  <a:pt x="9678" y="4210"/>
                  <a:pt x="9715" y="4178"/>
                  <a:pt x="9751" y="4178"/>
                </a:cubicBezTo>
                <a:cubicBezTo>
                  <a:pt x="9861" y="4258"/>
                  <a:pt x="10044" y="4307"/>
                  <a:pt x="10062" y="4419"/>
                </a:cubicBezTo>
                <a:cubicBezTo>
                  <a:pt x="10172" y="4867"/>
                  <a:pt x="9734" y="4691"/>
                  <a:pt x="9606" y="4963"/>
                </a:cubicBezTo>
                <a:cubicBezTo>
                  <a:pt x="9569" y="5044"/>
                  <a:pt x="9806" y="5908"/>
                  <a:pt x="9861" y="6004"/>
                </a:cubicBezTo>
                <a:cubicBezTo>
                  <a:pt x="9971" y="6164"/>
                  <a:pt x="11249" y="6964"/>
                  <a:pt x="11505" y="7093"/>
                </a:cubicBezTo>
                <a:cubicBezTo>
                  <a:pt x="11760" y="7221"/>
                  <a:pt x="11833" y="7141"/>
                  <a:pt x="12070" y="7317"/>
                </a:cubicBezTo>
                <a:cubicBezTo>
                  <a:pt x="12326" y="7509"/>
                  <a:pt x="12673" y="8774"/>
                  <a:pt x="12874" y="9094"/>
                </a:cubicBezTo>
                <a:cubicBezTo>
                  <a:pt x="13075" y="9431"/>
                  <a:pt x="13495" y="9735"/>
                  <a:pt x="13823" y="9959"/>
                </a:cubicBezTo>
                <a:cubicBezTo>
                  <a:pt x="13933" y="10023"/>
                  <a:pt x="14097" y="10039"/>
                  <a:pt x="14189" y="10119"/>
                </a:cubicBezTo>
                <a:cubicBezTo>
                  <a:pt x="14243" y="10151"/>
                  <a:pt x="14189" y="10247"/>
                  <a:pt x="14225" y="10279"/>
                </a:cubicBezTo>
                <a:cubicBezTo>
                  <a:pt x="14718" y="10728"/>
                  <a:pt x="15649" y="10583"/>
                  <a:pt x="16233" y="10503"/>
                </a:cubicBezTo>
                <a:cubicBezTo>
                  <a:pt x="16361" y="10487"/>
                  <a:pt x="16635" y="10311"/>
                  <a:pt x="16799" y="10471"/>
                </a:cubicBezTo>
                <a:cubicBezTo>
                  <a:pt x="17256" y="10920"/>
                  <a:pt x="15886" y="11080"/>
                  <a:pt x="16580" y="11496"/>
                </a:cubicBezTo>
                <a:cubicBezTo>
                  <a:pt x="17238" y="11880"/>
                  <a:pt x="18150" y="11848"/>
                  <a:pt x="18826" y="12152"/>
                </a:cubicBezTo>
                <a:cubicBezTo>
                  <a:pt x="19063" y="12265"/>
                  <a:pt x="19155" y="12441"/>
                  <a:pt x="19428" y="12521"/>
                </a:cubicBezTo>
                <a:cubicBezTo>
                  <a:pt x="19648" y="12601"/>
                  <a:pt x="20250" y="12681"/>
                  <a:pt x="20433" y="12809"/>
                </a:cubicBezTo>
                <a:cubicBezTo>
                  <a:pt x="20506" y="12857"/>
                  <a:pt x="20433" y="12969"/>
                  <a:pt x="20487" y="13017"/>
                </a:cubicBezTo>
                <a:cubicBezTo>
                  <a:pt x="20707" y="13289"/>
                  <a:pt x="21291" y="13241"/>
                  <a:pt x="21474" y="13802"/>
                </a:cubicBezTo>
                <a:cubicBezTo>
                  <a:pt x="21547" y="14010"/>
                  <a:pt x="21382" y="13946"/>
                  <a:pt x="21327" y="14090"/>
                </a:cubicBezTo>
                <a:cubicBezTo>
                  <a:pt x="21291" y="14170"/>
                  <a:pt x="21345" y="14490"/>
                  <a:pt x="21273" y="14522"/>
                </a:cubicBezTo>
                <a:cubicBezTo>
                  <a:pt x="21199" y="14570"/>
                  <a:pt x="21072" y="14522"/>
                  <a:pt x="20962" y="14474"/>
                </a:cubicBezTo>
                <a:cubicBezTo>
                  <a:pt x="20396" y="14282"/>
                  <a:pt x="20634" y="13994"/>
                  <a:pt x="20341" y="13658"/>
                </a:cubicBezTo>
                <a:cubicBezTo>
                  <a:pt x="20177" y="13466"/>
                  <a:pt x="19648" y="13658"/>
                  <a:pt x="19374" y="13578"/>
                </a:cubicBezTo>
                <a:cubicBezTo>
                  <a:pt x="19009" y="13466"/>
                  <a:pt x="18808" y="13097"/>
                  <a:pt x="18461" y="13417"/>
                </a:cubicBezTo>
                <a:cubicBezTo>
                  <a:pt x="18424" y="13466"/>
                  <a:pt x="17968" y="14266"/>
                  <a:pt x="17968" y="14298"/>
                </a:cubicBezTo>
                <a:cubicBezTo>
                  <a:pt x="17968" y="14346"/>
                  <a:pt x="18059" y="14394"/>
                  <a:pt x="18041" y="14458"/>
                </a:cubicBezTo>
                <a:cubicBezTo>
                  <a:pt x="17968" y="14763"/>
                  <a:pt x="17603" y="14746"/>
                  <a:pt x="17913" y="15098"/>
                </a:cubicBezTo>
                <a:cubicBezTo>
                  <a:pt x="18096" y="15291"/>
                  <a:pt x="18150" y="15115"/>
                  <a:pt x="18351" y="15162"/>
                </a:cubicBezTo>
                <a:cubicBezTo>
                  <a:pt x="18570" y="15227"/>
                  <a:pt x="18716" y="15419"/>
                  <a:pt x="18917" y="15499"/>
                </a:cubicBezTo>
                <a:cubicBezTo>
                  <a:pt x="18990" y="15531"/>
                  <a:pt x="19100" y="15499"/>
                  <a:pt x="19136" y="15563"/>
                </a:cubicBezTo>
                <a:cubicBezTo>
                  <a:pt x="19173" y="15611"/>
                  <a:pt x="19063" y="15675"/>
                  <a:pt x="19063" y="15739"/>
                </a:cubicBezTo>
                <a:cubicBezTo>
                  <a:pt x="19081" y="16188"/>
                  <a:pt x="19319" y="15771"/>
                  <a:pt x="19282" y="16347"/>
                </a:cubicBezTo>
                <a:cubicBezTo>
                  <a:pt x="19264" y="16684"/>
                  <a:pt x="18534" y="16556"/>
                  <a:pt x="18205" y="16892"/>
                </a:cubicBezTo>
                <a:cubicBezTo>
                  <a:pt x="17968" y="17132"/>
                  <a:pt x="18278" y="17372"/>
                  <a:pt x="18205" y="17661"/>
                </a:cubicBezTo>
                <a:cubicBezTo>
                  <a:pt x="18150" y="17901"/>
                  <a:pt x="17968" y="17837"/>
                  <a:pt x="17785" y="17965"/>
                </a:cubicBezTo>
                <a:cubicBezTo>
                  <a:pt x="17347" y="18301"/>
                  <a:pt x="17658" y="19069"/>
                  <a:pt x="16744" y="18846"/>
                </a:cubicBezTo>
                <a:cubicBezTo>
                  <a:pt x="16562" y="18797"/>
                  <a:pt x="16361" y="18381"/>
                  <a:pt x="16470" y="18205"/>
                </a:cubicBezTo>
                <a:cubicBezTo>
                  <a:pt x="16544" y="18109"/>
                  <a:pt x="16726" y="18125"/>
                  <a:pt x="16817" y="18045"/>
                </a:cubicBezTo>
                <a:cubicBezTo>
                  <a:pt x="16872" y="17981"/>
                  <a:pt x="16872" y="17885"/>
                  <a:pt x="16890" y="17805"/>
                </a:cubicBezTo>
                <a:cubicBezTo>
                  <a:pt x="16909" y="17725"/>
                  <a:pt x="16982" y="17661"/>
                  <a:pt x="16964" y="17581"/>
                </a:cubicBezTo>
                <a:cubicBezTo>
                  <a:pt x="16945" y="17484"/>
                  <a:pt x="16762" y="17437"/>
                  <a:pt x="16781" y="17340"/>
                </a:cubicBezTo>
                <a:cubicBezTo>
                  <a:pt x="16854" y="17052"/>
                  <a:pt x="17292" y="17212"/>
                  <a:pt x="17420" y="17052"/>
                </a:cubicBezTo>
                <a:cubicBezTo>
                  <a:pt x="17730" y="16732"/>
                  <a:pt x="17365" y="16684"/>
                  <a:pt x="17219" y="16508"/>
                </a:cubicBezTo>
                <a:cubicBezTo>
                  <a:pt x="17073" y="16316"/>
                  <a:pt x="17146" y="16043"/>
                  <a:pt x="17037" y="15836"/>
                </a:cubicBezTo>
                <a:cubicBezTo>
                  <a:pt x="16982" y="15707"/>
                  <a:pt x="16909" y="15595"/>
                  <a:pt x="16817" y="15499"/>
                </a:cubicBezTo>
                <a:cubicBezTo>
                  <a:pt x="16799" y="15467"/>
                  <a:pt x="16726" y="15467"/>
                  <a:pt x="16690" y="15435"/>
                </a:cubicBezTo>
                <a:cubicBezTo>
                  <a:pt x="16361" y="15003"/>
                  <a:pt x="16708" y="15259"/>
                  <a:pt x="16489" y="14778"/>
                </a:cubicBezTo>
                <a:cubicBezTo>
                  <a:pt x="16215" y="14170"/>
                  <a:pt x="16051" y="14474"/>
                  <a:pt x="15503" y="14506"/>
                </a:cubicBezTo>
                <a:cubicBezTo>
                  <a:pt x="15484" y="14506"/>
                  <a:pt x="15521" y="14458"/>
                  <a:pt x="15503" y="14426"/>
                </a:cubicBezTo>
                <a:cubicBezTo>
                  <a:pt x="15430" y="14362"/>
                  <a:pt x="15339" y="14282"/>
                  <a:pt x="15229" y="14234"/>
                </a:cubicBezTo>
                <a:cubicBezTo>
                  <a:pt x="15119" y="14186"/>
                  <a:pt x="14900" y="14234"/>
                  <a:pt x="14827" y="14122"/>
                </a:cubicBezTo>
                <a:cubicBezTo>
                  <a:pt x="14754" y="14010"/>
                  <a:pt x="14974" y="13898"/>
                  <a:pt x="14955" y="13770"/>
                </a:cubicBezTo>
                <a:cubicBezTo>
                  <a:pt x="14937" y="13642"/>
                  <a:pt x="14827" y="13530"/>
                  <a:pt x="14754" y="13434"/>
                </a:cubicBezTo>
                <a:cubicBezTo>
                  <a:pt x="14316" y="12905"/>
                  <a:pt x="14243" y="13642"/>
                  <a:pt x="13732" y="13481"/>
                </a:cubicBezTo>
                <a:cubicBezTo>
                  <a:pt x="13677" y="13466"/>
                  <a:pt x="14079" y="13209"/>
                  <a:pt x="13896" y="13097"/>
                </a:cubicBezTo>
                <a:cubicBezTo>
                  <a:pt x="13239" y="12681"/>
                  <a:pt x="13878" y="13113"/>
                  <a:pt x="13166" y="13033"/>
                </a:cubicBezTo>
                <a:cubicBezTo>
                  <a:pt x="13111" y="13017"/>
                  <a:pt x="13166" y="12937"/>
                  <a:pt x="13147" y="12889"/>
                </a:cubicBezTo>
                <a:cubicBezTo>
                  <a:pt x="13075" y="12697"/>
                  <a:pt x="12691" y="12185"/>
                  <a:pt x="12509" y="12121"/>
                </a:cubicBezTo>
                <a:cubicBezTo>
                  <a:pt x="12015" y="11960"/>
                  <a:pt x="12399" y="12265"/>
                  <a:pt x="12234" y="12233"/>
                </a:cubicBezTo>
                <a:cubicBezTo>
                  <a:pt x="12070" y="12201"/>
                  <a:pt x="11924" y="12024"/>
                  <a:pt x="11741" y="12041"/>
                </a:cubicBezTo>
                <a:cubicBezTo>
                  <a:pt x="11577" y="12073"/>
                  <a:pt x="11450" y="12265"/>
                  <a:pt x="11304" y="12233"/>
                </a:cubicBezTo>
                <a:cubicBezTo>
                  <a:pt x="11139" y="12201"/>
                  <a:pt x="11157" y="11992"/>
                  <a:pt x="11048" y="11897"/>
                </a:cubicBezTo>
                <a:cubicBezTo>
                  <a:pt x="10920" y="11800"/>
                  <a:pt x="10592" y="11832"/>
                  <a:pt x="10482" y="11768"/>
                </a:cubicBezTo>
                <a:lnTo>
                  <a:pt x="10208" y="11432"/>
                </a:lnTo>
                <a:cubicBezTo>
                  <a:pt x="10080" y="11336"/>
                  <a:pt x="9879" y="11320"/>
                  <a:pt x="9770" y="11208"/>
                </a:cubicBezTo>
                <a:cubicBezTo>
                  <a:pt x="9551" y="10920"/>
                  <a:pt x="9806" y="10967"/>
                  <a:pt x="9551" y="10792"/>
                </a:cubicBezTo>
                <a:cubicBezTo>
                  <a:pt x="9441" y="10711"/>
                  <a:pt x="9313" y="10647"/>
                  <a:pt x="9186" y="10583"/>
                </a:cubicBezTo>
                <a:cubicBezTo>
                  <a:pt x="9149" y="10568"/>
                  <a:pt x="9076" y="10615"/>
                  <a:pt x="9039" y="10599"/>
                </a:cubicBezTo>
                <a:cubicBezTo>
                  <a:pt x="8838" y="10455"/>
                  <a:pt x="8838" y="10183"/>
                  <a:pt x="8638" y="10039"/>
                </a:cubicBezTo>
                <a:cubicBezTo>
                  <a:pt x="8291" y="9783"/>
                  <a:pt x="8072" y="9975"/>
                  <a:pt x="7707" y="9847"/>
                </a:cubicBezTo>
                <a:cubicBezTo>
                  <a:pt x="7652" y="9831"/>
                  <a:pt x="7798" y="9783"/>
                  <a:pt x="7835" y="9751"/>
                </a:cubicBezTo>
                <a:cubicBezTo>
                  <a:pt x="7944" y="9623"/>
                  <a:pt x="7725" y="9415"/>
                  <a:pt x="7670" y="9366"/>
                </a:cubicBezTo>
                <a:cubicBezTo>
                  <a:pt x="7634" y="9334"/>
                  <a:pt x="7560" y="9366"/>
                  <a:pt x="7524" y="9334"/>
                </a:cubicBezTo>
                <a:cubicBezTo>
                  <a:pt x="7469" y="9270"/>
                  <a:pt x="7469" y="9174"/>
                  <a:pt x="7396" y="9127"/>
                </a:cubicBezTo>
                <a:cubicBezTo>
                  <a:pt x="7305" y="9062"/>
                  <a:pt x="7122" y="9111"/>
                  <a:pt x="7049" y="9014"/>
                </a:cubicBezTo>
                <a:cubicBezTo>
                  <a:pt x="6995" y="8950"/>
                  <a:pt x="7159" y="8822"/>
                  <a:pt x="7067" y="8774"/>
                </a:cubicBezTo>
                <a:cubicBezTo>
                  <a:pt x="6958" y="8694"/>
                  <a:pt x="6775" y="8790"/>
                  <a:pt x="6629" y="8742"/>
                </a:cubicBezTo>
                <a:cubicBezTo>
                  <a:pt x="6538" y="8710"/>
                  <a:pt x="6684" y="8566"/>
                  <a:pt x="6684" y="8470"/>
                </a:cubicBezTo>
                <a:cubicBezTo>
                  <a:pt x="6739" y="8150"/>
                  <a:pt x="6684" y="8037"/>
                  <a:pt x="6483" y="7766"/>
                </a:cubicBezTo>
                <a:cubicBezTo>
                  <a:pt x="6100" y="7285"/>
                  <a:pt x="6374" y="6853"/>
                  <a:pt x="5917" y="6484"/>
                </a:cubicBezTo>
                <a:cubicBezTo>
                  <a:pt x="5881" y="6436"/>
                  <a:pt x="5807" y="6420"/>
                  <a:pt x="5753" y="6404"/>
                </a:cubicBezTo>
                <a:cubicBezTo>
                  <a:pt x="5735" y="6404"/>
                  <a:pt x="5716" y="6452"/>
                  <a:pt x="5698" y="6436"/>
                </a:cubicBezTo>
                <a:cubicBezTo>
                  <a:pt x="5607" y="6404"/>
                  <a:pt x="5552" y="6308"/>
                  <a:pt x="5461" y="6308"/>
                </a:cubicBezTo>
                <a:cubicBezTo>
                  <a:pt x="5406" y="6308"/>
                  <a:pt x="5515" y="6452"/>
                  <a:pt x="5461" y="6436"/>
                </a:cubicBezTo>
                <a:cubicBezTo>
                  <a:pt x="5315" y="6404"/>
                  <a:pt x="5205" y="6308"/>
                  <a:pt x="5078" y="6228"/>
                </a:cubicBezTo>
                <a:cubicBezTo>
                  <a:pt x="5023" y="6196"/>
                  <a:pt x="4566" y="5780"/>
                  <a:pt x="4420" y="5780"/>
                </a:cubicBezTo>
                <a:cubicBezTo>
                  <a:pt x="4383" y="5780"/>
                  <a:pt x="4438" y="5860"/>
                  <a:pt x="4402" y="5876"/>
                </a:cubicBezTo>
                <a:cubicBezTo>
                  <a:pt x="4365" y="5892"/>
                  <a:pt x="4310" y="5876"/>
                  <a:pt x="4292" y="5844"/>
                </a:cubicBezTo>
                <a:cubicBezTo>
                  <a:pt x="4201" y="5748"/>
                  <a:pt x="3818" y="5588"/>
                  <a:pt x="3635" y="5588"/>
                </a:cubicBezTo>
                <a:cubicBezTo>
                  <a:pt x="3562" y="5588"/>
                  <a:pt x="3087" y="5828"/>
                  <a:pt x="3051" y="5892"/>
                </a:cubicBezTo>
                <a:cubicBezTo>
                  <a:pt x="3014" y="5956"/>
                  <a:pt x="3069" y="6052"/>
                  <a:pt x="3014" y="6100"/>
                </a:cubicBezTo>
                <a:cubicBezTo>
                  <a:pt x="2959" y="6164"/>
                  <a:pt x="2813" y="6148"/>
                  <a:pt x="2758" y="6196"/>
                </a:cubicBezTo>
                <a:cubicBezTo>
                  <a:pt x="2631" y="6308"/>
                  <a:pt x="2540" y="6564"/>
                  <a:pt x="2393" y="6677"/>
                </a:cubicBezTo>
                <a:cubicBezTo>
                  <a:pt x="2156" y="6885"/>
                  <a:pt x="1736" y="6869"/>
                  <a:pt x="1462" y="6901"/>
                </a:cubicBezTo>
                <a:cubicBezTo>
                  <a:pt x="1371" y="6612"/>
                  <a:pt x="1991" y="6244"/>
                  <a:pt x="1718" y="6068"/>
                </a:cubicBezTo>
                <a:cubicBezTo>
                  <a:pt x="1627" y="6020"/>
                  <a:pt x="1499" y="6084"/>
                  <a:pt x="1389" y="6100"/>
                </a:cubicBezTo>
                <a:cubicBezTo>
                  <a:pt x="1280" y="6100"/>
                  <a:pt x="1152" y="6148"/>
                  <a:pt x="1043" y="6116"/>
                </a:cubicBezTo>
                <a:cubicBezTo>
                  <a:pt x="841" y="6068"/>
                  <a:pt x="367" y="5764"/>
                  <a:pt x="385" y="5540"/>
                </a:cubicBezTo>
                <a:cubicBezTo>
                  <a:pt x="385" y="5508"/>
                  <a:pt x="476" y="5508"/>
                  <a:pt x="476" y="5476"/>
                </a:cubicBezTo>
                <a:cubicBezTo>
                  <a:pt x="458" y="5427"/>
                  <a:pt x="275" y="5379"/>
                  <a:pt x="330" y="5283"/>
                </a:cubicBezTo>
                <a:cubicBezTo>
                  <a:pt x="403" y="5219"/>
                  <a:pt x="495" y="5171"/>
                  <a:pt x="549" y="5091"/>
                </a:cubicBezTo>
                <a:cubicBezTo>
                  <a:pt x="567" y="5075"/>
                  <a:pt x="513" y="5044"/>
                  <a:pt x="531" y="5011"/>
                </a:cubicBezTo>
                <a:cubicBezTo>
                  <a:pt x="549" y="4963"/>
                  <a:pt x="713" y="5044"/>
                  <a:pt x="732" y="4995"/>
                </a:cubicBezTo>
                <a:cubicBezTo>
                  <a:pt x="732" y="4867"/>
                  <a:pt x="713" y="4739"/>
                  <a:pt x="659" y="4643"/>
                </a:cubicBezTo>
                <a:cubicBezTo>
                  <a:pt x="567" y="4515"/>
                  <a:pt x="-35" y="4307"/>
                  <a:pt x="1" y="4051"/>
                </a:cubicBezTo>
                <a:cubicBezTo>
                  <a:pt x="1" y="3970"/>
                  <a:pt x="166" y="3970"/>
                  <a:pt x="257" y="3954"/>
                </a:cubicBezTo>
                <a:cubicBezTo>
                  <a:pt x="312" y="3954"/>
                  <a:pt x="349" y="4051"/>
                  <a:pt x="403" y="4034"/>
                </a:cubicBezTo>
                <a:cubicBezTo>
                  <a:pt x="495" y="4018"/>
                  <a:pt x="1079" y="3602"/>
                  <a:pt x="988" y="3458"/>
                </a:cubicBezTo>
                <a:cubicBezTo>
                  <a:pt x="933" y="3362"/>
                  <a:pt x="750" y="3346"/>
                  <a:pt x="695" y="3234"/>
                </a:cubicBezTo>
                <a:cubicBezTo>
                  <a:pt x="640" y="3170"/>
                  <a:pt x="713" y="3058"/>
                  <a:pt x="677" y="2994"/>
                </a:cubicBezTo>
                <a:cubicBezTo>
                  <a:pt x="421" y="2609"/>
                  <a:pt x="-53" y="2802"/>
                  <a:pt x="787" y="2369"/>
                </a:cubicBezTo>
                <a:cubicBezTo>
                  <a:pt x="969" y="2658"/>
                  <a:pt x="1462" y="2338"/>
                  <a:pt x="1700" y="2290"/>
                </a:cubicBezTo>
                <a:cubicBezTo>
                  <a:pt x="1864" y="2257"/>
                  <a:pt x="1991" y="2449"/>
                  <a:pt x="2156" y="2449"/>
                </a:cubicBezTo>
                <a:cubicBezTo>
                  <a:pt x="2174" y="2449"/>
                  <a:pt x="2685" y="1985"/>
                  <a:pt x="2685" y="1905"/>
                </a:cubicBezTo>
                <a:cubicBezTo>
                  <a:pt x="2704" y="1825"/>
                  <a:pt x="2540" y="1793"/>
                  <a:pt x="2558" y="1729"/>
                </a:cubicBezTo>
                <a:cubicBezTo>
                  <a:pt x="2594" y="1633"/>
                  <a:pt x="2740" y="1601"/>
                  <a:pt x="2832" y="1537"/>
                </a:cubicBezTo>
                <a:cubicBezTo>
                  <a:pt x="2923" y="1473"/>
                  <a:pt x="2996" y="1409"/>
                  <a:pt x="3087" y="1345"/>
                </a:cubicBezTo>
                <a:cubicBezTo>
                  <a:pt x="3124" y="1328"/>
                  <a:pt x="3160" y="1297"/>
                  <a:pt x="3179" y="1312"/>
                </a:cubicBezTo>
                <a:cubicBezTo>
                  <a:pt x="3215" y="1409"/>
                  <a:pt x="3197" y="1504"/>
                  <a:pt x="3197" y="1601"/>
                </a:cubicBezTo>
                <a:cubicBezTo>
                  <a:pt x="3197" y="1649"/>
                  <a:pt x="3142" y="1713"/>
                  <a:pt x="3160" y="1777"/>
                </a:cubicBezTo>
                <a:cubicBezTo>
                  <a:pt x="3288" y="1985"/>
                  <a:pt x="3580" y="2033"/>
                  <a:pt x="3781" y="2097"/>
                </a:cubicBezTo>
                <a:cubicBezTo>
                  <a:pt x="3800" y="2097"/>
                  <a:pt x="3836" y="2129"/>
                  <a:pt x="3836" y="2161"/>
                </a:cubicBezTo>
                <a:cubicBezTo>
                  <a:pt x="3818" y="2225"/>
                  <a:pt x="3690" y="2273"/>
                  <a:pt x="3708" y="2338"/>
                </a:cubicBezTo>
                <a:cubicBezTo>
                  <a:pt x="3726" y="2401"/>
                  <a:pt x="3854" y="2369"/>
                  <a:pt x="3909" y="2417"/>
                </a:cubicBezTo>
                <a:cubicBezTo>
                  <a:pt x="3982" y="2497"/>
                  <a:pt x="4019" y="2770"/>
                  <a:pt x="4128" y="2689"/>
                </a:cubicBezTo>
                <a:cubicBezTo>
                  <a:pt x="4438" y="2482"/>
                  <a:pt x="4073" y="2545"/>
                  <a:pt x="4073" y="2385"/>
                </a:cubicBezTo>
                <a:cubicBezTo>
                  <a:pt x="4073" y="2033"/>
                  <a:pt x="4511" y="1937"/>
                  <a:pt x="4584" y="1649"/>
                </a:cubicBezTo>
                <a:cubicBezTo>
                  <a:pt x="4584" y="1617"/>
                  <a:pt x="4383" y="1184"/>
                  <a:pt x="4694" y="1232"/>
                </a:cubicBezTo>
                <a:cubicBezTo>
                  <a:pt x="4931" y="1264"/>
                  <a:pt x="4639" y="1584"/>
                  <a:pt x="5114" y="1681"/>
                </a:cubicBezTo>
                <a:cubicBezTo>
                  <a:pt x="5406" y="1761"/>
                  <a:pt x="5169" y="1441"/>
                  <a:pt x="5662" y="1520"/>
                </a:cubicBezTo>
                <a:cubicBezTo>
                  <a:pt x="5807" y="1537"/>
                  <a:pt x="5735" y="1793"/>
                  <a:pt x="5862" y="1857"/>
                </a:cubicBezTo>
                <a:cubicBezTo>
                  <a:pt x="5935" y="1889"/>
                  <a:pt x="6082" y="1825"/>
                  <a:pt x="6063" y="1761"/>
                </a:cubicBezTo>
                <a:cubicBezTo>
                  <a:pt x="6027" y="1713"/>
                  <a:pt x="5954" y="1681"/>
                  <a:pt x="5935" y="1617"/>
                </a:cubicBezTo>
                <a:cubicBezTo>
                  <a:pt x="5935" y="1553"/>
                  <a:pt x="6045" y="1504"/>
                  <a:pt x="6027" y="1441"/>
                </a:cubicBezTo>
                <a:cubicBezTo>
                  <a:pt x="5990" y="1360"/>
                  <a:pt x="5662" y="1184"/>
                  <a:pt x="5917" y="1024"/>
                </a:cubicBezTo>
                <a:cubicBezTo>
                  <a:pt x="6246" y="816"/>
                  <a:pt x="6118" y="1280"/>
                  <a:pt x="6502" y="1200"/>
                </a:cubicBezTo>
                <a:cubicBezTo>
                  <a:pt x="6720" y="1136"/>
                  <a:pt x="6374" y="912"/>
                  <a:pt x="6374" y="880"/>
                </a:cubicBezTo>
                <a:cubicBezTo>
                  <a:pt x="6410" y="816"/>
                  <a:pt x="6465" y="768"/>
                  <a:pt x="6483" y="704"/>
                </a:cubicBezTo>
                <a:cubicBezTo>
                  <a:pt x="6520" y="640"/>
                  <a:pt x="6502" y="560"/>
                  <a:pt x="6520" y="496"/>
                </a:cubicBezTo>
                <a:cubicBezTo>
                  <a:pt x="6812" y="624"/>
                  <a:pt x="6556" y="464"/>
                  <a:pt x="6849" y="496"/>
                </a:cubicBezTo>
                <a:cubicBezTo>
                  <a:pt x="6995" y="512"/>
                  <a:pt x="7140" y="848"/>
                  <a:pt x="7432" y="704"/>
                </a:cubicBezTo>
                <a:lnTo>
                  <a:pt x="7670" y="272"/>
                </a:lnTo>
                <a:cubicBezTo>
                  <a:pt x="7816" y="175"/>
                  <a:pt x="8455" y="240"/>
                  <a:pt x="8619" y="224"/>
                </a:cubicBezTo>
                <a:cubicBezTo>
                  <a:pt x="8893" y="208"/>
                  <a:pt x="9112" y="0"/>
                  <a:pt x="9386" y="0"/>
                </a:cubicBezTo>
                <a:cubicBezTo>
                  <a:pt x="9459" y="0"/>
                  <a:pt x="9259" y="79"/>
                  <a:pt x="9240" y="143"/>
                </a:cubicBezTo>
                <a:cubicBezTo>
                  <a:pt x="9149" y="480"/>
                  <a:pt x="9386" y="256"/>
                  <a:pt x="9532" y="448"/>
                </a:cubicBezTo>
                <a:cubicBezTo>
                  <a:pt x="9569" y="496"/>
                  <a:pt x="9478" y="560"/>
                  <a:pt x="9514" y="624"/>
                </a:cubicBezTo>
                <a:cubicBezTo>
                  <a:pt x="9532" y="656"/>
                  <a:pt x="9587" y="592"/>
                  <a:pt x="9624" y="624"/>
                </a:cubicBezTo>
                <a:cubicBezTo>
                  <a:pt x="9971" y="848"/>
                  <a:pt x="10062" y="880"/>
                  <a:pt x="10537" y="944"/>
                </a:cubicBezTo>
                <a:cubicBezTo>
                  <a:pt x="10993" y="992"/>
                  <a:pt x="11450" y="1024"/>
                  <a:pt x="11906" y="1056"/>
                </a:cubicBezTo>
                <a:close/>
                <a:moveTo>
                  <a:pt x="4383" y="12265"/>
                </a:moveTo>
                <a:cubicBezTo>
                  <a:pt x="4438" y="12488"/>
                  <a:pt x="5242" y="12441"/>
                  <a:pt x="5132" y="12793"/>
                </a:cubicBezTo>
                <a:cubicBezTo>
                  <a:pt x="5114" y="12889"/>
                  <a:pt x="4803" y="12857"/>
                  <a:pt x="4840" y="12969"/>
                </a:cubicBezTo>
                <a:cubicBezTo>
                  <a:pt x="4877" y="13081"/>
                  <a:pt x="5132" y="13049"/>
                  <a:pt x="5223" y="13145"/>
                </a:cubicBezTo>
                <a:cubicBezTo>
                  <a:pt x="5260" y="13177"/>
                  <a:pt x="5132" y="13194"/>
                  <a:pt x="5132" y="13241"/>
                </a:cubicBezTo>
                <a:cubicBezTo>
                  <a:pt x="5242" y="13817"/>
                  <a:pt x="5406" y="13001"/>
                  <a:pt x="5443" y="13770"/>
                </a:cubicBezTo>
                <a:cubicBezTo>
                  <a:pt x="5461" y="14042"/>
                  <a:pt x="5132" y="14138"/>
                  <a:pt x="5041" y="14362"/>
                </a:cubicBezTo>
                <a:cubicBezTo>
                  <a:pt x="4950" y="14570"/>
                  <a:pt x="5223" y="14570"/>
                  <a:pt x="5260" y="14746"/>
                </a:cubicBezTo>
                <a:cubicBezTo>
                  <a:pt x="5260" y="14810"/>
                  <a:pt x="5169" y="14875"/>
                  <a:pt x="5169" y="14954"/>
                </a:cubicBezTo>
                <a:cubicBezTo>
                  <a:pt x="5114" y="15483"/>
                  <a:pt x="5187" y="16220"/>
                  <a:pt x="4840" y="16748"/>
                </a:cubicBezTo>
                <a:cubicBezTo>
                  <a:pt x="4822" y="16780"/>
                  <a:pt x="4840" y="16700"/>
                  <a:pt x="4803" y="16684"/>
                </a:cubicBezTo>
                <a:cubicBezTo>
                  <a:pt x="4548" y="16604"/>
                  <a:pt x="4219" y="16379"/>
                  <a:pt x="3909" y="16396"/>
                </a:cubicBezTo>
                <a:cubicBezTo>
                  <a:pt x="3854" y="16396"/>
                  <a:pt x="4037" y="16460"/>
                  <a:pt x="4037" y="16508"/>
                </a:cubicBezTo>
                <a:cubicBezTo>
                  <a:pt x="4019" y="16572"/>
                  <a:pt x="3927" y="16604"/>
                  <a:pt x="3909" y="16684"/>
                </a:cubicBezTo>
                <a:cubicBezTo>
                  <a:pt x="3800" y="17052"/>
                  <a:pt x="4091" y="16988"/>
                  <a:pt x="3580" y="17196"/>
                </a:cubicBezTo>
                <a:cubicBezTo>
                  <a:pt x="2868" y="17484"/>
                  <a:pt x="3307" y="16892"/>
                  <a:pt x="2959" y="16764"/>
                </a:cubicBezTo>
                <a:cubicBezTo>
                  <a:pt x="2868" y="16732"/>
                  <a:pt x="2777" y="16860"/>
                  <a:pt x="2667" y="16860"/>
                </a:cubicBezTo>
                <a:cubicBezTo>
                  <a:pt x="2594" y="16860"/>
                  <a:pt x="2886" y="16844"/>
                  <a:pt x="2905" y="16764"/>
                </a:cubicBezTo>
                <a:cubicBezTo>
                  <a:pt x="2905" y="16652"/>
                  <a:pt x="2722" y="16588"/>
                  <a:pt x="2685" y="16492"/>
                </a:cubicBezTo>
                <a:cubicBezTo>
                  <a:pt x="2576" y="16172"/>
                  <a:pt x="2832" y="15963"/>
                  <a:pt x="2886" y="15691"/>
                </a:cubicBezTo>
                <a:cubicBezTo>
                  <a:pt x="2905" y="15579"/>
                  <a:pt x="2832" y="15483"/>
                  <a:pt x="2868" y="15371"/>
                </a:cubicBezTo>
                <a:cubicBezTo>
                  <a:pt x="2886" y="15275"/>
                  <a:pt x="3087" y="15227"/>
                  <a:pt x="3051" y="15131"/>
                </a:cubicBezTo>
                <a:cubicBezTo>
                  <a:pt x="3032" y="15051"/>
                  <a:pt x="2832" y="15131"/>
                  <a:pt x="2777" y="15067"/>
                </a:cubicBezTo>
                <a:cubicBezTo>
                  <a:pt x="2722" y="14987"/>
                  <a:pt x="2813" y="14891"/>
                  <a:pt x="2813" y="14810"/>
                </a:cubicBezTo>
                <a:cubicBezTo>
                  <a:pt x="2813" y="14795"/>
                  <a:pt x="2740" y="14795"/>
                  <a:pt x="2758" y="14778"/>
                </a:cubicBezTo>
                <a:cubicBezTo>
                  <a:pt x="2795" y="14731"/>
                  <a:pt x="2905" y="14746"/>
                  <a:pt x="2941" y="14682"/>
                </a:cubicBezTo>
                <a:cubicBezTo>
                  <a:pt x="3014" y="14522"/>
                  <a:pt x="2740" y="13738"/>
                  <a:pt x="2631" y="13626"/>
                </a:cubicBezTo>
                <a:cubicBezTo>
                  <a:pt x="2412" y="13417"/>
                  <a:pt x="2266" y="14106"/>
                  <a:pt x="2320" y="13305"/>
                </a:cubicBezTo>
                <a:cubicBezTo>
                  <a:pt x="2339" y="13194"/>
                  <a:pt x="2467" y="13113"/>
                  <a:pt x="2485" y="13001"/>
                </a:cubicBezTo>
                <a:cubicBezTo>
                  <a:pt x="2503" y="12937"/>
                  <a:pt x="2412" y="12873"/>
                  <a:pt x="2467" y="12825"/>
                </a:cubicBezTo>
                <a:cubicBezTo>
                  <a:pt x="2485" y="12809"/>
                  <a:pt x="2613" y="13145"/>
                  <a:pt x="2941" y="13145"/>
                </a:cubicBezTo>
                <a:cubicBezTo>
                  <a:pt x="3215" y="13161"/>
                  <a:pt x="4219" y="12441"/>
                  <a:pt x="4383" y="12265"/>
                </a:cubicBezTo>
                <a:moveTo>
                  <a:pt x="16434" y="18173"/>
                </a:moveTo>
                <a:cubicBezTo>
                  <a:pt x="16197" y="18285"/>
                  <a:pt x="15412" y="19950"/>
                  <a:pt x="15594" y="20175"/>
                </a:cubicBezTo>
                <a:cubicBezTo>
                  <a:pt x="15667" y="20271"/>
                  <a:pt x="16032" y="20271"/>
                  <a:pt x="15923" y="20335"/>
                </a:cubicBezTo>
                <a:cubicBezTo>
                  <a:pt x="15832" y="20383"/>
                  <a:pt x="15850" y="20222"/>
                  <a:pt x="15795" y="20335"/>
                </a:cubicBezTo>
                <a:cubicBezTo>
                  <a:pt x="15795" y="20366"/>
                  <a:pt x="15759" y="20398"/>
                  <a:pt x="15777" y="20447"/>
                </a:cubicBezTo>
                <a:cubicBezTo>
                  <a:pt x="15813" y="20575"/>
                  <a:pt x="16032" y="20639"/>
                  <a:pt x="16087" y="20767"/>
                </a:cubicBezTo>
                <a:cubicBezTo>
                  <a:pt x="16105" y="20799"/>
                  <a:pt x="16032" y="20783"/>
                  <a:pt x="15996" y="20815"/>
                </a:cubicBezTo>
                <a:cubicBezTo>
                  <a:pt x="15905" y="20863"/>
                  <a:pt x="15813" y="20911"/>
                  <a:pt x="15759" y="20991"/>
                </a:cubicBezTo>
                <a:cubicBezTo>
                  <a:pt x="15704" y="21071"/>
                  <a:pt x="15686" y="21167"/>
                  <a:pt x="15667" y="21247"/>
                </a:cubicBezTo>
                <a:cubicBezTo>
                  <a:pt x="15649" y="21344"/>
                  <a:pt x="15722" y="21471"/>
                  <a:pt x="15667" y="21552"/>
                </a:cubicBezTo>
                <a:cubicBezTo>
                  <a:pt x="15631" y="21599"/>
                  <a:pt x="15576" y="21392"/>
                  <a:pt x="15229" y="21407"/>
                </a:cubicBezTo>
                <a:cubicBezTo>
                  <a:pt x="14846" y="21439"/>
                  <a:pt x="15010" y="21552"/>
                  <a:pt x="14499" y="21344"/>
                </a:cubicBezTo>
                <a:cubicBezTo>
                  <a:pt x="14280" y="21263"/>
                  <a:pt x="14225" y="20911"/>
                  <a:pt x="13987" y="20783"/>
                </a:cubicBezTo>
                <a:cubicBezTo>
                  <a:pt x="13659" y="20607"/>
                  <a:pt x="13367" y="20783"/>
                  <a:pt x="13001" y="20655"/>
                </a:cubicBezTo>
                <a:cubicBezTo>
                  <a:pt x="12947" y="20639"/>
                  <a:pt x="12892" y="20623"/>
                  <a:pt x="12837" y="20591"/>
                </a:cubicBezTo>
                <a:cubicBezTo>
                  <a:pt x="12764" y="20543"/>
                  <a:pt x="12728" y="20430"/>
                  <a:pt x="12636" y="20398"/>
                </a:cubicBezTo>
                <a:cubicBezTo>
                  <a:pt x="12563" y="20351"/>
                  <a:pt x="12472" y="20398"/>
                  <a:pt x="12380" y="20366"/>
                </a:cubicBezTo>
                <a:cubicBezTo>
                  <a:pt x="12015" y="20255"/>
                  <a:pt x="11760" y="19950"/>
                  <a:pt x="11358" y="19854"/>
                </a:cubicBezTo>
                <a:cubicBezTo>
                  <a:pt x="11194" y="19822"/>
                  <a:pt x="11011" y="19966"/>
                  <a:pt x="10847" y="19902"/>
                </a:cubicBezTo>
                <a:cubicBezTo>
                  <a:pt x="10811" y="19886"/>
                  <a:pt x="10372" y="19470"/>
                  <a:pt x="10390" y="19406"/>
                </a:cubicBezTo>
                <a:cubicBezTo>
                  <a:pt x="10390" y="19342"/>
                  <a:pt x="10500" y="19310"/>
                  <a:pt x="10500" y="19262"/>
                </a:cubicBezTo>
                <a:cubicBezTo>
                  <a:pt x="10519" y="19214"/>
                  <a:pt x="10445" y="19198"/>
                  <a:pt x="10445" y="19150"/>
                </a:cubicBezTo>
                <a:cubicBezTo>
                  <a:pt x="10445" y="19085"/>
                  <a:pt x="10482" y="19006"/>
                  <a:pt x="10537" y="18941"/>
                </a:cubicBezTo>
                <a:cubicBezTo>
                  <a:pt x="10592" y="18878"/>
                  <a:pt x="10701" y="18862"/>
                  <a:pt x="10774" y="18797"/>
                </a:cubicBezTo>
                <a:cubicBezTo>
                  <a:pt x="10865" y="18733"/>
                  <a:pt x="10957" y="18493"/>
                  <a:pt x="11030" y="18574"/>
                </a:cubicBezTo>
                <a:cubicBezTo>
                  <a:pt x="11066" y="18622"/>
                  <a:pt x="11121" y="18941"/>
                  <a:pt x="11285" y="18925"/>
                </a:cubicBezTo>
                <a:cubicBezTo>
                  <a:pt x="11906" y="18846"/>
                  <a:pt x="11285" y="18445"/>
                  <a:pt x="12070" y="18478"/>
                </a:cubicBezTo>
                <a:cubicBezTo>
                  <a:pt x="12271" y="18478"/>
                  <a:pt x="12107" y="18670"/>
                  <a:pt x="12217" y="18717"/>
                </a:cubicBezTo>
                <a:cubicBezTo>
                  <a:pt x="12290" y="18750"/>
                  <a:pt x="12399" y="18670"/>
                  <a:pt x="12490" y="18701"/>
                </a:cubicBezTo>
                <a:cubicBezTo>
                  <a:pt x="12545" y="18717"/>
                  <a:pt x="12527" y="18813"/>
                  <a:pt x="12563" y="18829"/>
                </a:cubicBezTo>
                <a:cubicBezTo>
                  <a:pt x="12673" y="18894"/>
                  <a:pt x="12819" y="18958"/>
                  <a:pt x="12947" y="18958"/>
                </a:cubicBezTo>
                <a:cubicBezTo>
                  <a:pt x="12965" y="18958"/>
                  <a:pt x="13421" y="18765"/>
                  <a:pt x="13421" y="18765"/>
                </a:cubicBezTo>
                <a:cubicBezTo>
                  <a:pt x="13568" y="18750"/>
                  <a:pt x="13878" y="18846"/>
                  <a:pt x="14097" y="18797"/>
                </a:cubicBezTo>
                <a:cubicBezTo>
                  <a:pt x="14554" y="18717"/>
                  <a:pt x="14536" y="18557"/>
                  <a:pt x="14773" y="18445"/>
                </a:cubicBezTo>
                <a:cubicBezTo>
                  <a:pt x="15320" y="18189"/>
                  <a:pt x="14919" y="18541"/>
                  <a:pt x="15448" y="18509"/>
                </a:cubicBezTo>
                <a:cubicBezTo>
                  <a:pt x="15813" y="18493"/>
                  <a:pt x="15557" y="18317"/>
                  <a:pt x="15704" y="18189"/>
                </a:cubicBezTo>
                <a:cubicBezTo>
                  <a:pt x="15759" y="18141"/>
                  <a:pt x="15759" y="18333"/>
                  <a:pt x="15813" y="18317"/>
                </a:cubicBezTo>
                <a:cubicBezTo>
                  <a:pt x="16142" y="18253"/>
                  <a:pt x="16142" y="17997"/>
                  <a:pt x="16434" y="18173"/>
                </a:cubicBezTo>
              </a:path>
            </a:pathLst>
          </a:custGeom>
          <a:solidFill>
            <a:schemeClr val="bg2">
              <a:lumMod val="50000"/>
            </a:schemeClr>
          </a:solidFill>
          <a:ln w="25400" cap="flat" cmpd="sng">
            <a:solidFill>
              <a:srgbClr val="EEEEEE"/>
            </a:solidFill>
            <a:prstDash val="solid"/>
            <a:miter lim="0"/>
            <a:headEnd/>
            <a:tailEnd/>
          </a:ln>
          <a:effectLs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sp>
        <p:nvSpPr>
          <p:cNvPr id="66" name="AutoShape 53"/>
          <p:cNvSpPr>
            <a:spLocks/>
          </p:cNvSpPr>
          <p:nvPr/>
        </p:nvSpPr>
        <p:spPr bwMode="auto">
          <a:xfrm>
            <a:off x="2515845" y="3036888"/>
            <a:ext cx="1625600" cy="4699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r"/>
            <a:r>
              <a:rPr lang="en-US" sz="2400" dirty="0">
                <a:solidFill>
                  <a:schemeClr val="tx1"/>
                </a:solidFill>
                <a:latin typeface="Aleo" panose="020F0502020204030203" pitchFamily="34" charset="0"/>
                <a:ea typeface="Aleo Regular" charset="0"/>
                <a:cs typeface="Aleo Regular" charset="0"/>
                <a:sym typeface="Aleo Regular" charset="0"/>
              </a:rPr>
              <a:t>2016</a:t>
            </a:r>
            <a:endParaRPr lang="en-US" dirty="0">
              <a:solidFill>
                <a:schemeClr val="tx1"/>
              </a:solidFill>
              <a:latin typeface="Lato" panose="020F0502020204030203" pitchFamily="34" charset="0"/>
            </a:endParaRPr>
          </a:p>
        </p:txBody>
      </p:sp>
      <p:sp>
        <p:nvSpPr>
          <p:cNvPr id="67" name="AutoShape 52"/>
          <p:cNvSpPr>
            <a:spLocks/>
          </p:cNvSpPr>
          <p:nvPr/>
        </p:nvSpPr>
        <p:spPr bwMode="auto">
          <a:xfrm>
            <a:off x="4788826" y="11441113"/>
            <a:ext cx="266700" cy="2667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rgbClr val="FFFFFF"/>
          </a:solidFill>
          <a:ln w="88900" cap="flat" cmpd="sng">
            <a:solidFill>
              <a:schemeClr val="bg2">
                <a:lumMod val="50000"/>
              </a:schemeClr>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C0C0C0"/>
                </a:outerShdw>
              </a:effectLst>
              <a:latin typeface="Lato" panose="020F0502020204030203" pitchFamily="34" charset="0"/>
            </a:endParaRPr>
          </a:p>
        </p:txBody>
      </p:sp>
      <p:sp>
        <p:nvSpPr>
          <p:cNvPr id="68" name="AutoShape 58"/>
          <p:cNvSpPr>
            <a:spLocks/>
          </p:cNvSpPr>
          <p:nvPr/>
        </p:nvSpPr>
        <p:spPr bwMode="auto">
          <a:xfrm>
            <a:off x="1903674" y="10917872"/>
            <a:ext cx="2237792" cy="65659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50800" tIns="50800" rIns="50800" bIns="50800" anchor="ctr">
            <a:spAutoFit/>
          </a:bodyPr>
          <a:lstStyle/>
          <a:p>
            <a:pPr algn="r"/>
            <a:r>
              <a:rPr lang="en-US" sz="3600" b="1" dirty="0">
                <a:solidFill>
                  <a:schemeClr val="bg2">
                    <a:lumMod val="50000"/>
                  </a:schemeClr>
                </a:solidFill>
                <a:latin typeface="Aleo" panose="020F0502020204030203" pitchFamily="34" charset="0"/>
                <a:sym typeface="Aleo Regular" charset="0"/>
              </a:rPr>
              <a:t>Other Europe</a:t>
            </a:r>
            <a:endParaRPr lang="en-US" dirty="0">
              <a:solidFill>
                <a:schemeClr val="bg2">
                  <a:lumMod val="50000"/>
                </a:schemeClr>
              </a:solidFill>
              <a:latin typeface="Lato" panose="020F0502020204030203" pitchFamily="34" charset="0"/>
            </a:endParaRPr>
          </a:p>
        </p:txBody>
      </p:sp>
      <p:sp>
        <p:nvSpPr>
          <p:cNvPr id="69" name="AutoShape 57"/>
          <p:cNvSpPr>
            <a:spLocks/>
          </p:cNvSpPr>
          <p:nvPr/>
        </p:nvSpPr>
        <p:spPr bwMode="auto">
          <a:xfrm>
            <a:off x="2487697" y="11483023"/>
            <a:ext cx="1625600" cy="4699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r"/>
            <a:r>
              <a:rPr lang="en-US" sz="2400" dirty="0">
                <a:solidFill>
                  <a:schemeClr val="tx1"/>
                </a:solidFill>
                <a:latin typeface="Aleo" panose="020F0502020204030203" pitchFamily="34" charset="0"/>
                <a:ea typeface="Aleo Regular" charset="0"/>
                <a:cs typeface="Aleo Regular" charset="0"/>
                <a:sym typeface="Aleo Regular" charset="0"/>
              </a:rPr>
              <a:t>2020 +</a:t>
            </a:r>
            <a:endParaRPr lang="en-US" dirty="0">
              <a:solidFill>
                <a:schemeClr val="tx1"/>
              </a:solidFill>
              <a:latin typeface="Lato" panose="020F0502020204030203" pitchFamily="34" charset="0"/>
            </a:endParaRPr>
          </a:p>
        </p:txBody>
      </p:sp>
      <p:sp>
        <p:nvSpPr>
          <p:cNvPr id="70" name="AutoShape 59"/>
          <p:cNvSpPr>
            <a:spLocks/>
          </p:cNvSpPr>
          <p:nvPr/>
        </p:nvSpPr>
        <p:spPr bwMode="auto">
          <a:xfrm>
            <a:off x="5601945" y="5573713"/>
            <a:ext cx="6057900" cy="1219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100,000 ERP systems in Europe</a:t>
            </a:r>
            <a:endParaRPr lang="en-US" dirty="0">
              <a:solidFill>
                <a:schemeClr val="tx1"/>
              </a:solidFill>
              <a:latin typeface="Lato" panose="020F0502020204030203" pitchFamily="34" charset="0"/>
            </a:endParaRPr>
          </a:p>
        </p:txBody>
      </p:sp>
      <p:sp>
        <p:nvSpPr>
          <p:cNvPr id="71" name="AutoShape 59"/>
          <p:cNvSpPr>
            <a:spLocks/>
          </p:cNvSpPr>
          <p:nvPr/>
        </p:nvSpPr>
        <p:spPr bwMode="auto">
          <a:xfrm>
            <a:off x="5601945" y="7774940"/>
            <a:ext cx="6057900" cy="1219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33% of mid-size companies invest in process innovation</a:t>
            </a:r>
            <a:endParaRPr lang="en-US" dirty="0">
              <a:solidFill>
                <a:schemeClr val="tx1"/>
              </a:solidFill>
              <a:latin typeface="Lato" panose="020F0502020204030203" pitchFamily="34" charset="0"/>
            </a:endParaRPr>
          </a:p>
        </p:txBody>
      </p:sp>
      <p:sp>
        <p:nvSpPr>
          <p:cNvPr id="72" name="AutoShape 59"/>
          <p:cNvSpPr>
            <a:spLocks/>
          </p:cNvSpPr>
          <p:nvPr/>
        </p:nvSpPr>
        <p:spPr bwMode="auto">
          <a:xfrm>
            <a:off x="5452537" y="9622791"/>
            <a:ext cx="5529605" cy="17653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5400" b="1" dirty="0">
                <a:solidFill>
                  <a:schemeClr val="tx1"/>
                </a:solidFill>
                <a:latin typeface="Aleo"/>
                <a:ea typeface="Lato Light" panose="020F0302020204030203" pitchFamily="34" charset="0"/>
                <a:cs typeface="Lato Light" panose="020F0302020204030203" pitchFamily="34" charset="0"/>
                <a:sym typeface="Lato Light" panose="020F0302020204030203" pitchFamily="34" charset="0"/>
              </a:rPr>
              <a:t>€ 3.5B </a:t>
            </a:r>
          </a:p>
          <a:p>
            <a:r>
              <a:rPr lang="en-US" sz="5400" b="1" dirty="0">
                <a:solidFill>
                  <a:schemeClr val="tx1"/>
                </a:solidFill>
                <a:latin typeface="Aleo"/>
                <a:ea typeface="Lato Light" panose="020F0302020204030203" pitchFamily="34" charset="0"/>
                <a:cs typeface="Lato Light" panose="020F0302020204030203" pitchFamily="34" charset="0"/>
                <a:sym typeface="Lato Light" panose="020F0302020204030203" pitchFamily="34" charset="0"/>
              </a:rPr>
              <a:t>European Market</a:t>
            </a:r>
            <a:endParaRPr lang="en-US" sz="5400" b="1" dirty="0">
              <a:solidFill>
                <a:schemeClr val="tx1"/>
              </a:solidFill>
              <a:latin typeface="Aleo"/>
            </a:endParaRPr>
          </a:p>
        </p:txBody>
      </p:sp>
    </p:spTree>
    <p:extLst>
      <p:ext uri="{BB962C8B-B14F-4D97-AF65-F5344CB8AC3E}">
        <p14:creationId xmlns:p14="http://schemas.microsoft.com/office/powerpoint/2010/main" xmlns="" val="1013865682"/>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AutoShape 2"/>
          <p:cNvSpPr>
            <a:spLocks/>
          </p:cNvSpPr>
          <p:nvPr/>
        </p:nvSpPr>
        <p:spPr bwMode="auto">
          <a:xfrm>
            <a:off x="18347592" y="1723486"/>
            <a:ext cx="2446326" cy="25273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1">
              <a:lumMod val="75000"/>
              <a:alpha val="80000"/>
            </a:schemeClr>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47" name="AutoShape 4"/>
          <p:cNvSpPr>
            <a:spLocks/>
          </p:cNvSpPr>
          <p:nvPr/>
        </p:nvSpPr>
        <p:spPr bwMode="auto">
          <a:xfrm>
            <a:off x="896894" y="8553394"/>
            <a:ext cx="3635211" cy="352473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1">
              <a:lumMod val="75000"/>
              <a:alpha val="80000"/>
            </a:schemeClr>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3" name="Title 2"/>
          <p:cNvSpPr>
            <a:spLocks noGrp="1"/>
          </p:cNvSpPr>
          <p:nvPr>
            <p:ph type="title"/>
          </p:nvPr>
        </p:nvSpPr>
        <p:spPr>
          <a:xfrm>
            <a:off x="428455" y="509411"/>
            <a:ext cx="8151270" cy="1508105"/>
          </a:xfrm>
        </p:spPr>
        <p:txBody>
          <a:bodyPr/>
          <a:lstStyle/>
          <a:p>
            <a:r>
              <a:rPr lang="en-US" dirty="0"/>
              <a:t>Eye2Scan Team</a:t>
            </a:r>
          </a:p>
        </p:txBody>
      </p:sp>
      <p:grpSp>
        <p:nvGrpSpPr>
          <p:cNvPr id="15" name="Group 14"/>
          <p:cNvGrpSpPr/>
          <p:nvPr/>
        </p:nvGrpSpPr>
        <p:grpSpPr>
          <a:xfrm>
            <a:off x="19366201" y="6565003"/>
            <a:ext cx="2627843" cy="2567544"/>
            <a:chOff x="17347406" y="2954173"/>
            <a:chExt cx="4720248" cy="4891087"/>
          </a:xfrm>
        </p:grpSpPr>
        <p:sp>
          <p:nvSpPr>
            <p:cNvPr id="72706" name="AutoShape 2"/>
            <p:cNvSpPr>
              <a:spLocks/>
            </p:cNvSpPr>
            <p:nvPr/>
          </p:nvSpPr>
          <p:spPr bwMode="auto">
            <a:xfrm>
              <a:off x="17500600" y="3451060"/>
              <a:ext cx="4394200" cy="43942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1">
                <a:lumMod val="75000"/>
                <a:alpha val="80000"/>
              </a:schemeClr>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pic>
          <p:nvPicPr>
            <p:cNvPr id="72707" name="Picture 3"/>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bwMode="auto">
            <a:xfrm>
              <a:off x="17347406" y="3501860"/>
              <a:ext cx="4318000" cy="4318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nvGrpSpPr>
            <p:cNvPr id="42" name="Group 41"/>
            <p:cNvGrpSpPr>
              <a:grpSpLocks noChangeAspect="1"/>
            </p:cNvGrpSpPr>
            <p:nvPr/>
          </p:nvGrpSpPr>
          <p:grpSpPr>
            <a:xfrm>
              <a:off x="20385600" y="2954173"/>
              <a:ext cx="1682054" cy="1682496"/>
              <a:chOff x="3225764" y="7609546"/>
              <a:chExt cx="3477922" cy="3478835"/>
            </a:xfrm>
          </p:grpSpPr>
          <p:sp>
            <p:nvSpPr>
              <p:cNvPr id="43" name="AutoShape 3"/>
              <p:cNvSpPr>
                <a:spLocks/>
              </p:cNvSpPr>
              <p:nvPr/>
            </p:nvSpPr>
            <p:spPr bwMode="auto">
              <a:xfrm>
                <a:off x="3225764" y="7609546"/>
                <a:ext cx="3477922" cy="347883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44" name="Freeform 43"/>
              <p:cNvSpPr>
                <a:spLocks/>
              </p:cNvSpPr>
              <p:nvPr/>
            </p:nvSpPr>
            <p:spPr bwMode="auto">
              <a:xfrm>
                <a:off x="3809468" y="8184115"/>
                <a:ext cx="2894085" cy="2834079"/>
              </a:xfrm>
              <a:custGeom>
                <a:avLst/>
                <a:gdLst>
                  <a:gd name="connsiteX0" fmla="*/ 2061265 w 5029075"/>
                  <a:gd name="connsiteY0" fmla="*/ 0 h 4924802"/>
                  <a:gd name="connsiteX1" fmla="*/ 3362285 w 5029075"/>
                  <a:gd name="connsiteY1" fmla="*/ 462187 h 4924802"/>
                  <a:gd name="connsiteX2" fmla="*/ 3475453 w 5029075"/>
                  <a:gd name="connsiteY2" fmla="*/ 564451 h 4924802"/>
                  <a:gd name="connsiteX3" fmla="*/ 5000990 w 5029075"/>
                  <a:gd name="connsiteY3" fmla="*/ 1635358 h 4924802"/>
                  <a:gd name="connsiteX4" fmla="*/ 5015245 w 5029075"/>
                  <a:gd name="connsiteY4" fmla="*/ 1734152 h 4924802"/>
                  <a:gd name="connsiteX5" fmla="*/ 4143909 w 5029075"/>
                  <a:gd name="connsiteY5" fmla="*/ 4161136 h 4924802"/>
                  <a:gd name="connsiteX6" fmla="*/ 2867497 w 5029075"/>
                  <a:gd name="connsiteY6" fmla="*/ 4922026 h 4924802"/>
                  <a:gd name="connsiteX7" fmla="*/ 2856135 w 5029075"/>
                  <a:gd name="connsiteY7" fmla="*/ 4924802 h 4924802"/>
                  <a:gd name="connsiteX8" fmla="*/ 1363446 w 5029075"/>
                  <a:gd name="connsiteY8" fmla="*/ 3998957 h 4924802"/>
                  <a:gd name="connsiteX9" fmla="*/ 1285607 w 5029075"/>
                  <a:gd name="connsiteY9" fmla="*/ 3971726 h 4924802"/>
                  <a:gd name="connsiteX10" fmla="*/ 603673 w 5029075"/>
                  <a:gd name="connsiteY10" fmla="*/ 3518854 h 4924802"/>
                  <a:gd name="connsiteX11" fmla="*/ 603673 w 5029075"/>
                  <a:gd name="connsiteY11" fmla="*/ 603672 h 4924802"/>
                  <a:gd name="connsiteX12" fmla="*/ 2061265 w 5029075"/>
                  <a:gd name="connsiteY12" fmla="*/ 0 h 49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075" h="4924802">
                    <a:moveTo>
                      <a:pt x="2061265" y="0"/>
                    </a:moveTo>
                    <a:cubicBezTo>
                      <a:pt x="2522844" y="0"/>
                      <a:pt x="2984423" y="154062"/>
                      <a:pt x="3362285" y="462187"/>
                    </a:cubicBezTo>
                    <a:lnTo>
                      <a:pt x="3475453" y="564451"/>
                    </a:lnTo>
                    <a:lnTo>
                      <a:pt x="5000990" y="1635358"/>
                    </a:lnTo>
                    <a:lnTo>
                      <a:pt x="5015245" y="1734152"/>
                    </a:lnTo>
                    <a:cubicBezTo>
                      <a:pt x="5098229" y="2601125"/>
                      <a:pt x="4807784" y="3497086"/>
                      <a:pt x="4143909" y="4161136"/>
                    </a:cubicBezTo>
                    <a:cubicBezTo>
                      <a:pt x="3775089" y="4530053"/>
                      <a:pt x="3334711" y="4783683"/>
                      <a:pt x="2867497" y="4922026"/>
                    </a:cubicBezTo>
                    <a:lnTo>
                      <a:pt x="2856135" y="4924802"/>
                    </a:lnTo>
                    <a:lnTo>
                      <a:pt x="1363446" y="3998957"/>
                    </a:lnTo>
                    <a:lnTo>
                      <a:pt x="1285607" y="3971726"/>
                    </a:lnTo>
                    <a:cubicBezTo>
                      <a:pt x="1037468" y="3871088"/>
                      <a:pt x="804950" y="3720131"/>
                      <a:pt x="603673" y="3518854"/>
                    </a:cubicBezTo>
                    <a:cubicBezTo>
                      <a:pt x="-201224" y="2713749"/>
                      <a:pt x="-201224" y="1408778"/>
                      <a:pt x="603673" y="603672"/>
                    </a:cubicBezTo>
                    <a:cubicBezTo>
                      <a:pt x="1006226" y="201224"/>
                      <a:pt x="1533745" y="0"/>
                      <a:pt x="2061265" y="0"/>
                    </a:cubicBezTo>
                    <a:close/>
                  </a:path>
                </a:pathLst>
              </a:custGeom>
              <a:solidFill>
                <a:schemeClr val="accent5">
                  <a:lumMod val="75000"/>
                  <a:alpha val="75000"/>
                </a:schemeClr>
              </a:solidFill>
              <a:ln>
                <a:noFill/>
              </a:ln>
              <a:effectLst/>
              <a:extLst/>
            </p:spPr>
            <p:txBody>
              <a:bodyPr lIns="0" tIns="0" rIns="0" bIns="0" anchor="ctr"/>
              <a:lstStyle/>
              <a:p>
                <a:endParaRPr lang="en-US" dirty="0">
                  <a:latin typeface="Lato" panose="020F0502020204030203" pitchFamily="34" charset="0"/>
                </a:endParaRPr>
              </a:p>
            </p:txBody>
          </p:sp>
          <p:sp>
            <p:nvSpPr>
              <p:cNvPr id="45" name="AutoShape 5"/>
              <p:cNvSpPr>
                <a:spLocks/>
              </p:cNvSpPr>
              <p:nvPr/>
            </p:nvSpPr>
            <p:spPr bwMode="auto">
              <a:xfrm>
                <a:off x="3765221" y="8149460"/>
                <a:ext cx="2399008" cy="23990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6"/>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sp>
          <p:nvSpPr>
            <p:cNvPr id="72726" name="AutoShape 22"/>
            <p:cNvSpPr>
              <a:spLocks/>
            </p:cNvSpPr>
            <p:nvPr/>
          </p:nvSpPr>
          <p:spPr bwMode="auto">
            <a:xfrm>
              <a:off x="20812847" y="3371644"/>
              <a:ext cx="836613" cy="7175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18851"/>
                  </a:moveTo>
                  <a:lnTo>
                    <a:pt x="0" y="18851"/>
                  </a:lnTo>
                  <a:lnTo>
                    <a:pt x="0" y="21599"/>
                  </a:lnTo>
                  <a:lnTo>
                    <a:pt x="21599" y="21599"/>
                  </a:lnTo>
                  <a:cubicBezTo>
                    <a:pt x="21599" y="21599"/>
                    <a:pt x="21599" y="18851"/>
                    <a:pt x="21599" y="18851"/>
                  </a:cubicBezTo>
                  <a:close/>
                  <a:moveTo>
                    <a:pt x="19950" y="17182"/>
                  </a:moveTo>
                  <a:lnTo>
                    <a:pt x="16427" y="17182"/>
                  </a:lnTo>
                  <a:lnTo>
                    <a:pt x="16427" y="12871"/>
                  </a:lnTo>
                  <a:lnTo>
                    <a:pt x="19950" y="12871"/>
                  </a:lnTo>
                  <a:cubicBezTo>
                    <a:pt x="19950" y="12871"/>
                    <a:pt x="19950" y="17182"/>
                    <a:pt x="19950" y="17182"/>
                  </a:cubicBezTo>
                  <a:close/>
                  <a:moveTo>
                    <a:pt x="15021" y="17182"/>
                  </a:moveTo>
                  <a:lnTo>
                    <a:pt x="11498" y="17182"/>
                  </a:lnTo>
                  <a:lnTo>
                    <a:pt x="11498" y="5221"/>
                  </a:lnTo>
                  <a:lnTo>
                    <a:pt x="15021" y="5221"/>
                  </a:lnTo>
                  <a:cubicBezTo>
                    <a:pt x="15021" y="5221"/>
                    <a:pt x="15021" y="17182"/>
                    <a:pt x="15021" y="17182"/>
                  </a:cubicBezTo>
                  <a:close/>
                  <a:moveTo>
                    <a:pt x="10093" y="17182"/>
                  </a:moveTo>
                  <a:lnTo>
                    <a:pt x="6571" y="17182"/>
                  </a:lnTo>
                  <a:lnTo>
                    <a:pt x="6571" y="0"/>
                  </a:lnTo>
                  <a:lnTo>
                    <a:pt x="10093" y="0"/>
                  </a:lnTo>
                  <a:cubicBezTo>
                    <a:pt x="10093" y="0"/>
                    <a:pt x="10093" y="17182"/>
                    <a:pt x="10093" y="17182"/>
                  </a:cubicBezTo>
                  <a:close/>
                  <a:moveTo>
                    <a:pt x="5165" y="17182"/>
                  </a:moveTo>
                  <a:lnTo>
                    <a:pt x="1643" y="17182"/>
                  </a:lnTo>
                  <a:lnTo>
                    <a:pt x="1643" y="8692"/>
                  </a:lnTo>
                  <a:lnTo>
                    <a:pt x="5165" y="8692"/>
                  </a:lnTo>
                  <a:cubicBezTo>
                    <a:pt x="5165" y="8692"/>
                    <a:pt x="5165" y="17182"/>
                    <a:pt x="5165" y="17182"/>
                  </a:cubicBezTo>
                  <a:close/>
                </a:path>
              </a:pathLst>
            </a:custGeom>
            <a:solidFill>
              <a:srgbClr val="FFFFFF"/>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C0C0C0"/>
                  </a:outerShdw>
                </a:effectLst>
                <a:latin typeface="Lato" panose="020F0502020204030203" pitchFamily="34" charset="0"/>
              </a:endParaRPr>
            </a:p>
          </p:txBody>
        </p:sp>
      </p:grpSp>
      <p:grpSp>
        <p:nvGrpSpPr>
          <p:cNvPr id="11" name="Group 10"/>
          <p:cNvGrpSpPr/>
          <p:nvPr/>
        </p:nvGrpSpPr>
        <p:grpSpPr>
          <a:xfrm>
            <a:off x="716016" y="2303242"/>
            <a:ext cx="9623223" cy="3911737"/>
            <a:chOff x="9917906" y="2955888"/>
            <a:chExt cx="11632439" cy="4876672"/>
          </a:xfrm>
        </p:grpSpPr>
        <p:sp>
          <p:nvSpPr>
            <p:cNvPr id="72708" name="AutoShape 4"/>
            <p:cNvSpPr>
              <a:spLocks/>
            </p:cNvSpPr>
            <p:nvPr/>
          </p:nvSpPr>
          <p:spPr bwMode="auto">
            <a:xfrm>
              <a:off x="10096500" y="3438360"/>
              <a:ext cx="4394200" cy="43942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1">
                <a:lumMod val="75000"/>
                <a:alpha val="80000"/>
              </a:schemeClr>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pic>
          <p:nvPicPr>
            <p:cNvPr id="72709" name="Picture 5"/>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bwMode="auto">
            <a:xfrm>
              <a:off x="9917906" y="3501860"/>
              <a:ext cx="4318000" cy="4318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72714" name="AutoShape 10"/>
            <p:cNvSpPr>
              <a:spLocks/>
            </p:cNvSpPr>
            <p:nvPr/>
          </p:nvSpPr>
          <p:spPr bwMode="auto">
            <a:xfrm>
              <a:off x="16063945" y="3808483"/>
              <a:ext cx="5486400" cy="762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400" b="1" dirty="0">
                  <a:solidFill>
                    <a:schemeClr val="tx1"/>
                  </a:solidFill>
                  <a:latin typeface="Aleo" panose="020F0502020204030203" pitchFamily="34" charset="0"/>
                  <a:ea typeface="Aleo Regular" charset="0"/>
                  <a:cs typeface="Aleo Regular" charset="0"/>
                  <a:sym typeface="Aleo Regular" charset="0"/>
                </a:rPr>
                <a:t>Franck-Yves </a:t>
              </a:r>
              <a:r>
                <a:rPr lang="en-US" sz="4400" b="1" dirty="0" err="1">
                  <a:solidFill>
                    <a:schemeClr val="tx1"/>
                  </a:solidFill>
                  <a:latin typeface="Aleo" panose="020F0502020204030203" pitchFamily="34" charset="0"/>
                  <a:ea typeface="Aleo Regular" charset="0"/>
                  <a:cs typeface="Aleo Regular" charset="0"/>
                  <a:sym typeface="Aleo Regular" charset="0"/>
                </a:rPr>
                <a:t>Inglebert</a:t>
              </a:r>
              <a:endParaRPr lang="en-US" dirty="0">
                <a:solidFill>
                  <a:schemeClr val="tx1"/>
                </a:solidFill>
                <a:latin typeface="Lato" panose="020F0502020204030203" pitchFamily="34" charset="0"/>
              </a:endParaRPr>
            </a:p>
          </p:txBody>
        </p:sp>
        <p:sp>
          <p:nvSpPr>
            <p:cNvPr id="72715" name="AutoShape 11"/>
            <p:cNvSpPr>
              <a:spLocks/>
            </p:cNvSpPr>
            <p:nvPr/>
          </p:nvSpPr>
          <p:spPr bwMode="auto">
            <a:xfrm>
              <a:off x="16916182" y="5098302"/>
              <a:ext cx="3581400" cy="660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CEO</a:t>
              </a:r>
              <a:endParaRPr lang="en-US" dirty="0">
                <a:solidFill>
                  <a:schemeClr val="tx1"/>
                </a:solidFill>
                <a:latin typeface="Lato" panose="020F0502020204030203" pitchFamily="34" charset="0"/>
              </a:endParaRPr>
            </a:p>
          </p:txBody>
        </p:sp>
        <p:grpSp>
          <p:nvGrpSpPr>
            <p:cNvPr id="33" name="Group 32"/>
            <p:cNvGrpSpPr>
              <a:grpSpLocks noChangeAspect="1"/>
            </p:cNvGrpSpPr>
            <p:nvPr/>
          </p:nvGrpSpPr>
          <p:grpSpPr>
            <a:xfrm>
              <a:off x="12865796" y="2955888"/>
              <a:ext cx="1682054" cy="1682496"/>
              <a:chOff x="3225764" y="7609546"/>
              <a:chExt cx="3477922" cy="3478835"/>
            </a:xfrm>
          </p:grpSpPr>
          <p:sp>
            <p:nvSpPr>
              <p:cNvPr id="34" name="AutoShape 3"/>
              <p:cNvSpPr>
                <a:spLocks/>
              </p:cNvSpPr>
              <p:nvPr/>
            </p:nvSpPr>
            <p:spPr bwMode="auto">
              <a:xfrm>
                <a:off x="3225764" y="7609546"/>
                <a:ext cx="3477922" cy="347883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35" name="Freeform 34"/>
              <p:cNvSpPr>
                <a:spLocks/>
              </p:cNvSpPr>
              <p:nvPr/>
            </p:nvSpPr>
            <p:spPr bwMode="auto">
              <a:xfrm>
                <a:off x="3809468" y="8184115"/>
                <a:ext cx="2894085" cy="2834079"/>
              </a:xfrm>
              <a:custGeom>
                <a:avLst/>
                <a:gdLst>
                  <a:gd name="connsiteX0" fmla="*/ 2061265 w 5029075"/>
                  <a:gd name="connsiteY0" fmla="*/ 0 h 4924802"/>
                  <a:gd name="connsiteX1" fmla="*/ 3362285 w 5029075"/>
                  <a:gd name="connsiteY1" fmla="*/ 462187 h 4924802"/>
                  <a:gd name="connsiteX2" fmla="*/ 3475453 w 5029075"/>
                  <a:gd name="connsiteY2" fmla="*/ 564451 h 4924802"/>
                  <a:gd name="connsiteX3" fmla="*/ 5000990 w 5029075"/>
                  <a:gd name="connsiteY3" fmla="*/ 1635358 h 4924802"/>
                  <a:gd name="connsiteX4" fmla="*/ 5015245 w 5029075"/>
                  <a:gd name="connsiteY4" fmla="*/ 1734152 h 4924802"/>
                  <a:gd name="connsiteX5" fmla="*/ 4143909 w 5029075"/>
                  <a:gd name="connsiteY5" fmla="*/ 4161136 h 4924802"/>
                  <a:gd name="connsiteX6" fmla="*/ 2867497 w 5029075"/>
                  <a:gd name="connsiteY6" fmla="*/ 4922026 h 4924802"/>
                  <a:gd name="connsiteX7" fmla="*/ 2856135 w 5029075"/>
                  <a:gd name="connsiteY7" fmla="*/ 4924802 h 4924802"/>
                  <a:gd name="connsiteX8" fmla="*/ 1363446 w 5029075"/>
                  <a:gd name="connsiteY8" fmla="*/ 3998957 h 4924802"/>
                  <a:gd name="connsiteX9" fmla="*/ 1285607 w 5029075"/>
                  <a:gd name="connsiteY9" fmla="*/ 3971726 h 4924802"/>
                  <a:gd name="connsiteX10" fmla="*/ 603673 w 5029075"/>
                  <a:gd name="connsiteY10" fmla="*/ 3518854 h 4924802"/>
                  <a:gd name="connsiteX11" fmla="*/ 603673 w 5029075"/>
                  <a:gd name="connsiteY11" fmla="*/ 603672 h 4924802"/>
                  <a:gd name="connsiteX12" fmla="*/ 2061265 w 5029075"/>
                  <a:gd name="connsiteY12" fmla="*/ 0 h 49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075" h="4924802">
                    <a:moveTo>
                      <a:pt x="2061265" y="0"/>
                    </a:moveTo>
                    <a:cubicBezTo>
                      <a:pt x="2522844" y="0"/>
                      <a:pt x="2984423" y="154062"/>
                      <a:pt x="3362285" y="462187"/>
                    </a:cubicBezTo>
                    <a:lnTo>
                      <a:pt x="3475453" y="564451"/>
                    </a:lnTo>
                    <a:lnTo>
                      <a:pt x="5000990" y="1635358"/>
                    </a:lnTo>
                    <a:lnTo>
                      <a:pt x="5015245" y="1734152"/>
                    </a:lnTo>
                    <a:cubicBezTo>
                      <a:pt x="5098229" y="2601125"/>
                      <a:pt x="4807784" y="3497086"/>
                      <a:pt x="4143909" y="4161136"/>
                    </a:cubicBezTo>
                    <a:cubicBezTo>
                      <a:pt x="3775089" y="4530053"/>
                      <a:pt x="3334711" y="4783683"/>
                      <a:pt x="2867497" y="4922026"/>
                    </a:cubicBezTo>
                    <a:lnTo>
                      <a:pt x="2856135" y="4924802"/>
                    </a:lnTo>
                    <a:lnTo>
                      <a:pt x="1363446" y="3998957"/>
                    </a:lnTo>
                    <a:lnTo>
                      <a:pt x="1285607" y="3971726"/>
                    </a:lnTo>
                    <a:cubicBezTo>
                      <a:pt x="1037468" y="3871088"/>
                      <a:pt x="804950" y="3720131"/>
                      <a:pt x="603673" y="3518854"/>
                    </a:cubicBezTo>
                    <a:cubicBezTo>
                      <a:pt x="-201224" y="2713749"/>
                      <a:pt x="-201224" y="1408778"/>
                      <a:pt x="603673" y="603672"/>
                    </a:cubicBezTo>
                    <a:cubicBezTo>
                      <a:pt x="1006226" y="201224"/>
                      <a:pt x="1533745" y="0"/>
                      <a:pt x="2061265" y="0"/>
                    </a:cubicBezTo>
                    <a:close/>
                  </a:path>
                </a:pathLst>
              </a:custGeom>
              <a:solidFill>
                <a:schemeClr val="accent5">
                  <a:lumMod val="75000"/>
                  <a:alpha val="75000"/>
                </a:schemeClr>
              </a:solidFill>
              <a:ln>
                <a:noFill/>
              </a:ln>
              <a:effectLst/>
              <a:extLst/>
            </p:spPr>
            <p:txBody>
              <a:bodyPr lIns="0" tIns="0" rIns="0" bIns="0" anchor="ctr"/>
              <a:lstStyle/>
              <a:p>
                <a:endParaRPr lang="en-US" dirty="0">
                  <a:latin typeface="Lato" panose="020F0502020204030203" pitchFamily="34" charset="0"/>
                </a:endParaRPr>
              </a:p>
            </p:txBody>
          </p:sp>
          <p:sp>
            <p:nvSpPr>
              <p:cNvPr id="36" name="AutoShape 5"/>
              <p:cNvSpPr>
                <a:spLocks/>
              </p:cNvSpPr>
              <p:nvPr/>
            </p:nvSpPr>
            <p:spPr bwMode="auto">
              <a:xfrm>
                <a:off x="3765221" y="8149460"/>
                <a:ext cx="2399008" cy="23990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6"/>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pic>
          <p:nvPicPr>
            <p:cNvPr id="4" name="Picture 3"/>
            <p:cNvPicPr>
              <a:picLocks noChangeAspect="1"/>
            </p:cNvPicPr>
            <p:nvPr/>
          </p:nvPicPr>
          <p:blipFill>
            <a:blip r:embed="rId5" cstate="email">
              <a:extLst>
                <a:ext uri="{28A0092B-C50C-407E-A947-70E740481C1C}">
                  <a14:useLocalDpi xmlns:a14="http://schemas.microsoft.com/office/drawing/2010/main" xmlns="" val="0"/>
                </a:ext>
              </a:extLst>
            </a:blip>
            <a:stretch>
              <a:fillRect/>
            </a:stretch>
          </p:blipFill>
          <p:spPr>
            <a:xfrm>
              <a:off x="13249623" y="3335862"/>
              <a:ext cx="914400" cy="914400"/>
            </a:xfrm>
            <a:prstGeom prst="rect">
              <a:avLst/>
            </a:prstGeom>
          </p:spPr>
        </p:pic>
      </p:grpSp>
      <p:sp>
        <p:nvSpPr>
          <p:cNvPr id="38" name="TextBox 37"/>
          <p:cNvSpPr txBox="1"/>
          <p:nvPr/>
        </p:nvSpPr>
        <p:spPr>
          <a:xfrm>
            <a:off x="4377730" y="4757129"/>
            <a:ext cx="7731948" cy="2631490"/>
          </a:xfrm>
          <a:prstGeom prst="rect">
            <a:avLst/>
          </a:prstGeom>
          <a:noFill/>
        </p:spPr>
        <p:txBody>
          <a:bodyPr wrap="square" rtlCol="0">
            <a:spAutoFit/>
          </a:bodyPr>
          <a:lstStyle/>
          <a:p>
            <a:pPr>
              <a:spcAft>
                <a:spcPts val="1800"/>
              </a:spcAft>
            </a:pPr>
            <a:r>
              <a:rPr lang="en-US" sz="2400" dirty="0">
                <a:solidFill>
                  <a:schemeClr val="bg1">
                    <a:lumMod val="25000"/>
                  </a:schemeClr>
                </a:solidFill>
                <a:latin typeface="+mj-lt"/>
              </a:rPr>
              <a:t>Masters in Corporate </a:t>
            </a:r>
            <a:r>
              <a:rPr lang="en-US" sz="2400" dirty="0" smtClean="0">
                <a:solidFill>
                  <a:schemeClr val="bg1">
                    <a:lumMod val="25000"/>
                  </a:schemeClr>
                </a:solidFill>
                <a:latin typeface="+mj-lt"/>
              </a:rPr>
              <a:t>Finance (EDHEC)</a:t>
            </a:r>
            <a:endParaRPr lang="en-US" sz="2400" dirty="0">
              <a:solidFill>
                <a:schemeClr val="bg1">
                  <a:lumMod val="25000"/>
                </a:schemeClr>
              </a:solidFill>
              <a:latin typeface="+mj-lt"/>
            </a:endParaRPr>
          </a:p>
          <a:p>
            <a:pPr>
              <a:spcAft>
                <a:spcPts val="1800"/>
              </a:spcAft>
            </a:pPr>
            <a:r>
              <a:rPr lang="en-US" sz="2400" dirty="0">
                <a:solidFill>
                  <a:schemeClr val="bg1">
                    <a:lumMod val="25000"/>
                  </a:schemeClr>
                </a:solidFill>
                <a:latin typeface="+mj-lt"/>
              </a:rPr>
              <a:t>15 years experience in Auditing and Internal Control (Nestlé, Faurecia, </a:t>
            </a:r>
            <a:r>
              <a:rPr lang="en-US" sz="2400" dirty="0" err="1">
                <a:solidFill>
                  <a:schemeClr val="bg1">
                    <a:lumMod val="25000"/>
                  </a:schemeClr>
                </a:solidFill>
                <a:latin typeface="+mj-lt"/>
              </a:rPr>
              <a:t>Gémalto</a:t>
            </a:r>
            <a:r>
              <a:rPr lang="en-US" sz="2400" dirty="0">
                <a:solidFill>
                  <a:schemeClr val="bg1">
                    <a:lumMod val="25000"/>
                  </a:schemeClr>
                </a:solidFill>
                <a:latin typeface="+mj-lt"/>
              </a:rPr>
              <a:t>)</a:t>
            </a:r>
          </a:p>
          <a:p>
            <a:pPr>
              <a:spcAft>
                <a:spcPts val="1800"/>
              </a:spcAft>
            </a:pPr>
            <a:r>
              <a:rPr lang="en-US" sz="2400" dirty="0">
                <a:solidFill>
                  <a:schemeClr val="bg1">
                    <a:lumMod val="25000"/>
                  </a:schemeClr>
                </a:solidFill>
                <a:latin typeface="+mj-lt"/>
              </a:rPr>
              <a:t>Certified Fraud Examiner</a:t>
            </a:r>
          </a:p>
          <a:p>
            <a:pPr>
              <a:spcAft>
                <a:spcPts val="1200"/>
              </a:spcAft>
            </a:pPr>
            <a:r>
              <a:rPr lang="en-US" sz="2400" dirty="0">
                <a:solidFill>
                  <a:schemeClr val="bg1">
                    <a:lumMod val="25000"/>
                  </a:schemeClr>
                </a:solidFill>
                <a:latin typeface="+mj-lt"/>
              </a:rPr>
              <a:t>8 years Industrial CEO </a:t>
            </a:r>
            <a:r>
              <a:rPr lang="en-US" sz="2400" dirty="0" smtClean="0">
                <a:solidFill>
                  <a:schemeClr val="bg1">
                    <a:lumMod val="25000"/>
                  </a:schemeClr>
                </a:solidFill>
                <a:latin typeface="+mj-lt"/>
              </a:rPr>
              <a:t>Experience</a:t>
            </a:r>
          </a:p>
        </p:txBody>
      </p:sp>
      <p:sp>
        <p:nvSpPr>
          <p:cNvPr id="8" name="Rectangle 7"/>
          <p:cNvSpPr/>
          <p:nvPr/>
        </p:nvSpPr>
        <p:spPr>
          <a:xfrm>
            <a:off x="18295307" y="9747559"/>
            <a:ext cx="5815114" cy="2631490"/>
          </a:xfrm>
          <a:prstGeom prst="rect">
            <a:avLst/>
          </a:prstGeom>
        </p:spPr>
        <p:txBody>
          <a:bodyPr wrap="square">
            <a:spAutoFit/>
          </a:bodyPr>
          <a:lstStyle/>
          <a:p>
            <a:pPr>
              <a:spcAft>
                <a:spcPts val="1800"/>
              </a:spcAft>
            </a:pPr>
            <a:r>
              <a:rPr lang="en-US" sz="2400" b="1" dirty="0" smtClean="0">
                <a:solidFill>
                  <a:schemeClr val="bg1">
                    <a:lumMod val="25000"/>
                  </a:schemeClr>
                </a:solidFill>
                <a:latin typeface="+mj-lt"/>
              </a:rPr>
              <a:t>Antoine </a:t>
            </a:r>
            <a:r>
              <a:rPr lang="en-US" sz="2400" b="1" dirty="0" err="1" smtClean="0">
                <a:solidFill>
                  <a:schemeClr val="bg1">
                    <a:lumMod val="25000"/>
                  </a:schemeClr>
                </a:solidFill>
                <a:latin typeface="+mj-lt"/>
              </a:rPr>
              <a:t>Rouchier</a:t>
            </a:r>
            <a:endParaRPr lang="en-US" sz="2400" b="1" dirty="0" smtClean="0">
              <a:solidFill>
                <a:schemeClr val="bg1">
                  <a:lumMod val="25000"/>
                </a:schemeClr>
              </a:solidFill>
              <a:latin typeface="+mj-lt"/>
            </a:endParaRPr>
          </a:p>
          <a:p>
            <a:pPr>
              <a:spcAft>
                <a:spcPts val="1800"/>
              </a:spcAft>
            </a:pPr>
            <a:r>
              <a:rPr lang="en-US" sz="2400" dirty="0" smtClean="0">
                <a:solidFill>
                  <a:schemeClr val="bg1">
                    <a:lumMod val="25000"/>
                  </a:schemeClr>
                </a:solidFill>
                <a:latin typeface="+mj-lt"/>
              </a:rPr>
              <a:t>Masters </a:t>
            </a:r>
            <a:r>
              <a:rPr lang="en-US" sz="2400" dirty="0">
                <a:solidFill>
                  <a:schemeClr val="bg1">
                    <a:lumMod val="25000"/>
                  </a:schemeClr>
                </a:solidFill>
                <a:latin typeface="+mj-lt"/>
              </a:rPr>
              <a:t>in Corporate </a:t>
            </a:r>
            <a:r>
              <a:rPr lang="en-US" sz="2400" dirty="0" smtClean="0">
                <a:solidFill>
                  <a:schemeClr val="bg1">
                    <a:lumMod val="25000"/>
                  </a:schemeClr>
                </a:solidFill>
                <a:latin typeface="+mj-lt"/>
              </a:rPr>
              <a:t>Finance (EDHEC)</a:t>
            </a:r>
            <a:endParaRPr lang="en-US" sz="2400" dirty="0">
              <a:solidFill>
                <a:schemeClr val="bg1">
                  <a:lumMod val="25000"/>
                </a:schemeClr>
              </a:solidFill>
              <a:latin typeface="+mj-lt"/>
            </a:endParaRPr>
          </a:p>
          <a:p>
            <a:pPr>
              <a:spcAft>
                <a:spcPts val="0"/>
              </a:spcAft>
            </a:pPr>
            <a:r>
              <a:rPr lang="en-US" sz="2400" dirty="0">
                <a:solidFill>
                  <a:schemeClr val="bg1">
                    <a:lumMod val="25000"/>
                  </a:schemeClr>
                </a:solidFill>
                <a:latin typeface="+mj-lt"/>
              </a:rPr>
              <a:t>20 years SAP FICO experience</a:t>
            </a:r>
          </a:p>
          <a:p>
            <a:pPr>
              <a:spcAft>
                <a:spcPts val="1800"/>
              </a:spcAft>
            </a:pPr>
            <a:r>
              <a:rPr lang="en-US" sz="2400" dirty="0">
                <a:solidFill>
                  <a:schemeClr val="bg1">
                    <a:lumMod val="25000"/>
                  </a:schemeClr>
                </a:solidFill>
                <a:latin typeface="+mj-lt"/>
              </a:rPr>
              <a:t>    (Project Management)</a:t>
            </a:r>
          </a:p>
          <a:p>
            <a:pPr>
              <a:spcAft>
                <a:spcPts val="1200"/>
              </a:spcAft>
            </a:pPr>
            <a:r>
              <a:rPr lang="en-US" sz="2400" dirty="0">
                <a:solidFill>
                  <a:schemeClr val="bg1">
                    <a:lumMod val="25000"/>
                  </a:schemeClr>
                </a:solidFill>
                <a:latin typeface="+mj-lt"/>
              </a:rPr>
              <a:t>9 years IT CEO Experience</a:t>
            </a:r>
          </a:p>
        </p:txBody>
      </p:sp>
      <p:sp>
        <p:nvSpPr>
          <p:cNvPr id="17" name="Rectangle 16"/>
          <p:cNvSpPr/>
          <p:nvPr/>
        </p:nvSpPr>
        <p:spPr>
          <a:xfrm>
            <a:off x="10984124" y="9687393"/>
            <a:ext cx="6673136" cy="3308598"/>
          </a:xfrm>
          <a:prstGeom prst="rect">
            <a:avLst/>
          </a:prstGeom>
        </p:spPr>
        <p:txBody>
          <a:bodyPr wrap="square">
            <a:spAutoFit/>
          </a:bodyPr>
          <a:lstStyle/>
          <a:p>
            <a:pPr>
              <a:spcAft>
                <a:spcPts val="1800"/>
              </a:spcAft>
            </a:pPr>
            <a:r>
              <a:rPr lang="en-US" sz="2400" b="1" dirty="0" smtClean="0">
                <a:solidFill>
                  <a:schemeClr val="bg1">
                    <a:lumMod val="25000"/>
                  </a:schemeClr>
                </a:solidFill>
                <a:latin typeface="+mj-lt"/>
              </a:rPr>
              <a:t>Xavier </a:t>
            </a:r>
            <a:r>
              <a:rPr lang="en-US" sz="2400" b="1" dirty="0" err="1" smtClean="0">
                <a:solidFill>
                  <a:schemeClr val="bg1">
                    <a:lumMod val="25000"/>
                  </a:schemeClr>
                </a:solidFill>
                <a:latin typeface="+mj-lt"/>
              </a:rPr>
              <a:t>Ayral</a:t>
            </a:r>
            <a:endParaRPr lang="en-US" sz="2400" b="1" dirty="0" smtClean="0">
              <a:solidFill>
                <a:schemeClr val="bg1">
                  <a:lumMod val="25000"/>
                </a:schemeClr>
              </a:solidFill>
              <a:latin typeface="+mj-lt"/>
            </a:endParaRPr>
          </a:p>
          <a:p>
            <a:pPr>
              <a:spcAft>
                <a:spcPts val="1800"/>
              </a:spcAft>
            </a:pPr>
            <a:r>
              <a:rPr lang="en-US" sz="2400" dirty="0" smtClean="0">
                <a:solidFill>
                  <a:schemeClr val="bg1">
                    <a:lumMod val="25000"/>
                  </a:schemeClr>
                </a:solidFill>
                <a:latin typeface="+mj-lt"/>
              </a:rPr>
              <a:t>Bachelors </a:t>
            </a:r>
            <a:r>
              <a:rPr lang="en-US" sz="2400" dirty="0">
                <a:solidFill>
                  <a:schemeClr val="bg1">
                    <a:lumMod val="25000"/>
                  </a:schemeClr>
                </a:solidFill>
                <a:latin typeface="+mj-lt"/>
              </a:rPr>
              <a:t>in Business Administration</a:t>
            </a:r>
          </a:p>
          <a:p>
            <a:pPr>
              <a:spcBef>
                <a:spcPts val="600"/>
              </a:spcBef>
            </a:pPr>
            <a:r>
              <a:rPr lang="en-US" sz="2400" dirty="0">
                <a:solidFill>
                  <a:schemeClr val="bg1">
                    <a:lumMod val="25000"/>
                  </a:schemeClr>
                </a:solidFill>
                <a:latin typeface="+mj-lt"/>
              </a:rPr>
              <a:t>17 years SAP experience</a:t>
            </a:r>
          </a:p>
          <a:p>
            <a:pPr>
              <a:spcAft>
                <a:spcPts val="1800"/>
              </a:spcAft>
            </a:pPr>
            <a:r>
              <a:rPr lang="en-US" sz="2400" dirty="0">
                <a:solidFill>
                  <a:schemeClr val="bg1">
                    <a:lumMod val="25000"/>
                  </a:schemeClr>
                </a:solidFill>
                <a:latin typeface="+mj-lt"/>
              </a:rPr>
              <a:t> (Technical and Functional)</a:t>
            </a:r>
          </a:p>
          <a:p>
            <a:pPr>
              <a:spcBef>
                <a:spcPts val="0"/>
              </a:spcBef>
              <a:spcAft>
                <a:spcPts val="1800"/>
              </a:spcAft>
            </a:pPr>
            <a:r>
              <a:rPr lang="en-US" sz="2400" dirty="0">
                <a:solidFill>
                  <a:schemeClr val="bg1">
                    <a:lumMod val="25000"/>
                  </a:schemeClr>
                </a:solidFill>
                <a:latin typeface="+mj-lt"/>
              </a:rPr>
              <a:t>SAP Certified  - MM, BW, ASAP</a:t>
            </a:r>
          </a:p>
          <a:p>
            <a:pPr>
              <a:spcBef>
                <a:spcPts val="0"/>
              </a:spcBef>
              <a:spcAft>
                <a:spcPts val="1200"/>
              </a:spcAft>
            </a:pPr>
            <a:r>
              <a:rPr lang="en-US" sz="2400" dirty="0">
                <a:solidFill>
                  <a:schemeClr val="bg1">
                    <a:lumMod val="25000"/>
                  </a:schemeClr>
                </a:solidFill>
                <a:latin typeface="+mj-lt"/>
              </a:rPr>
              <a:t>9 years IT CEO Experience</a:t>
            </a:r>
          </a:p>
        </p:txBody>
      </p:sp>
      <p:grpSp>
        <p:nvGrpSpPr>
          <p:cNvPr id="2" name="Group 1"/>
          <p:cNvGrpSpPr/>
          <p:nvPr/>
        </p:nvGrpSpPr>
        <p:grpSpPr>
          <a:xfrm>
            <a:off x="12579820" y="6773315"/>
            <a:ext cx="2714589" cy="2685591"/>
            <a:chOff x="2666206" y="2424787"/>
            <a:chExt cx="4585494" cy="4903787"/>
          </a:xfrm>
        </p:grpSpPr>
        <p:grpSp>
          <p:nvGrpSpPr>
            <p:cNvPr id="9" name="Group 8"/>
            <p:cNvGrpSpPr/>
            <p:nvPr/>
          </p:nvGrpSpPr>
          <p:grpSpPr>
            <a:xfrm>
              <a:off x="2666206" y="2424787"/>
              <a:ext cx="4585494" cy="4903787"/>
              <a:chOff x="2666206" y="2954173"/>
              <a:chExt cx="4585494" cy="4903787"/>
            </a:xfrm>
          </p:grpSpPr>
          <p:sp>
            <p:nvSpPr>
              <p:cNvPr id="72710" name="AutoShape 6"/>
              <p:cNvSpPr>
                <a:spLocks/>
              </p:cNvSpPr>
              <p:nvPr/>
            </p:nvSpPr>
            <p:spPr bwMode="auto">
              <a:xfrm>
                <a:off x="2857500" y="3463760"/>
                <a:ext cx="4394200" cy="43942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bg1">
                  <a:lumMod val="75000"/>
                  <a:alpha val="80000"/>
                </a:schemeClr>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pic>
            <p:nvPicPr>
              <p:cNvPr id="72711" name="Picture 7"/>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bwMode="auto">
              <a:xfrm>
                <a:off x="2666206" y="3489160"/>
                <a:ext cx="4356100" cy="43561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nvGrpSpPr>
              <p:cNvPr id="28" name="Group 27"/>
              <p:cNvGrpSpPr>
                <a:grpSpLocks noChangeAspect="1"/>
              </p:cNvGrpSpPr>
              <p:nvPr/>
            </p:nvGrpSpPr>
            <p:grpSpPr>
              <a:xfrm>
                <a:off x="5345992" y="2954173"/>
                <a:ext cx="1682054" cy="1682496"/>
                <a:chOff x="3225764" y="7609546"/>
                <a:chExt cx="3477922" cy="3478835"/>
              </a:xfrm>
            </p:grpSpPr>
            <p:sp>
              <p:nvSpPr>
                <p:cNvPr id="29" name="AutoShape 3"/>
                <p:cNvSpPr>
                  <a:spLocks/>
                </p:cNvSpPr>
                <p:nvPr/>
              </p:nvSpPr>
              <p:spPr bwMode="auto">
                <a:xfrm>
                  <a:off x="3225764" y="7609546"/>
                  <a:ext cx="3477922" cy="347883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30" name="Freeform 29"/>
                <p:cNvSpPr>
                  <a:spLocks/>
                </p:cNvSpPr>
                <p:nvPr/>
              </p:nvSpPr>
              <p:spPr bwMode="auto">
                <a:xfrm>
                  <a:off x="3809468" y="8184115"/>
                  <a:ext cx="2894085" cy="2834079"/>
                </a:xfrm>
                <a:custGeom>
                  <a:avLst/>
                  <a:gdLst>
                    <a:gd name="connsiteX0" fmla="*/ 2061265 w 5029075"/>
                    <a:gd name="connsiteY0" fmla="*/ 0 h 4924802"/>
                    <a:gd name="connsiteX1" fmla="*/ 3362285 w 5029075"/>
                    <a:gd name="connsiteY1" fmla="*/ 462187 h 4924802"/>
                    <a:gd name="connsiteX2" fmla="*/ 3475453 w 5029075"/>
                    <a:gd name="connsiteY2" fmla="*/ 564451 h 4924802"/>
                    <a:gd name="connsiteX3" fmla="*/ 5000990 w 5029075"/>
                    <a:gd name="connsiteY3" fmla="*/ 1635358 h 4924802"/>
                    <a:gd name="connsiteX4" fmla="*/ 5015245 w 5029075"/>
                    <a:gd name="connsiteY4" fmla="*/ 1734152 h 4924802"/>
                    <a:gd name="connsiteX5" fmla="*/ 4143909 w 5029075"/>
                    <a:gd name="connsiteY5" fmla="*/ 4161136 h 4924802"/>
                    <a:gd name="connsiteX6" fmla="*/ 2867497 w 5029075"/>
                    <a:gd name="connsiteY6" fmla="*/ 4922026 h 4924802"/>
                    <a:gd name="connsiteX7" fmla="*/ 2856135 w 5029075"/>
                    <a:gd name="connsiteY7" fmla="*/ 4924802 h 4924802"/>
                    <a:gd name="connsiteX8" fmla="*/ 1363446 w 5029075"/>
                    <a:gd name="connsiteY8" fmla="*/ 3998957 h 4924802"/>
                    <a:gd name="connsiteX9" fmla="*/ 1285607 w 5029075"/>
                    <a:gd name="connsiteY9" fmla="*/ 3971726 h 4924802"/>
                    <a:gd name="connsiteX10" fmla="*/ 603673 w 5029075"/>
                    <a:gd name="connsiteY10" fmla="*/ 3518854 h 4924802"/>
                    <a:gd name="connsiteX11" fmla="*/ 603673 w 5029075"/>
                    <a:gd name="connsiteY11" fmla="*/ 603672 h 4924802"/>
                    <a:gd name="connsiteX12" fmla="*/ 2061265 w 5029075"/>
                    <a:gd name="connsiteY12" fmla="*/ 0 h 49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075" h="4924802">
                      <a:moveTo>
                        <a:pt x="2061265" y="0"/>
                      </a:moveTo>
                      <a:cubicBezTo>
                        <a:pt x="2522844" y="0"/>
                        <a:pt x="2984423" y="154062"/>
                        <a:pt x="3362285" y="462187"/>
                      </a:cubicBezTo>
                      <a:lnTo>
                        <a:pt x="3475453" y="564451"/>
                      </a:lnTo>
                      <a:lnTo>
                        <a:pt x="5000990" y="1635358"/>
                      </a:lnTo>
                      <a:lnTo>
                        <a:pt x="5015245" y="1734152"/>
                      </a:lnTo>
                      <a:cubicBezTo>
                        <a:pt x="5098229" y="2601125"/>
                        <a:pt x="4807784" y="3497086"/>
                        <a:pt x="4143909" y="4161136"/>
                      </a:cubicBezTo>
                      <a:cubicBezTo>
                        <a:pt x="3775089" y="4530053"/>
                        <a:pt x="3334711" y="4783683"/>
                        <a:pt x="2867497" y="4922026"/>
                      </a:cubicBezTo>
                      <a:lnTo>
                        <a:pt x="2856135" y="4924802"/>
                      </a:lnTo>
                      <a:lnTo>
                        <a:pt x="1363446" y="3998957"/>
                      </a:lnTo>
                      <a:lnTo>
                        <a:pt x="1285607" y="3971726"/>
                      </a:lnTo>
                      <a:cubicBezTo>
                        <a:pt x="1037468" y="3871088"/>
                        <a:pt x="804950" y="3720131"/>
                        <a:pt x="603673" y="3518854"/>
                      </a:cubicBezTo>
                      <a:cubicBezTo>
                        <a:pt x="-201224" y="2713749"/>
                        <a:pt x="-201224" y="1408778"/>
                        <a:pt x="603673" y="603672"/>
                      </a:cubicBezTo>
                      <a:cubicBezTo>
                        <a:pt x="1006226" y="201224"/>
                        <a:pt x="1533745" y="0"/>
                        <a:pt x="2061265" y="0"/>
                      </a:cubicBezTo>
                      <a:close/>
                    </a:path>
                  </a:pathLst>
                </a:custGeom>
                <a:solidFill>
                  <a:schemeClr val="accent5">
                    <a:lumMod val="75000"/>
                    <a:alpha val="75000"/>
                  </a:schemeClr>
                </a:solidFill>
                <a:ln>
                  <a:noFill/>
                </a:ln>
                <a:effectLst/>
                <a:extLst/>
              </p:spPr>
              <p:txBody>
                <a:bodyPr lIns="0" tIns="0" rIns="0" bIns="0" anchor="ctr"/>
                <a:lstStyle/>
                <a:p>
                  <a:endParaRPr lang="en-US" dirty="0">
                    <a:latin typeface="Lato" panose="020F0502020204030203" pitchFamily="34" charset="0"/>
                  </a:endParaRPr>
                </a:p>
              </p:txBody>
            </p:sp>
            <p:sp>
              <p:nvSpPr>
                <p:cNvPr id="31" name="AutoShape 5"/>
                <p:cNvSpPr>
                  <a:spLocks/>
                </p:cNvSpPr>
                <p:nvPr/>
              </p:nvSpPr>
              <p:spPr bwMode="auto">
                <a:xfrm>
                  <a:off x="3765221" y="8149460"/>
                  <a:ext cx="2399008" cy="23990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6"/>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grpSp>
        <p:pic>
          <p:nvPicPr>
            <p:cNvPr id="5" name="Picture 4"/>
            <p:cNvPicPr>
              <a:picLocks noChangeAspect="1"/>
            </p:cNvPicPr>
            <p:nvPr/>
          </p:nvPicPr>
          <p:blipFill>
            <a:blip r:embed="rId7" cstate="email">
              <a:extLst>
                <a:ext uri="{28A0092B-C50C-407E-A947-70E740481C1C}">
                  <a14:useLocalDpi xmlns:a14="http://schemas.microsoft.com/office/drawing/2010/main" xmlns="" val="0"/>
                </a:ext>
              </a:extLst>
            </a:blip>
            <a:stretch>
              <a:fillRect/>
            </a:stretch>
          </p:blipFill>
          <p:spPr>
            <a:xfrm>
              <a:off x="5839326" y="2908974"/>
              <a:ext cx="731520" cy="731520"/>
            </a:xfrm>
            <a:prstGeom prst="rect">
              <a:avLst/>
            </a:prstGeom>
          </p:spPr>
        </p:pic>
      </p:grpSp>
      <p:pic>
        <p:nvPicPr>
          <p:cNvPr id="46" name="Image 45" descr="Photo Mauro.jpg"/>
          <p:cNvPicPr>
            <a:picLocks noChangeAspect="1"/>
          </p:cNvPicPr>
          <p:nvPr/>
        </p:nvPicPr>
        <p:blipFill rotWithShape="1">
          <a:blip r:embed="rId8">
            <a:grayscl/>
            <a:extLst>
              <a:ext uri="{28A0092B-C50C-407E-A947-70E740481C1C}">
                <a14:useLocalDpi xmlns:a14="http://schemas.microsoft.com/office/drawing/2010/main" xmlns="" val="0"/>
              </a:ext>
            </a:extLst>
          </a:blip>
          <a:srcRect l="28454" t="5012" r="19865" b="43374"/>
          <a:stretch/>
        </p:blipFill>
        <p:spPr>
          <a:xfrm>
            <a:off x="876193" y="8553394"/>
            <a:ext cx="3420266" cy="349283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53" name="AutoShape 10"/>
          <p:cNvSpPr>
            <a:spLocks/>
          </p:cNvSpPr>
          <p:nvPr/>
        </p:nvSpPr>
        <p:spPr bwMode="auto">
          <a:xfrm>
            <a:off x="4726226" y="8183225"/>
            <a:ext cx="4538760" cy="6112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400" b="1" dirty="0" smtClean="0">
                <a:solidFill>
                  <a:schemeClr val="tx1"/>
                </a:solidFill>
                <a:latin typeface="Aleo" panose="020F0502020204030203" pitchFamily="34" charset="0"/>
                <a:ea typeface="Aleo Regular" charset="0"/>
                <a:cs typeface="Aleo Regular" charset="0"/>
                <a:sym typeface="Aleo Regular" charset="0"/>
              </a:rPr>
              <a:t>Mauro Molinari</a:t>
            </a:r>
            <a:endParaRPr lang="en-US" dirty="0">
              <a:solidFill>
                <a:schemeClr val="tx1"/>
              </a:solidFill>
              <a:latin typeface="Lato" panose="020F0502020204030203" pitchFamily="34" charset="0"/>
            </a:endParaRPr>
          </a:p>
        </p:txBody>
      </p:sp>
      <p:sp>
        <p:nvSpPr>
          <p:cNvPr id="54" name="AutoShape 11"/>
          <p:cNvSpPr>
            <a:spLocks/>
          </p:cNvSpPr>
          <p:nvPr/>
        </p:nvSpPr>
        <p:spPr bwMode="auto">
          <a:xfrm>
            <a:off x="5431260" y="8794447"/>
            <a:ext cx="2962802" cy="52972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36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rPr>
              <a:t>CTO</a:t>
            </a:r>
            <a:endParaRPr lang="en-US" dirty="0">
              <a:solidFill>
                <a:schemeClr val="tx1"/>
              </a:solidFill>
              <a:latin typeface="Lato" panose="020F0502020204030203" pitchFamily="34" charset="0"/>
            </a:endParaRPr>
          </a:p>
        </p:txBody>
      </p:sp>
      <p:sp>
        <p:nvSpPr>
          <p:cNvPr id="55" name="TextBox 37"/>
          <p:cNvSpPr txBox="1"/>
          <p:nvPr/>
        </p:nvSpPr>
        <p:spPr>
          <a:xfrm>
            <a:off x="4713751" y="9244556"/>
            <a:ext cx="5625488" cy="4247317"/>
          </a:xfrm>
          <a:prstGeom prst="rect">
            <a:avLst/>
          </a:prstGeom>
          <a:noFill/>
        </p:spPr>
        <p:txBody>
          <a:bodyPr wrap="square" rtlCol="0">
            <a:spAutoFit/>
          </a:bodyPr>
          <a:lstStyle/>
          <a:p>
            <a:pPr>
              <a:spcAft>
                <a:spcPts val="1800"/>
              </a:spcAft>
            </a:pPr>
            <a:r>
              <a:rPr lang="en-US" sz="2400" dirty="0">
                <a:solidFill>
                  <a:schemeClr val="bg1">
                    <a:lumMod val="25000"/>
                  </a:schemeClr>
                </a:solidFill>
                <a:latin typeface="+mj-lt"/>
              </a:rPr>
              <a:t>M</a:t>
            </a:r>
            <a:r>
              <a:rPr lang="en-US" sz="2400" dirty="0" smtClean="0">
                <a:solidFill>
                  <a:schemeClr val="bg1">
                    <a:lumMod val="25000"/>
                  </a:schemeClr>
                </a:solidFill>
                <a:latin typeface="+mj-lt"/>
              </a:rPr>
              <a:t>aster </a:t>
            </a:r>
            <a:r>
              <a:rPr lang="en-US" sz="2400" dirty="0">
                <a:solidFill>
                  <a:schemeClr val="bg1">
                    <a:lumMod val="25000"/>
                  </a:schemeClr>
                </a:solidFill>
                <a:latin typeface="+mj-lt"/>
              </a:rPr>
              <a:t>degree : audit and accounting (</a:t>
            </a:r>
            <a:r>
              <a:rPr lang="en-US" sz="2400" dirty="0" smtClean="0">
                <a:solidFill>
                  <a:schemeClr val="bg1">
                    <a:lumMod val="25000"/>
                  </a:schemeClr>
                </a:solidFill>
                <a:latin typeface="+mj-lt"/>
              </a:rPr>
              <a:t>HEC)- </a:t>
            </a:r>
            <a:r>
              <a:rPr lang="en-US" sz="2400" dirty="0">
                <a:latin typeface="Calibri, Verdana, Helvetica, Arial"/>
              </a:rPr>
              <a:t>Master degree : Electrical Engineer </a:t>
            </a:r>
            <a:r>
              <a:rPr lang="en-US" sz="2400" dirty="0" smtClean="0">
                <a:latin typeface="Calibri, Verdana, Helvetica, Arial"/>
              </a:rPr>
              <a:t>– </a:t>
            </a:r>
            <a:r>
              <a:rPr lang="en-US" sz="2400" dirty="0" err="1" smtClean="0">
                <a:latin typeface="Calibri, Verdana, Helvetica, Arial"/>
              </a:rPr>
              <a:t>Bruxelles</a:t>
            </a:r>
            <a:r>
              <a:rPr lang="en-US" sz="2400" dirty="0" smtClean="0">
                <a:latin typeface="Calibri, Verdana, Helvetica, Arial"/>
              </a:rPr>
              <a:t> University- </a:t>
            </a:r>
            <a:r>
              <a:rPr lang="en-US" sz="2400" dirty="0">
                <a:latin typeface="Calibri, Verdana, Helvetica, Arial"/>
              </a:rPr>
              <a:t>Master degree : Computer Engineer </a:t>
            </a:r>
            <a:r>
              <a:rPr lang="en-US" sz="2400" dirty="0" smtClean="0">
                <a:latin typeface="Calibri, Verdana, Helvetica, Arial"/>
              </a:rPr>
              <a:t> Mons University - </a:t>
            </a:r>
            <a:r>
              <a:rPr lang="en-US" sz="2400" dirty="0">
                <a:latin typeface="Calibri, Verdana, Helvetica, Arial"/>
              </a:rPr>
              <a:t>Computer Engineering </a:t>
            </a:r>
            <a:r>
              <a:rPr lang="en-US" sz="2400" dirty="0" smtClean="0">
                <a:latin typeface="Calibri, Verdana, Helvetica, Arial"/>
              </a:rPr>
              <a:t>lectures</a:t>
            </a:r>
            <a:r>
              <a:rPr lang="en-US" sz="2400" dirty="0" smtClean="0"/>
              <a:t>, </a:t>
            </a:r>
            <a:r>
              <a:rPr lang="en-US" sz="2400" dirty="0" err="1" smtClean="0"/>
              <a:t>Politecnico</a:t>
            </a:r>
            <a:r>
              <a:rPr lang="en-US" sz="2400" dirty="0" smtClean="0"/>
              <a:t> di Milano</a:t>
            </a:r>
            <a:endParaRPr lang="en-US" sz="2400" dirty="0" smtClean="0">
              <a:solidFill>
                <a:schemeClr val="bg1">
                  <a:lumMod val="25000"/>
                </a:schemeClr>
              </a:solidFill>
              <a:latin typeface="+mj-lt"/>
            </a:endParaRPr>
          </a:p>
          <a:p>
            <a:pPr>
              <a:spcAft>
                <a:spcPts val="1800"/>
              </a:spcAft>
            </a:pPr>
            <a:r>
              <a:rPr lang="en-US" sz="2400" dirty="0" smtClean="0">
                <a:solidFill>
                  <a:schemeClr val="bg1">
                    <a:lumMod val="25000"/>
                  </a:schemeClr>
                </a:solidFill>
                <a:latin typeface="+mj-lt"/>
              </a:rPr>
              <a:t>SAP Academy / Certified </a:t>
            </a:r>
            <a:r>
              <a:rPr lang="en-US" sz="2400" dirty="0">
                <a:solidFill>
                  <a:schemeClr val="bg1">
                    <a:lumMod val="25000"/>
                  </a:schemeClr>
                </a:solidFill>
                <a:latin typeface="+mj-lt"/>
              </a:rPr>
              <a:t>Fraud </a:t>
            </a:r>
            <a:r>
              <a:rPr lang="en-US" sz="2400" dirty="0" smtClean="0">
                <a:solidFill>
                  <a:schemeClr val="bg1">
                    <a:lumMod val="25000"/>
                  </a:schemeClr>
                </a:solidFill>
                <a:latin typeface="+mj-lt"/>
              </a:rPr>
              <a:t>Examiner /  </a:t>
            </a:r>
            <a:r>
              <a:rPr lang="en-US" sz="2400" dirty="0">
                <a:solidFill>
                  <a:schemeClr val="bg1">
                    <a:lumMod val="25000"/>
                  </a:schemeClr>
                </a:solidFill>
                <a:latin typeface="+mj-lt"/>
              </a:rPr>
              <a:t>Certified Information System Auditor</a:t>
            </a:r>
          </a:p>
          <a:p>
            <a:pPr>
              <a:spcAft>
                <a:spcPts val="1800"/>
              </a:spcAft>
            </a:pPr>
            <a:r>
              <a:rPr lang="en-US" sz="2400" dirty="0" smtClean="0">
                <a:solidFill>
                  <a:schemeClr val="bg1">
                    <a:lumMod val="25000"/>
                  </a:schemeClr>
                </a:solidFill>
                <a:latin typeface="+mj-lt"/>
              </a:rPr>
              <a:t>Ex EY Audit Manager</a:t>
            </a:r>
            <a:endParaRPr lang="en-US" sz="2400" dirty="0">
              <a:solidFill>
                <a:schemeClr val="bg1">
                  <a:lumMod val="25000"/>
                </a:schemeClr>
              </a:solidFill>
              <a:latin typeface="+mj-lt"/>
            </a:endParaRPr>
          </a:p>
        </p:txBody>
      </p:sp>
      <p:sp>
        <p:nvSpPr>
          <p:cNvPr id="56" name="AutoShape 13"/>
          <p:cNvSpPr>
            <a:spLocks/>
          </p:cNvSpPr>
          <p:nvPr/>
        </p:nvSpPr>
        <p:spPr bwMode="auto">
          <a:xfrm>
            <a:off x="15066797" y="6028411"/>
            <a:ext cx="5076027" cy="15140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800" b="1" dirty="0">
                <a:solidFill>
                  <a:schemeClr val="tx1"/>
                </a:solidFill>
                <a:latin typeface="+mj-lt"/>
                <a:ea typeface="Lato Light" panose="020F0302020204030203" pitchFamily="34" charset="0"/>
                <a:cs typeface="Lato Light" panose="020F0302020204030203" pitchFamily="34" charset="0"/>
                <a:sym typeface="Lato Light" panose="020F0302020204030203" pitchFamily="34" charset="0"/>
              </a:rPr>
              <a:t>SAP </a:t>
            </a:r>
            <a:r>
              <a:rPr lang="en-US" sz="4800" b="1" dirty="0" smtClean="0">
                <a:solidFill>
                  <a:schemeClr val="tx1"/>
                </a:solidFill>
                <a:latin typeface="+mj-lt"/>
                <a:ea typeface="Lato Light" panose="020F0302020204030203" pitchFamily="34" charset="0"/>
                <a:cs typeface="Lato Light" panose="020F0302020204030203" pitchFamily="34" charset="0"/>
                <a:sym typeface="Lato Light" panose="020F0302020204030203" pitchFamily="34" charset="0"/>
              </a:rPr>
              <a:t>Advisors</a:t>
            </a:r>
            <a:endParaRPr lang="en-US" sz="7200" b="1" dirty="0">
              <a:solidFill>
                <a:schemeClr val="tx1"/>
              </a:solidFill>
              <a:latin typeface="+mj-lt"/>
            </a:endParaRPr>
          </a:p>
        </p:txBody>
      </p:sp>
      <p:sp>
        <p:nvSpPr>
          <p:cNvPr id="58" name="AutoShape 13"/>
          <p:cNvSpPr>
            <a:spLocks/>
          </p:cNvSpPr>
          <p:nvPr/>
        </p:nvSpPr>
        <p:spPr bwMode="auto">
          <a:xfrm>
            <a:off x="17286762" y="509411"/>
            <a:ext cx="5076027" cy="15140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800" b="1" dirty="0" smtClean="0">
                <a:solidFill>
                  <a:schemeClr val="tx1"/>
                </a:solidFill>
                <a:latin typeface="+mj-lt"/>
                <a:ea typeface="Lato Light" panose="020F0302020204030203" pitchFamily="34" charset="0"/>
                <a:cs typeface="Lato Light" panose="020F0302020204030203" pitchFamily="34" charset="0"/>
                <a:sym typeface="Lato Light" panose="020F0302020204030203" pitchFamily="34" charset="0"/>
              </a:rPr>
              <a:t>BI Advisor</a:t>
            </a:r>
            <a:endParaRPr lang="en-US" sz="7200" b="1" dirty="0">
              <a:solidFill>
                <a:schemeClr val="tx1"/>
              </a:solidFill>
              <a:latin typeface="+mj-lt"/>
            </a:endParaRPr>
          </a:p>
        </p:txBody>
      </p:sp>
      <p:sp>
        <p:nvSpPr>
          <p:cNvPr id="41" name="Rectangle 40"/>
          <p:cNvSpPr/>
          <p:nvPr/>
        </p:nvSpPr>
        <p:spPr>
          <a:xfrm>
            <a:off x="16029633" y="4542799"/>
            <a:ext cx="6673136" cy="1661993"/>
          </a:xfrm>
          <a:prstGeom prst="rect">
            <a:avLst/>
          </a:prstGeom>
        </p:spPr>
        <p:txBody>
          <a:bodyPr wrap="square">
            <a:spAutoFit/>
          </a:bodyPr>
          <a:lstStyle/>
          <a:p>
            <a:pPr>
              <a:spcAft>
                <a:spcPts val="1800"/>
              </a:spcAft>
            </a:pPr>
            <a:r>
              <a:rPr lang="en-US" sz="2400" b="1" dirty="0" err="1" smtClean="0">
                <a:solidFill>
                  <a:schemeClr val="bg1">
                    <a:lumMod val="25000"/>
                  </a:schemeClr>
                </a:solidFill>
                <a:latin typeface="+mj-lt"/>
              </a:rPr>
              <a:t>Fredéric</a:t>
            </a:r>
            <a:r>
              <a:rPr lang="en-US" sz="2400" b="1" dirty="0" smtClean="0">
                <a:solidFill>
                  <a:schemeClr val="bg1">
                    <a:lumMod val="25000"/>
                  </a:schemeClr>
                </a:solidFill>
                <a:latin typeface="+mj-lt"/>
              </a:rPr>
              <a:t> </a:t>
            </a:r>
            <a:r>
              <a:rPr lang="en-US" sz="2400" b="1" dirty="0" err="1" smtClean="0">
                <a:solidFill>
                  <a:schemeClr val="bg1">
                    <a:lumMod val="25000"/>
                  </a:schemeClr>
                </a:solidFill>
                <a:latin typeface="+mj-lt"/>
              </a:rPr>
              <a:t>Pastore</a:t>
            </a:r>
            <a:endParaRPr lang="en-US" sz="2400" b="1" dirty="0" smtClean="0">
              <a:solidFill>
                <a:schemeClr val="bg1">
                  <a:lumMod val="25000"/>
                </a:schemeClr>
              </a:solidFill>
              <a:latin typeface="+mj-lt"/>
            </a:endParaRPr>
          </a:p>
          <a:p>
            <a:pPr>
              <a:spcAft>
                <a:spcPts val="1800"/>
              </a:spcAft>
            </a:pPr>
            <a:r>
              <a:rPr lang="en-US" sz="2400" b="1" dirty="0" smtClean="0">
                <a:solidFill>
                  <a:schemeClr val="bg1">
                    <a:lumMod val="25000"/>
                  </a:schemeClr>
                </a:solidFill>
                <a:latin typeface="+mj-lt"/>
              </a:rPr>
              <a:t>Expert BI &amp; Big Data</a:t>
            </a:r>
            <a:endParaRPr lang="en-US" sz="2400" b="1" dirty="0">
              <a:solidFill>
                <a:schemeClr val="bg1">
                  <a:lumMod val="25000"/>
                </a:schemeClr>
              </a:solidFill>
              <a:latin typeface="+mj-lt"/>
            </a:endParaRPr>
          </a:p>
          <a:p>
            <a:pPr>
              <a:spcAft>
                <a:spcPts val="1800"/>
              </a:spcAft>
            </a:pPr>
            <a:endParaRPr lang="en-US" sz="2400" b="1" dirty="0" smtClean="0">
              <a:solidFill>
                <a:schemeClr val="bg1">
                  <a:lumMod val="25000"/>
                </a:schemeClr>
              </a:solidFill>
              <a:latin typeface="+mj-lt"/>
            </a:endParaRPr>
          </a:p>
        </p:txBody>
      </p:sp>
      <p:pic>
        <p:nvPicPr>
          <p:cNvPr id="6" name="Image 5" descr="photo Pastore.jpg"/>
          <p:cNvPicPr>
            <a:picLocks noChangeAspect="1"/>
          </p:cNvPicPr>
          <p:nvPr/>
        </p:nvPicPr>
        <p:blipFill>
          <a:blip r:embed="rId9">
            <a:extLst>
              <a:ext uri="{28A0092B-C50C-407E-A947-70E740481C1C}">
                <a14:useLocalDpi xmlns:a14="http://schemas.microsoft.com/office/drawing/2010/main" xmlns="" val="0"/>
              </a:ext>
            </a:extLst>
          </a:blip>
          <a:stretch>
            <a:fillRect/>
          </a:stretch>
        </p:blipFill>
        <p:spPr>
          <a:xfrm>
            <a:off x="18102551" y="1723486"/>
            <a:ext cx="2527300" cy="25273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xmlns="" val="763425547"/>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AutoShape 4"/>
          <p:cNvSpPr>
            <a:spLocks/>
          </p:cNvSpPr>
          <p:nvPr/>
        </p:nvSpPr>
        <p:spPr bwMode="auto">
          <a:xfrm>
            <a:off x="1485900" y="10598150"/>
            <a:ext cx="20891500" cy="762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4400" b="1" dirty="0">
                <a:solidFill>
                  <a:srgbClr val="333333"/>
                </a:solidFill>
                <a:latin typeface="Aleo" panose="020F0502020204030203" pitchFamily="34" charset="0"/>
                <a:ea typeface="Aleo Regular" charset="0"/>
                <a:cs typeface="Aleo Regular" charset="0"/>
                <a:sym typeface="Aleo Regular" charset="0"/>
              </a:rPr>
              <a:t>Conclusion</a:t>
            </a:r>
            <a:endParaRPr lang="en-US" dirty="0">
              <a:solidFill>
                <a:srgbClr val="333333"/>
              </a:solidFill>
              <a:latin typeface="Lato" panose="020F0502020204030203" pitchFamily="34" charset="0"/>
            </a:endParaRPr>
          </a:p>
        </p:txBody>
      </p:sp>
      <p:sp>
        <p:nvSpPr>
          <p:cNvPr id="73733" name="AutoShape 5"/>
          <p:cNvSpPr>
            <a:spLocks/>
          </p:cNvSpPr>
          <p:nvPr/>
        </p:nvSpPr>
        <p:spPr bwMode="auto">
          <a:xfrm>
            <a:off x="1485900" y="11496205"/>
            <a:ext cx="22207818" cy="1219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just"/>
            <a:r>
              <a:rPr lang="en-US" sz="4800" dirty="0">
                <a:latin typeface="Lato Light"/>
              </a:rPr>
              <a:t>Companies lose time and money trying to manage and organize all the requested data and building quickly relevant dashboards with easy to use &amp; implement solutions</a:t>
            </a:r>
          </a:p>
          <a:p>
            <a:pPr algn="l"/>
            <a:endParaRPr lang="en-US" sz="3600" dirty="0"/>
          </a:p>
          <a:p>
            <a:pPr algn="l"/>
            <a:endParaRPr lang="en-US" dirty="0">
              <a:solidFill>
                <a:schemeClr val="tx1"/>
              </a:solidFill>
              <a:latin typeface="Lato" panose="020F0502020204030203" pitchFamily="34" charset="0"/>
            </a:endParaRPr>
          </a:p>
        </p:txBody>
      </p:sp>
      <p:grpSp>
        <p:nvGrpSpPr>
          <p:cNvPr id="3" name="Group 2"/>
          <p:cNvGrpSpPr/>
          <p:nvPr/>
        </p:nvGrpSpPr>
        <p:grpSpPr>
          <a:xfrm>
            <a:off x="3168650" y="6471663"/>
            <a:ext cx="2387600" cy="2755900"/>
            <a:chOff x="3168650" y="3109913"/>
            <a:chExt cx="2387600" cy="2755900"/>
          </a:xfrm>
        </p:grpSpPr>
        <p:sp>
          <p:nvSpPr>
            <p:cNvPr id="73729" name="AutoShape 1"/>
            <p:cNvSpPr>
              <a:spLocks/>
            </p:cNvSpPr>
            <p:nvPr/>
          </p:nvSpPr>
          <p:spPr bwMode="auto">
            <a:xfrm>
              <a:off x="3168650" y="3109913"/>
              <a:ext cx="2386013" cy="27559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3730" name="AutoShape 2"/>
            <p:cNvSpPr>
              <a:spLocks/>
            </p:cNvSpPr>
            <p:nvPr/>
          </p:nvSpPr>
          <p:spPr bwMode="auto">
            <a:xfrm>
              <a:off x="3771900" y="4191000"/>
              <a:ext cx="1784350" cy="15827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967" y="21599"/>
                  </a:moveTo>
                  <a:lnTo>
                    <a:pt x="21599" y="13514"/>
                  </a:lnTo>
                  <a:lnTo>
                    <a:pt x="21523" y="4158"/>
                  </a:lnTo>
                  <a:lnTo>
                    <a:pt x="17141" y="0"/>
                  </a:lnTo>
                  <a:lnTo>
                    <a:pt x="0" y="12994"/>
                  </a:lnTo>
                  <a:lnTo>
                    <a:pt x="8967" y="21599"/>
                  </a:lnTo>
                  <a:close/>
                </a:path>
              </a:pathLst>
            </a:custGeom>
            <a:solidFill>
              <a:schemeClr val="accent5">
                <a:lumMod val="75000"/>
              </a:schemeClr>
            </a:solidFill>
            <a:ln>
              <a:noFill/>
            </a:ln>
            <a:effectLst/>
            <a:extLst/>
          </p:spPr>
          <p:txBody>
            <a:bodyPr lIns="0" tIns="0" rIns="0" bIns="0" anchor="ctr"/>
            <a:lstStyle/>
            <a:p>
              <a:endParaRPr lang="en-US" dirty="0">
                <a:latin typeface="Lato" panose="020F0502020204030203" pitchFamily="34" charset="0"/>
              </a:endParaRPr>
            </a:p>
          </p:txBody>
        </p:sp>
        <p:sp>
          <p:nvSpPr>
            <p:cNvPr id="73734" name="AutoShape 6"/>
            <p:cNvSpPr>
              <a:spLocks/>
            </p:cNvSpPr>
            <p:nvPr/>
          </p:nvSpPr>
          <p:spPr bwMode="auto">
            <a:xfrm>
              <a:off x="3509963" y="3530600"/>
              <a:ext cx="1716087" cy="19796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6"/>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grpSp>
        <p:nvGrpSpPr>
          <p:cNvPr id="4" name="Group 3"/>
          <p:cNvGrpSpPr/>
          <p:nvPr/>
        </p:nvGrpSpPr>
        <p:grpSpPr>
          <a:xfrm>
            <a:off x="3168650" y="3199668"/>
            <a:ext cx="2387600" cy="2754313"/>
            <a:chOff x="3168650" y="6642100"/>
            <a:chExt cx="2387600" cy="2754313"/>
          </a:xfrm>
        </p:grpSpPr>
        <p:sp>
          <p:nvSpPr>
            <p:cNvPr id="73735" name="AutoShape 7"/>
            <p:cNvSpPr>
              <a:spLocks/>
            </p:cNvSpPr>
            <p:nvPr/>
          </p:nvSpPr>
          <p:spPr bwMode="auto">
            <a:xfrm>
              <a:off x="3168650" y="6642100"/>
              <a:ext cx="2386013" cy="2754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3736" name="AutoShape 8"/>
            <p:cNvSpPr>
              <a:spLocks/>
            </p:cNvSpPr>
            <p:nvPr/>
          </p:nvSpPr>
          <p:spPr bwMode="auto">
            <a:xfrm>
              <a:off x="3771900" y="7721600"/>
              <a:ext cx="1784350" cy="15827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967" y="21599"/>
                  </a:moveTo>
                  <a:lnTo>
                    <a:pt x="21599" y="13514"/>
                  </a:lnTo>
                  <a:lnTo>
                    <a:pt x="21523" y="4158"/>
                  </a:lnTo>
                  <a:lnTo>
                    <a:pt x="17141" y="0"/>
                  </a:lnTo>
                  <a:lnTo>
                    <a:pt x="0" y="12994"/>
                  </a:lnTo>
                  <a:lnTo>
                    <a:pt x="8967" y="21599"/>
                  </a:lnTo>
                  <a:close/>
                </a:path>
              </a:pathLst>
            </a:custGeom>
            <a:solidFill>
              <a:schemeClr val="accent3">
                <a:lumMod val="75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73737" name="AutoShape 9"/>
            <p:cNvSpPr>
              <a:spLocks/>
            </p:cNvSpPr>
            <p:nvPr/>
          </p:nvSpPr>
          <p:spPr bwMode="auto">
            <a:xfrm>
              <a:off x="3509963" y="7035800"/>
              <a:ext cx="1716087" cy="19796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4"/>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sp>
        <p:nvSpPr>
          <p:cNvPr id="73741" name="AutoShape 13"/>
          <p:cNvSpPr>
            <a:spLocks/>
          </p:cNvSpPr>
          <p:nvPr/>
        </p:nvSpPr>
        <p:spPr bwMode="auto">
          <a:xfrm>
            <a:off x="6500162" y="5698501"/>
            <a:ext cx="17623862" cy="364006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l"/>
            <a:endParaRPr lang="en-US" sz="4800" dirty="0">
              <a:latin typeface="Lato Light"/>
            </a:endParaRPr>
          </a:p>
          <a:p>
            <a:pPr algn="l"/>
            <a:r>
              <a:rPr lang="en-US" sz="4800" dirty="0">
                <a:latin typeface="Lato Light"/>
              </a:rPr>
              <a:t>Internal audit knowledge remains hidden and only periodically surfaces in audit reports</a:t>
            </a:r>
          </a:p>
          <a:p>
            <a:pPr algn="l"/>
            <a:r>
              <a:rPr lang="en-US" sz="4800" dirty="0">
                <a:latin typeface="Lato Light"/>
              </a:rPr>
              <a:t> </a:t>
            </a:r>
          </a:p>
          <a:p>
            <a:pPr algn="l"/>
            <a:r>
              <a:rPr lang="en-US" sz="4800" dirty="0">
                <a:latin typeface="Lato Light"/>
              </a:rPr>
              <a:t>Only 30% of internal audit teams using analytics regularly</a:t>
            </a:r>
          </a:p>
          <a:p>
            <a:pPr algn="l"/>
            <a:endParaRPr lang="en-US" dirty="0">
              <a:solidFill>
                <a:schemeClr val="tx1"/>
              </a:solidFill>
              <a:latin typeface="Lato" panose="020F0502020204030203" pitchFamily="34" charset="0"/>
            </a:endParaRPr>
          </a:p>
        </p:txBody>
      </p:sp>
      <p:sp>
        <p:nvSpPr>
          <p:cNvPr id="73742" name="AutoShape 14"/>
          <p:cNvSpPr>
            <a:spLocks/>
          </p:cNvSpPr>
          <p:nvPr/>
        </p:nvSpPr>
        <p:spPr bwMode="auto">
          <a:xfrm>
            <a:off x="6500162" y="3128019"/>
            <a:ext cx="17193556" cy="291563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just"/>
            <a:r>
              <a:rPr lang="en-US" sz="4800" dirty="0">
                <a:latin typeface="Lato Light"/>
              </a:rPr>
              <a:t>Internal Audits are costly and time consuming</a:t>
            </a:r>
          </a:p>
          <a:p>
            <a:pPr algn="just"/>
            <a:endParaRPr lang="en-US" sz="4800" dirty="0">
              <a:latin typeface="Lato Light"/>
            </a:endParaRPr>
          </a:p>
          <a:p>
            <a:pPr algn="just"/>
            <a:r>
              <a:rPr lang="en-US" sz="4800" dirty="0">
                <a:latin typeface="Lato Light"/>
              </a:rPr>
              <a:t>New industry standard : analyzing 100% of company’s transactions</a:t>
            </a:r>
            <a:endParaRPr lang="en-US" sz="4800" b="1" dirty="0">
              <a:latin typeface="Lato Light"/>
            </a:endParaRPr>
          </a:p>
          <a:p>
            <a:pPr algn="just"/>
            <a:endParaRPr lang="en-US" sz="3600" dirty="0"/>
          </a:p>
        </p:txBody>
      </p:sp>
      <p:sp>
        <p:nvSpPr>
          <p:cNvPr id="2" name="Title 1"/>
          <p:cNvSpPr>
            <a:spLocks noGrp="1"/>
          </p:cNvSpPr>
          <p:nvPr>
            <p:ph type="title"/>
          </p:nvPr>
        </p:nvSpPr>
        <p:spPr>
          <a:xfrm>
            <a:off x="1318792" y="874148"/>
            <a:ext cx="15945391" cy="1508105"/>
          </a:xfrm>
        </p:spPr>
        <p:txBody>
          <a:bodyPr/>
          <a:lstStyle/>
          <a:p>
            <a:r>
              <a:rPr lang="en-US" dirty="0">
                <a:ea typeface="Aleo Regular" charset="0"/>
                <a:cs typeface="Aleo Regular" charset="0"/>
                <a:sym typeface="Aleo Regular" charset="0"/>
              </a:rPr>
              <a:t>The internal auditing headache</a:t>
            </a:r>
            <a:endParaRPr lang="en-US" dirty="0"/>
          </a:p>
        </p:txBody>
      </p:sp>
      <p:pic>
        <p:nvPicPr>
          <p:cNvPr id="5" name="Picture 4"/>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3904456" y="7392413"/>
            <a:ext cx="914400" cy="914400"/>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xmlns="" val="0"/>
              </a:ext>
            </a:extLst>
          </a:blip>
          <a:stretch>
            <a:fillRect/>
          </a:stretch>
        </p:blipFill>
        <p:spPr>
          <a:xfrm>
            <a:off x="3910806" y="4125974"/>
            <a:ext cx="914400" cy="914400"/>
          </a:xfrm>
          <a:prstGeom prst="rect">
            <a:avLst/>
          </a:prstGeom>
        </p:spPr>
      </p:pic>
    </p:spTree>
    <p:extLst>
      <p:ext uri="{BB962C8B-B14F-4D97-AF65-F5344CB8AC3E}">
        <p14:creationId xmlns:p14="http://schemas.microsoft.com/office/powerpoint/2010/main" xmlns="" val="103931305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3732"/>
                                        </p:tgtEl>
                                        <p:attrNameLst>
                                          <p:attrName>style.visibility</p:attrName>
                                        </p:attrNameLst>
                                      </p:cBhvr>
                                      <p:to>
                                        <p:strVal val="visible"/>
                                      </p:to>
                                    </p:set>
                                    <p:animEffect transition="in" filter="fade">
                                      <p:cBhvr>
                                        <p:cTn id="7" dur="500"/>
                                        <p:tgtEl>
                                          <p:spTgt spid="737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3733"/>
                                        </p:tgtEl>
                                        <p:attrNameLst>
                                          <p:attrName>style.visibility</p:attrName>
                                        </p:attrNameLst>
                                      </p:cBhvr>
                                      <p:to>
                                        <p:strVal val="visible"/>
                                      </p:to>
                                    </p:set>
                                    <p:animEffect transition="in" filter="fade">
                                      <p:cBhvr>
                                        <p:cTn id="10" dur="500"/>
                                        <p:tgtEl>
                                          <p:spTgt spid="737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732" grpId="0"/>
      <p:bldP spid="7373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8625735" y="3334496"/>
            <a:ext cx="4508500" cy="5205413"/>
            <a:chOff x="8612188" y="3295650"/>
            <a:chExt cx="4508500" cy="5205413"/>
          </a:xfrm>
        </p:grpSpPr>
        <p:sp>
          <p:nvSpPr>
            <p:cNvPr id="87042" name="AutoShape 2"/>
            <p:cNvSpPr>
              <a:spLocks/>
            </p:cNvSpPr>
            <p:nvPr/>
          </p:nvSpPr>
          <p:spPr bwMode="auto">
            <a:xfrm>
              <a:off x="8612188" y="3295650"/>
              <a:ext cx="4508500" cy="52054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87051" name="AutoShape 11"/>
            <p:cNvSpPr>
              <a:spLocks/>
            </p:cNvSpPr>
            <p:nvPr/>
          </p:nvSpPr>
          <p:spPr bwMode="auto">
            <a:xfrm>
              <a:off x="9012238" y="5533740"/>
              <a:ext cx="3708400" cy="762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2800" b="1" dirty="0" smtClean="0">
                  <a:solidFill>
                    <a:srgbClr val="FFFFFF"/>
                  </a:solidFill>
                  <a:latin typeface="Aleo" panose="020F0502020204030203" pitchFamily="34" charset="0"/>
                  <a:ea typeface="Aleo Regular" charset="0"/>
                  <a:cs typeface="Aleo Regular" charset="0"/>
                </a:rPr>
                <a:t>“Data </a:t>
              </a:r>
              <a:r>
                <a:rPr lang="en-US" sz="2800" b="1" dirty="0">
                  <a:solidFill>
                    <a:srgbClr val="FFFFFF"/>
                  </a:solidFill>
                  <a:latin typeface="Aleo" panose="020F0502020204030203" pitchFamily="34" charset="0"/>
                  <a:ea typeface="Aleo Regular" charset="0"/>
                  <a:cs typeface="Aleo Regular" charset="0"/>
                </a:rPr>
                <a:t>analysis technologies are considered as N°1 priority where internal audit departments must </a:t>
              </a:r>
              <a:r>
                <a:rPr lang="en-US" sz="2800" b="1" dirty="0" smtClean="0">
                  <a:solidFill>
                    <a:srgbClr val="FFFFFF"/>
                  </a:solidFill>
                  <a:latin typeface="Aleo" panose="020F0502020204030203" pitchFamily="34" charset="0"/>
                  <a:ea typeface="Aleo Regular" charset="0"/>
                  <a:cs typeface="Aleo Regular" charset="0"/>
                </a:rPr>
                <a:t>improve” </a:t>
              </a:r>
              <a:r>
                <a:rPr lang="en-US" sz="2800" dirty="0" smtClean="0">
                  <a:solidFill>
                    <a:srgbClr val="FFFFFF"/>
                  </a:solidFill>
                  <a:latin typeface="Aleo" panose="020F0502020204030203" pitchFamily="34" charset="0"/>
                  <a:ea typeface="Aleo Regular" charset="0"/>
                  <a:cs typeface="Aleo Regular" charset="0"/>
                </a:rPr>
                <a:t>**</a:t>
              </a:r>
              <a:endParaRPr lang="en-US" sz="2800" dirty="0">
                <a:solidFill>
                  <a:srgbClr val="FFFFFF"/>
                </a:solidFill>
                <a:latin typeface="Aleo" panose="020F0502020204030203" pitchFamily="34" charset="0"/>
                <a:ea typeface="Aleo Regular" charset="0"/>
                <a:cs typeface="Aleo Regular" charset="0"/>
              </a:endParaRPr>
            </a:p>
          </p:txBody>
        </p:sp>
        <p:sp>
          <p:nvSpPr>
            <p:cNvPr id="87052" name="AutoShape 12"/>
            <p:cNvSpPr>
              <a:spLocks/>
            </p:cNvSpPr>
            <p:nvPr/>
          </p:nvSpPr>
          <p:spPr bwMode="auto">
            <a:xfrm>
              <a:off x="8916988" y="5994400"/>
              <a:ext cx="3898900" cy="660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endParaRPr lang="en-US" dirty="0">
                <a:latin typeface="Lato" panose="020F0502020204030203" pitchFamily="34" charset="0"/>
              </a:endParaRPr>
            </a:p>
          </p:txBody>
        </p:sp>
      </p:grpSp>
      <p:grpSp>
        <p:nvGrpSpPr>
          <p:cNvPr id="10" name="Group 9"/>
          <p:cNvGrpSpPr/>
          <p:nvPr/>
        </p:nvGrpSpPr>
        <p:grpSpPr>
          <a:xfrm>
            <a:off x="18102263" y="3292932"/>
            <a:ext cx="4510087" cy="5205413"/>
            <a:chOff x="18102263" y="3295650"/>
            <a:chExt cx="4510087" cy="5205413"/>
          </a:xfrm>
        </p:grpSpPr>
        <p:sp>
          <p:nvSpPr>
            <p:cNvPr id="87043" name="AutoShape 3"/>
            <p:cNvSpPr>
              <a:spLocks/>
            </p:cNvSpPr>
            <p:nvPr/>
          </p:nvSpPr>
          <p:spPr bwMode="auto">
            <a:xfrm>
              <a:off x="18102263" y="3295650"/>
              <a:ext cx="4510087" cy="52054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87053" name="AutoShape 13"/>
            <p:cNvSpPr>
              <a:spLocks/>
            </p:cNvSpPr>
            <p:nvPr/>
          </p:nvSpPr>
          <p:spPr bwMode="auto">
            <a:xfrm>
              <a:off x="18503900" y="5878952"/>
              <a:ext cx="3708400" cy="762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2800" b="1" dirty="0">
                  <a:solidFill>
                    <a:srgbClr val="FFFFFF"/>
                  </a:solidFill>
                  <a:latin typeface="Aleo" panose="020F0502020204030203" pitchFamily="34" charset="0"/>
                  <a:ea typeface="Aleo Regular" charset="0"/>
                  <a:cs typeface="Aleo Regular" charset="0"/>
                </a:rPr>
                <a:t>McKinsey forecasts a 50 to 60% gap between supply and demand of skilled people with deep analytic skills by </a:t>
              </a:r>
              <a:r>
                <a:rPr lang="en-US" sz="2800" b="1" dirty="0" smtClean="0">
                  <a:solidFill>
                    <a:srgbClr val="FFFFFF"/>
                  </a:solidFill>
                  <a:latin typeface="Aleo" panose="020F0502020204030203" pitchFamily="34" charset="0"/>
                  <a:ea typeface="Aleo Regular" charset="0"/>
                  <a:cs typeface="Aleo Regular" charset="0"/>
                </a:rPr>
                <a:t>2018</a:t>
              </a:r>
              <a:endParaRPr lang="en-US" sz="2800" b="1" dirty="0">
                <a:solidFill>
                  <a:srgbClr val="FFFFFF"/>
                </a:solidFill>
                <a:latin typeface="Aleo" panose="020F0502020204030203" pitchFamily="34" charset="0"/>
                <a:ea typeface="Aleo Regular" charset="0"/>
                <a:cs typeface="Aleo Regular" charset="0"/>
              </a:endParaRPr>
            </a:p>
            <a:p>
              <a:endParaRPr lang="en-US" sz="3200" b="1" dirty="0">
                <a:solidFill>
                  <a:srgbClr val="FFFFFF"/>
                </a:solidFill>
                <a:latin typeface="Aleo" panose="020F0502020204030203" pitchFamily="34" charset="0"/>
                <a:ea typeface="Aleo Regular" charset="0"/>
                <a:cs typeface="Aleo Regular" charset="0"/>
              </a:endParaRPr>
            </a:p>
          </p:txBody>
        </p:sp>
      </p:grpSp>
      <p:grpSp>
        <p:nvGrpSpPr>
          <p:cNvPr id="7" name="Group 6"/>
          <p:cNvGrpSpPr/>
          <p:nvPr/>
        </p:nvGrpSpPr>
        <p:grpSpPr>
          <a:xfrm>
            <a:off x="1516063" y="7376776"/>
            <a:ext cx="4510087" cy="5205413"/>
            <a:chOff x="1516063" y="7378700"/>
            <a:chExt cx="4510087" cy="5205413"/>
          </a:xfrm>
        </p:grpSpPr>
        <p:sp>
          <p:nvSpPr>
            <p:cNvPr id="87050" name="AutoShape 10"/>
            <p:cNvSpPr>
              <a:spLocks/>
            </p:cNvSpPr>
            <p:nvPr/>
          </p:nvSpPr>
          <p:spPr bwMode="auto">
            <a:xfrm>
              <a:off x="1516063" y="7378700"/>
              <a:ext cx="4510087" cy="52054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tx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87055" name="AutoShape 15"/>
            <p:cNvSpPr>
              <a:spLocks/>
            </p:cNvSpPr>
            <p:nvPr/>
          </p:nvSpPr>
          <p:spPr bwMode="auto">
            <a:xfrm>
              <a:off x="2000828" y="9388768"/>
              <a:ext cx="3708400" cy="1422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2800" b="1" dirty="0" smtClean="0">
                  <a:solidFill>
                    <a:srgbClr val="FFFFFF"/>
                  </a:solidFill>
                  <a:latin typeface="Aleo" panose="020F0502020204030203" pitchFamily="34" charset="0"/>
                  <a:ea typeface="Aleo Regular" charset="0"/>
                  <a:cs typeface="Aleo Regular" charset="0"/>
                </a:rPr>
                <a:t>“A </a:t>
              </a:r>
              <a:r>
                <a:rPr lang="en-US" sz="2800" b="1" dirty="0">
                  <a:solidFill>
                    <a:srgbClr val="FFFFFF"/>
                  </a:solidFill>
                  <a:latin typeface="Aleo" panose="020F0502020204030203" pitchFamily="34" charset="0"/>
                  <a:ea typeface="Aleo Regular" charset="0"/>
                  <a:cs typeface="Aleo Regular" charset="0"/>
                </a:rPr>
                <a:t>more digitalized world is driving internal audit functions to desire to invest more in technology-enabled auditing approaches and </a:t>
              </a:r>
              <a:r>
                <a:rPr lang="en-US" sz="2800" b="1" dirty="0" smtClean="0">
                  <a:solidFill>
                    <a:srgbClr val="FFFFFF"/>
                  </a:solidFill>
                  <a:latin typeface="Aleo" panose="020F0502020204030203" pitchFamily="34" charset="0"/>
                  <a:ea typeface="Aleo Regular" charset="0"/>
                  <a:cs typeface="Aleo Regular" charset="0"/>
                </a:rPr>
                <a:t>tools” </a:t>
              </a:r>
              <a:r>
                <a:rPr lang="en-US" sz="2800" dirty="0" smtClean="0">
                  <a:solidFill>
                    <a:srgbClr val="FFFFFF"/>
                  </a:solidFill>
                  <a:latin typeface="Aleo" panose="020F0502020204030203" pitchFamily="34" charset="0"/>
                  <a:ea typeface="Aleo Regular" charset="0"/>
                  <a:cs typeface="Aleo Regular" charset="0"/>
                </a:rPr>
                <a:t>*</a:t>
              </a:r>
              <a:endParaRPr lang="en-US" sz="2800" dirty="0">
                <a:solidFill>
                  <a:srgbClr val="FFFFFF"/>
                </a:solidFill>
                <a:latin typeface="Aleo" panose="020F0502020204030203" pitchFamily="34" charset="0"/>
                <a:ea typeface="Aleo Regular" charset="0"/>
                <a:cs typeface="Aleo Regular" charset="0"/>
              </a:endParaRPr>
            </a:p>
          </p:txBody>
        </p:sp>
      </p:grpSp>
      <p:grpSp>
        <p:nvGrpSpPr>
          <p:cNvPr id="9" name="Group 8"/>
          <p:cNvGrpSpPr/>
          <p:nvPr/>
        </p:nvGrpSpPr>
        <p:grpSpPr>
          <a:xfrm>
            <a:off x="10994178" y="7376776"/>
            <a:ext cx="4508500" cy="5205413"/>
            <a:chOff x="10982325" y="7378700"/>
            <a:chExt cx="4508500" cy="5205413"/>
          </a:xfrm>
        </p:grpSpPr>
        <p:sp>
          <p:nvSpPr>
            <p:cNvPr id="87049" name="AutoShape 9"/>
            <p:cNvSpPr>
              <a:spLocks/>
            </p:cNvSpPr>
            <p:nvPr/>
          </p:nvSpPr>
          <p:spPr bwMode="auto">
            <a:xfrm>
              <a:off x="10982325" y="7378700"/>
              <a:ext cx="4508500" cy="52054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chemeClr val="accent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87057" name="AutoShape 17"/>
            <p:cNvSpPr>
              <a:spLocks/>
            </p:cNvSpPr>
            <p:nvPr/>
          </p:nvSpPr>
          <p:spPr bwMode="auto">
            <a:xfrm>
              <a:off x="11382375" y="9266268"/>
              <a:ext cx="3708400" cy="1422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2800" b="1" dirty="0">
                  <a:solidFill>
                    <a:srgbClr val="FFFFFF"/>
                  </a:solidFill>
                  <a:latin typeface="Aleo" panose="020F0502020204030203" pitchFamily="34" charset="0"/>
                  <a:ea typeface="Aleo Regular" charset="0"/>
                  <a:cs typeface="Aleo Regular" charset="0"/>
                  <a:sym typeface="Aleo Regular" charset="0"/>
                </a:rPr>
                <a:t>Business analytics and enterprise software is said to be one of the top 5 most profitable industries in the US</a:t>
              </a:r>
              <a:endParaRPr lang="en-US" sz="2800" dirty="0">
                <a:latin typeface="Lato" panose="020F0502020204030203" pitchFamily="34" charset="0"/>
              </a:endParaRPr>
            </a:p>
          </p:txBody>
        </p:sp>
      </p:grpSp>
      <p:sp>
        <p:nvSpPr>
          <p:cNvPr id="2" name="Title 1"/>
          <p:cNvSpPr>
            <a:spLocks noGrp="1"/>
          </p:cNvSpPr>
          <p:nvPr>
            <p:ph type="title"/>
          </p:nvPr>
        </p:nvSpPr>
        <p:spPr>
          <a:xfrm>
            <a:off x="1318792" y="874148"/>
            <a:ext cx="9324989" cy="1508105"/>
          </a:xfrm>
        </p:spPr>
        <p:txBody>
          <a:bodyPr/>
          <a:lstStyle/>
          <a:p>
            <a:r>
              <a:rPr lang="en-US" dirty="0">
                <a:ea typeface="Aleo Regular" charset="0"/>
                <a:cs typeface="Aleo Regular" charset="0"/>
                <a:sym typeface="Aleo Regular" charset="0"/>
              </a:rPr>
              <a:t>Market validation</a:t>
            </a:r>
            <a:endParaRPr lang="en-US" sz="4400" dirty="0">
              <a:solidFill>
                <a:srgbClr val="FFFFFF"/>
              </a:solidFill>
              <a:ea typeface="Aleo Regular" charset="0"/>
              <a:cs typeface="Aleo Regular" charset="0"/>
              <a:sym typeface="Gill Sans" charset="0"/>
            </a:endParaRPr>
          </a:p>
        </p:txBody>
      </p:sp>
      <p:pic>
        <p:nvPicPr>
          <p:cNvPr id="11" name="Picture Placeholder 10"/>
          <p:cNvPicPr>
            <a:picLocks noGrp="1" noChangeAspect="1"/>
          </p:cNvPicPr>
          <p:nvPr>
            <p:ph type="pic" sz="quarter" idx="10"/>
          </p:nvPr>
        </p:nvPicPr>
        <p:blipFill>
          <a:blip r:embed="rId3" cstate="email">
            <a:extLst>
              <a:ext uri="{28A0092B-C50C-407E-A947-70E740481C1C}">
                <a14:useLocalDpi xmlns:a14="http://schemas.microsoft.com/office/drawing/2010/main" xmlns="" val="0"/>
              </a:ext>
            </a:extLst>
          </a:blip>
          <a:srcRect t="11528" b="11528"/>
          <a:stretch>
            <a:fillRect/>
          </a:stretch>
        </p:blipFill>
        <p:spPr>
          <a:xfrm>
            <a:off x="3886200" y="3292475"/>
            <a:ext cx="4510088" cy="5205413"/>
          </a:xfrm>
        </p:spPr>
      </p:pic>
      <p:pic>
        <p:nvPicPr>
          <p:cNvPr id="12" name="Picture Placeholder 11"/>
          <p:cNvPicPr>
            <a:picLocks noGrp="1" noChangeAspect="1"/>
          </p:cNvPicPr>
          <p:nvPr>
            <p:ph type="pic" sz="quarter" idx="11"/>
          </p:nvPr>
        </p:nvPicPr>
        <p:blipFill>
          <a:blip r:embed="rId4" cstate="email">
            <a:extLst>
              <a:ext uri="{BEBA8EAE-BF5A-486C-A8C5-ECC9F3942E4B}">
                <a14:imgProps xmlns:a14="http://schemas.microsoft.com/office/drawing/2010/main" xmlns="">
                  <a14:imgLayer r:embed="rId5">
                    <a14:imgEffect>
                      <a14:colorTemperature colorTemp="5900"/>
                    </a14:imgEffect>
                  </a14:imgLayer>
                </a14:imgProps>
              </a:ext>
              <a:ext uri="{28A0092B-C50C-407E-A947-70E740481C1C}">
                <a14:useLocalDpi xmlns:a14="http://schemas.microsoft.com/office/drawing/2010/main" xmlns="" val="0"/>
              </a:ext>
            </a:extLst>
          </a:blip>
          <a:srcRect l="17509" r="17509"/>
          <a:stretch>
            <a:fillRect/>
          </a:stretch>
        </p:blipFill>
        <p:spPr>
          <a:xfrm>
            <a:off x="6256338" y="7377113"/>
            <a:ext cx="4510087" cy="5205412"/>
          </a:xfrm>
        </p:spPr>
      </p:pic>
      <p:pic>
        <p:nvPicPr>
          <p:cNvPr id="4" name="Picture Placeholder 3"/>
          <p:cNvPicPr>
            <a:picLocks noGrp="1" noChangeAspect="1"/>
          </p:cNvPicPr>
          <p:nvPr>
            <p:ph type="pic" sz="quarter" idx="13"/>
          </p:nvPr>
        </p:nvPicPr>
        <p:blipFill>
          <a:blip r:embed="rId6" cstate="email">
            <a:extLst>
              <a:ext uri="{28A0092B-C50C-407E-A947-70E740481C1C}">
                <a14:useLocalDpi xmlns:a14="http://schemas.microsoft.com/office/drawing/2010/main" xmlns="" val="0"/>
              </a:ext>
            </a:extLst>
          </a:blip>
          <a:srcRect l="21119" r="21119"/>
          <a:stretch>
            <a:fillRect/>
          </a:stretch>
        </p:blipFill>
        <p:spPr>
          <a:xfrm>
            <a:off x="15730538" y="7377113"/>
            <a:ext cx="4510087" cy="5205412"/>
          </a:xfrm>
        </p:spPr>
      </p:pic>
      <p:pic>
        <p:nvPicPr>
          <p:cNvPr id="23" name="Picture Placeholder 22"/>
          <p:cNvPicPr>
            <a:picLocks noGrp="1" noChangeAspect="1"/>
          </p:cNvPicPr>
          <p:nvPr>
            <p:ph type="pic" sz="quarter" idx="12"/>
          </p:nvPr>
        </p:nvPicPr>
        <p:blipFill>
          <a:blip r:embed="rId7" cstate="email">
            <a:extLst>
              <a:ext uri="{28A0092B-C50C-407E-A947-70E740481C1C}">
                <a14:useLocalDpi xmlns:a14="http://schemas.microsoft.com/office/drawing/2010/main" xmlns="" val="0"/>
              </a:ext>
            </a:extLst>
          </a:blip>
          <a:srcRect l="21131" r="21131"/>
          <a:stretch>
            <a:fillRect/>
          </a:stretch>
        </p:blipFill>
        <p:spPr>
          <a:xfrm>
            <a:off x="13358813" y="3351213"/>
            <a:ext cx="4510087" cy="5205412"/>
          </a:xfrm>
        </p:spPr>
      </p:pic>
      <p:sp>
        <p:nvSpPr>
          <p:cNvPr id="20" name="Rectangle 19"/>
          <p:cNvSpPr/>
          <p:nvPr/>
        </p:nvSpPr>
        <p:spPr>
          <a:xfrm>
            <a:off x="766300" y="12915900"/>
            <a:ext cx="17836989" cy="369332"/>
          </a:xfrm>
          <a:prstGeom prst="rect">
            <a:avLst/>
          </a:prstGeom>
        </p:spPr>
        <p:txBody>
          <a:bodyPr wrap="square">
            <a:spAutoFit/>
          </a:bodyPr>
          <a:lstStyle/>
          <a:p>
            <a:pPr algn="l" defTabSz="457200" fontAlgn="auto" hangingPunct="1">
              <a:spcBef>
                <a:spcPts val="0"/>
              </a:spcBef>
              <a:spcAft>
                <a:spcPts val="0"/>
              </a:spcAft>
              <a:defRPr/>
            </a:pPr>
            <a:r>
              <a:rPr lang="en-US" sz="1800" b="1" dirty="0" smtClean="0">
                <a:solidFill>
                  <a:schemeClr val="bg1">
                    <a:lumMod val="50000"/>
                  </a:schemeClr>
                </a:solidFill>
                <a:latin typeface="Aleo" panose="020F0502020204030203" pitchFamily="34" charset="0"/>
                <a:ea typeface="Aleo Regular" charset="0"/>
                <a:cs typeface="Aleo Regular" charset="0"/>
              </a:rPr>
              <a:t>* </a:t>
            </a:r>
            <a:r>
              <a:rPr lang="en-US" sz="1800" b="1" dirty="0" smtClean="0">
                <a:solidFill>
                  <a:schemeClr val="bg1">
                    <a:lumMod val="50000"/>
                  </a:schemeClr>
                </a:solidFill>
                <a:latin typeface="Aleo" panose="020F0502020204030203" pitchFamily="34" charset="0"/>
                <a:ea typeface="Aleo Regular" charset="0"/>
                <a:cs typeface="Aleo Regular" charset="0"/>
              </a:rPr>
              <a:t>Innovation &amp; Practice of Continuous Auditing, Chan &amp; M.A. </a:t>
            </a:r>
            <a:r>
              <a:rPr lang="en-US" sz="1800" b="1" dirty="0" err="1" smtClean="0">
                <a:solidFill>
                  <a:schemeClr val="bg1">
                    <a:lumMod val="50000"/>
                  </a:schemeClr>
                </a:solidFill>
                <a:latin typeface="Aleo" panose="020F0502020204030203" pitchFamily="34" charset="0"/>
                <a:ea typeface="Aleo Regular" charset="0"/>
                <a:cs typeface="Aleo Regular" charset="0"/>
              </a:rPr>
              <a:t>Vasarhelyi</a:t>
            </a:r>
            <a:r>
              <a:rPr lang="en-US" sz="1800" b="1" dirty="0" smtClean="0">
                <a:solidFill>
                  <a:schemeClr val="bg1">
                    <a:lumMod val="50000"/>
                  </a:schemeClr>
                </a:solidFill>
                <a:latin typeface="Aleo" panose="020F0502020204030203" pitchFamily="34" charset="0"/>
                <a:ea typeface="Aleo Regular" charset="0"/>
                <a:cs typeface="Aleo Regular" charset="0"/>
              </a:rPr>
              <a:t> </a:t>
            </a:r>
            <a:r>
              <a:rPr lang="en-US" sz="1800" b="1" dirty="0" smtClean="0">
                <a:solidFill>
                  <a:schemeClr val="bg1">
                    <a:lumMod val="50000"/>
                  </a:schemeClr>
                </a:solidFill>
                <a:latin typeface="Aleo" panose="020F0502020204030203" pitchFamily="34" charset="0"/>
                <a:ea typeface="Aleo Regular" charset="0"/>
                <a:cs typeface="Aleo Regular" charset="0"/>
              </a:rPr>
              <a:t> </a:t>
            </a:r>
            <a:r>
              <a:rPr lang="en-US" sz="1800" b="1" dirty="0" smtClean="0">
                <a:solidFill>
                  <a:schemeClr val="bg1">
                    <a:lumMod val="50000"/>
                  </a:schemeClr>
                </a:solidFill>
                <a:latin typeface="Aleo" panose="020F0502020204030203" pitchFamily="34" charset="0"/>
                <a:ea typeface="Aleo Regular" charset="0"/>
                <a:cs typeface="Aleo Regular" charset="0"/>
              </a:rPr>
              <a:t> </a:t>
            </a:r>
            <a:r>
              <a:rPr lang="en-US" sz="1800" b="1" dirty="0" smtClean="0">
                <a:solidFill>
                  <a:schemeClr val="bg1">
                    <a:lumMod val="50000"/>
                  </a:schemeClr>
                </a:solidFill>
                <a:latin typeface="Aleo" panose="020F0502020204030203" pitchFamily="34" charset="0"/>
                <a:ea typeface="Aleo Regular" charset="0"/>
                <a:cs typeface="Aleo Regular" charset="0"/>
              </a:rPr>
              <a:t>               **  </a:t>
            </a:r>
            <a:r>
              <a:rPr lang="en-US" sz="1800" b="1" dirty="0" err="1" smtClean="0">
                <a:solidFill>
                  <a:schemeClr val="bg1">
                    <a:lumMod val="50000"/>
                  </a:schemeClr>
                </a:solidFill>
                <a:latin typeface="Aleo" panose="020F0502020204030203" pitchFamily="34" charset="0"/>
                <a:ea typeface="Aleo Regular" charset="0"/>
                <a:cs typeface="Aleo Regular" charset="0"/>
              </a:rPr>
              <a:t>Protiviti</a:t>
            </a:r>
            <a:r>
              <a:rPr lang="en-US" sz="1800" b="1" dirty="0" smtClean="0">
                <a:solidFill>
                  <a:schemeClr val="bg1">
                    <a:lumMod val="50000"/>
                  </a:schemeClr>
                </a:solidFill>
                <a:latin typeface="Aleo" panose="020F0502020204030203" pitchFamily="34" charset="0"/>
                <a:ea typeface="Aleo Regular" charset="0"/>
                <a:cs typeface="Aleo Regular" charset="0"/>
              </a:rPr>
              <a:t> study 2015 </a:t>
            </a:r>
            <a:endParaRPr lang="en-US" sz="1800" b="1" dirty="0">
              <a:solidFill>
                <a:schemeClr val="bg1">
                  <a:lumMod val="50000"/>
                </a:schemeClr>
              </a:solidFill>
              <a:latin typeface="Aleo" panose="020F0502020204030203" pitchFamily="34" charset="0"/>
              <a:ea typeface="Aleo Regular" charset="0"/>
              <a:cs typeface="Aleo Regular" charset="0"/>
            </a:endParaRPr>
          </a:p>
        </p:txBody>
      </p:sp>
    </p:spTree>
    <p:extLst>
      <p:ext uri="{BB962C8B-B14F-4D97-AF65-F5344CB8AC3E}">
        <p14:creationId xmlns:p14="http://schemas.microsoft.com/office/powerpoint/2010/main" xmlns="" val="158545903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AutoShape 4"/>
          <p:cNvSpPr>
            <a:spLocks/>
          </p:cNvSpPr>
          <p:nvPr/>
        </p:nvSpPr>
        <p:spPr bwMode="auto">
          <a:xfrm>
            <a:off x="1446213" y="2629237"/>
            <a:ext cx="9753600" cy="264694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just"/>
            <a:r>
              <a:rPr lang="en-US" sz="4400" dirty="0">
                <a:solidFill>
                  <a:schemeClr val="tx1"/>
                </a:solidFill>
                <a:latin typeface="Lato Light" panose="020F0302020204030203" pitchFamily="34" charset="0"/>
                <a:ea typeface="Lato Light" panose="020F0302020204030203" pitchFamily="34" charset="0"/>
                <a:cs typeface="Lato Light" panose="020F0302020204030203" pitchFamily="34" charset="0"/>
              </a:rPr>
              <a:t>Eye2Scan is an automated audit control software designed to help optimize your internal control, anticipate risk, and identify fraud at the touch of a button</a:t>
            </a:r>
          </a:p>
        </p:txBody>
      </p:sp>
      <p:sp>
        <p:nvSpPr>
          <p:cNvPr id="74757" name="AutoShape 5"/>
          <p:cNvSpPr>
            <a:spLocks/>
          </p:cNvSpPr>
          <p:nvPr/>
        </p:nvSpPr>
        <p:spPr bwMode="auto">
          <a:xfrm>
            <a:off x="3810000" y="6762173"/>
            <a:ext cx="6375400" cy="1219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rPr>
              <a:t>Plugging an auditor’s brain on your ERP system within 3 days </a:t>
            </a:r>
          </a:p>
        </p:txBody>
      </p:sp>
      <p:sp>
        <p:nvSpPr>
          <p:cNvPr id="74758" name="AutoShape 6"/>
          <p:cNvSpPr>
            <a:spLocks/>
          </p:cNvSpPr>
          <p:nvPr/>
        </p:nvSpPr>
        <p:spPr bwMode="auto">
          <a:xfrm>
            <a:off x="3810000" y="8778424"/>
            <a:ext cx="6375400" cy="1219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lvl="0" algn="l"/>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rPr>
              <a:t>Embedding internal auditing library of professionally designed rules</a:t>
            </a:r>
          </a:p>
        </p:txBody>
      </p:sp>
      <p:sp>
        <p:nvSpPr>
          <p:cNvPr id="74759" name="AutoShape 7"/>
          <p:cNvSpPr>
            <a:spLocks/>
          </p:cNvSpPr>
          <p:nvPr/>
        </p:nvSpPr>
        <p:spPr bwMode="auto">
          <a:xfrm>
            <a:off x="3810000" y="11056938"/>
            <a:ext cx="6375400" cy="1219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3600" dirty="0">
                <a:solidFill>
                  <a:schemeClr val="tx1"/>
                </a:solidFill>
                <a:latin typeface="Lato Light" panose="020F0302020204030203" pitchFamily="34" charset="0"/>
                <a:ea typeface="Lato Light" panose="020F0302020204030203" pitchFamily="34" charset="0"/>
                <a:cs typeface="Lato Light" panose="020F0302020204030203" pitchFamily="34" charset="0"/>
              </a:rPr>
              <a:t>Using intuitive dashboard interface, designed to work seamlessly</a:t>
            </a:r>
          </a:p>
        </p:txBody>
      </p:sp>
      <p:grpSp>
        <p:nvGrpSpPr>
          <p:cNvPr id="4" name="Group 4"/>
          <p:cNvGrpSpPr/>
          <p:nvPr/>
        </p:nvGrpSpPr>
        <p:grpSpPr>
          <a:xfrm>
            <a:off x="1446213" y="10716077"/>
            <a:ext cx="1676400" cy="1677987"/>
            <a:chOff x="1446213" y="8596313"/>
            <a:chExt cx="1676400" cy="1677987"/>
          </a:xfrm>
        </p:grpSpPr>
        <p:sp>
          <p:nvSpPr>
            <p:cNvPr id="74755" name="AutoShape 3"/>
            <p:cNvSpPr>
              <a:spLocks/>
            </p:cNvSpPr>
            <p:nvPr/>
          </p:nvSpPr>
          <p:spPr bwMode="auto">
            <a:xfrm>
              <a:off x="1446213" y="8596313"/>
              <a:ext cx="1676400" cy="16779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tx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4763" name="AutoShape 11"/>
            <p:cNvSpPr>
              <a:spLocks/>
            </p:cNvSpPr>
            <p:nvPr/>
          </p:nvSpPr>
          <p:spPr bwMode="auto">
            <a:xfrm>
              <a:off x="2108200" y="9042400"/>
              <a:ext cx="1009650" cy="1192213"/>
            </a:xfrm>
            <a:custGeom>
              <a:avLst/>
              <a:gdLst>
                <a:gd name="T0" fmla="*/ 10255 w 20511"/>
                <a:gd name="T1" fmla="*/ 10800 h 21600"/>
                <a:gd name="T2" fmla="*/ 10255 w 20511"/>
                <a:gd name="T3" fmla="*/ 10800 h 21600"/>
                <a:gd name="T4" fmla="*/ 10255 w 20511"/>
                <a:gd name="T5" fmla="*/ 10800 h 21600"/>
                <a:gd name="T6" fmla="*/ 10255 w 20511"/>
                <a:gd name="T7" fmla="*/ 10800 h 21600"/>
              </a:gdLst>
              <a:ahLst/>
              <a:cxnLst>
                <a:cxn ang="0">
                  <a:pos x="T0" y="T1"/>
                </a:cxn>
                <a:cxn ang="0">
                  <a:pos x="T2" y="T3"/>
                </a:cxn>
                <a:cxn ang="0">
                  <a:pos x="T4" y="T5"/>
                </a:cxn>
                <a:cxn ang="0">
                  <a:pos x="T6" y="T7"/>
                </a:cxn>
              </a:cxnLst>
              <a:rect l="0" t="0" r="r" b="b"/>
              <a:pathLst>
                <a:path w="20511" h="21600">
                  <a:moveTo>
                    <a:pt x="0" y="17019"/>
                  </a:moveTo>
                  <a:lnTo>
                    <a:pt x="8317" y="21600"/>
                  </a:lnTo>
                  <a:cubicBezTo>
                    <a:pt x="8317" y="21600"/>
                    <a:pt x="21600" y="18552"/>
                    <a:pt x="20439" y="5212"/>
                  </a:cubicBezTo>
                  <a:lnTo>
                    <a:pt x="12207" y="0"/>
                  </a:lnTo>
                  <a:lnTo>
                    <a:pt x="0" y="17019"/>
                  </a:lnTo>
                  <a:close/>
                </a:path>
              </a:pathLst>
            </a:custGeom>
            <a:solidFill>
              <a:schemeClr val="bg2">
                <a:lumMod val="75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74764" name="AutoShape 12"/>
            <p:cNvSpPr>
              <a:spLocks/>
            </p:cNvSpPr>
            <p:nvPr/>
          </p:nvSpPr>
          <p:spPr bwMode="auto">
            <a:xfrm>
              <a:off x="1700213" y="8850313"/>
              <a:ext cx="1157287" cy="1157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bg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grpSp>
        <p:nvGrpSpPr>
          <p:cNvPr id="5" name="Group 5"/>
          <p:cNvGrpSpPr/>
          <p:nvPr/>
        </p:nvGrpSpPr>
        <p:grpSpPr>
          <a:xfrm>
            <a:off x="1446213" y="8584749"/>
            <a:ext cx="1676400" cy="1677987"/>
            <a:chOff x="1446213" y="10704513"/>
            <a:chExt cx="1676400" cy="1677987"/>
          </a:xfrm>
        </p:grpSpPr>
        <p:sp>
          <p:nvSpPr>
            <p:cNvPr id="74760" name="AutoShape 8"/>
            <p:cNvSpPr>
              <a:spLocks/>
            </p:cNvSpPr>
            <p:nvPr/>
          </p:nvSpPr>
          <p:spPr bwMode="auto">
            <a:xfrm>
              <a:off x="1446213" y="10704513"/>
              <a:ext cx="1676400" cy="16779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4761" name="AutoShape 9"/>
            <p:cNvSpPr>
              <a:spLocks/>
            </p:cNvSpPr>
            <p:nvPr/>
          </p:nvSpPr>
          <p:spPr bwMode="auto">
            <a:xfrm>
              <a:off x="2108200" y="11150600"/>
              <a:ext cx="1009650" cy="1192213"/>
            </a:xfrm>
            <a:custGeom>
              <a:avLst/>
              <a:gdLst>
                <a:gd name="T0" fmla="*/ 10255 w 20511"/>
                <a:gd name="T1" fmla="*/ 10800 h 21600"/>
                <a:gd name="T2" fmla="*/ 10255 w 20511"/>
                <a:gd name="T3" fmla="*/ 10800 h 21600"/>
                <a:gd name="T4" fmla="*/ 10255 w 20511"/>
                <a:gd name="T5" fmla="*/ 10800 h 21600"/>
                <a:gd name="T6" fmla="*/ 10255 w 20511"/>
                <a:gd name="T7" fmla="*/ 10800 h 21600"/>
              </a:gdLst>
              <a:ahLst/>
              <a:cxnLst>
                <a:cxn ang="0">
                  <a:pos x="T0" y="T1"/>
                </a:cxn>
                <a:cxn ang="0">
                  <a:pos x="T2" y="T3"/>
                </a:cxn>
                <a:cxn ang="0">
                  <a:pos x="T4" y="T5"/>
                </a:cxn>
                <a:cxn ang="0">
                  <a:pos x="T6" y="T7"/>
                </a:cxn>
              </a:cxnLst>
              <a:rect l="0" t="0" r="r" b="b"/>
              <a:pathLst>
                <a:path w="20511" h="21600">
                  <a:moveTo>
                    <a:pt x="0" y="17019"/>
                  </a:moveTo>
                  <a:lnTo>
                    <a:pt x="8317" y="21600"/>
                  </a:lnTo>
                  <a:cubicBezTo>
                    <a:pt x="8317" y="21600"/>
                    <a:pt x="21600" y="18552"/>
                    <a:pt x="20439" y="5212"/>
                  </a:cubicBezTo>
                  <a:lnTo>
                    <a:pt x="12207" y="0"/>
                  </a:lnTo>
                  <a:lnTo>
                    <a:pt x="0" y="17019"/>
                  </a:lnTo>
                  <a:close/>
                </a:path>
              </a:pathLst>
            </a:custGeom>
            <a:solidFill>
              <a:schemeClr val="accent5">
                <a:lumMod val="75000"/>
              </a:schemeClr>
            </a:solidFill>
            <a:ln>
              <a:noFill/>
            </a:ln>
            <a:effectLst/>
            <a:extLst/>
          </p:spPr>
          <p:txBody>
            <a:bodyPr lIns="0" tIns="0" rIns="0" bIns="0" anchor="ctr"/>
            <a:lstStyle/>
            <a:p>
              <a:endParaRPr lang="en-US" dirty="0">
                <a:latin typeface="Lato" panose="020F0502020204030203" pitchFamily="34" charset="0"/>
              </a:endParaRPr>
            </a:p>
          </p:txBody>
        </p:sp>
        <p:sp>
          <p:nvSpPr>
            <p:cNvPr id="74762" name="AutoShape 10"/>
            <p:cNvSpPr>
              <a:spLocks/>
            </p:cNvSpPr>
            <p:nvPr/>
          </p:nvSpPr>
          <p:spPr bwMode="auto">
            <a:xfrm>
              <a:off x="1700213" y="10958513"/>
              <a:ext cx="1157287" cy="1157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6"/>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grpSp>
        <p:nvGrpSpPr>
          <p:cNvPr id="6" name="Group 3"/>
          <p:cNvGrpSpPr/>
          <p:nvPr/>
        </p:nvGrpSpPr>
        <p:grpSpPr>
          <a:xfrm>
            <a:off x="1446213" y="6488113"/>
            <a:ext cx="1676400" cy="1677987"/>
            <a:chOff x="1446213" y="6488113"/>
            <a:chExt cx="1676400" cy="1677987"/>
          </a:xfrm>
        </p:grpSpPr>
        <p:sp>
          <p:nvSpPr>
            <p:cNvPr id="74753" name="AutoShape 1"/>
            <p:cNvSpPr>
              <a:spLocks/>
            </p:cNvSpPr>
            <p:nvPr/>
          </p:nvSpPr>
          <p:spPr bwMode="auto">
            <a:xfrm>
              <a:off x="1446213" y="6488113"/>
              <a:ext cx="1676400" cy="16779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4754" name="AutoShape 2"/>
            <p:cNvSpPr>
              <a:spLocks/>
            </p:cNvSpPr>
            <p:nvPr/>
          </p:nvSpPr>
          <p:spPr bwMode="auto">
            <a:xfrm>
              <a:off x="2108200" y="6937375"/>
              <a:ext cx="1009650" cy="1192213"/>
            </a:xfrm>
            <a:custGeom>
              <a:avLst/>
              <a:gdLst>
                <a:gd name="T0" fmla="*/ 10255 w 20511"/>
                <a:gd name="T1" fmla="*/ 10800 h 21600"/>
                <a:gd name="T2" fmla="*/ 10255 w 20511"/>
                <a:gd name="T3" fmla="*/ 10800 h 21600"/>
                <a:gd name="T4" fmla="*/ 10255 w 20511"/>
                <a:gd name="T5" fmla="*/ 10800 h 21600"/>
                <a:gd name="T6" fmla="*/ 10255 w 20511"/>
                <a:gd name="T7" fmla="*/ 10800 h 21600"/>
              </a:gdLst>
              <a:ahLst/>
              <a:cxnLst>
                <a:cxn ang="0">
                  <a:pos x="T0" y="T1"/>
                </a:cxn>
                <a:cxn ang="0">
                  <a:pos x="T2" y="T3"/>
                </a:cxn>
                <a:cxn ang="0">
                  <a:pos x="T4" y="T5"/>
                </a:cxn>
                <a:cxn ang="0">
                  <a:pos x="T6" y="T7"/>
                </a:cxn>
              </a:cxnLst>
              <a:rect l="0" t="0" r="r" b="b"/>
              <a:pathLst>
                <a:path w="20511" h="21600">
                  <a:moveTo>
                    <a:pt x="0" y="17019"/>
                  </a:moveTo>
                  <a:lnTo>
                    <a:pt x="8317" y="21600"/>
                  </a:lnTo>
                  <a:cubicBezTo>
                    <a:pt x="8317" y="21600"/>
                    <a:pt x="21600" y="18552"/>
                    <a:pt x="20439" y="5212"/>
                  </a:cubicBezTo>
                  <a:lnTo>
                    <a:pt x="12207" y="0"/>
                  </a:lnTo>
                  <a:lnTo>
                    <a:pt x="0" y="17019"/>
                  </a:lnTo>
                  <a:close/>
                </a:path>
              </a:pathLst>
            </a:custGeom>
            <a:solidFill>
              <a:schemeClr val="accent3">
                <a:lumMod val="75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74769" name="AutoShape 17"/>
            <p:cNvSpPr>
              <a:spLocks/>
            </p:cNvSpPr>
            <p:nvPr/>
          </p:nvSpPr>
          <p:spPr bwMode="auto">
            <a:xfrm>
              <a:off x="1700213" y="6742113"/>
              <a:ext cx="1157287" cy="1157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4"/>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sp>
        <p:nvSpPr>
          <p:cNvPr id="2" name="Title 1"/>
          <p:cNvSpPr>
            <a:spLocks noGrp="1"/>
          </p:cNvSpPr>
          <p:nvPr>
            <p:ph type="title"/>
          </p:nvPr>
        </p:nvSpPr>
        <p:spPr>
          <a:xfrm>
            <a:off x="1318792" y="874148"/>
            <a:ext cx="6298519" cy="1508105"/>
          </a:xfrm>
        </p:spPr>
        <p:txBody>
          <a:bodyPr/>
          <a:lstStyle/>
          <a:p>
            <a:r>
              <a:rPr lang="en-US" dirty="0"/>
              <a:t>Our solution</a:t>
            </a:r>
          </a:p>
        </p:txBody>
      </p:sp>
      <p:sp>
        <p:nvSpPr>
          <p:cNvPr id="27" name="AutoShape 31"/>
          <p:cNvSpPr>
            <a:spLocks/>
          </p:cNvSpPr>
          <p:nvPr/>
        </p:nvSpPr>
        <p:spPr bwMode="auto">
          <a:xfrm>
            <a:off x="1892301" y="9118600"/>
            <a:ext cx="860424" cy="64883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9901" y="11002"/>
                </a:moveTo>
                <a:lnTo>
                  <a:pt x="8077" y="11002"/>
                </a:lnTo>
                <a:lnTo>
                  <a:pt x="8077" y="13470"/>
                </a:lnTo>
                <a:lnTo>
                  <a:pt x="9901" y="13470"/>
                </a:lnTo>
                <a:cubicBezTo>
                  <a:pt x="9901" y="13470"/>
                  <a:pt x="9901" y="11002"/>
                  <a:pt x="9901" y="11002"/>
                </a:cubicBezTo>
                <a:close/>
                <a:moveTo>
                  <a:pt x="7319" y="6637"/>
                </a:moveTo>
                <a:lnTo>
                  <a:pt x="5495" y="6637"/>
                </a:lnTo>
                <a:lnTo>
                  <a:pt x="5495" y="13470"/>
                </a:lnTo>
                <a:lnTo>
                  <a:pt x="7319" y="13470"/>
                </a:lnTo>
                <a:cubicBezTo>
                  <a:pt x="7319" y="13470"/>
                  <a:pt x="7319" y="6637"/>
                  <a:pt x="7319" y="6637"/>
                </a:cubicBezTo>
                <a:close/>
                <a:moveTo>
                  <a:pt x="4737" y="13470"/>
                </a:moveTo>
                <a:lnTo>
                  <a:pt x="2913" y="13470"/>
                </a:lnTo>
                <a:lnTo>
                  <a:pt x="2913" y="9004"/>
                </a:lnTo>
                <a:lnTo>
                  <a:pt x="4737" y="9004"/>
                </a:lnTo>
                <a:cubicBezTo>
                  <a:pt x="4737" y="9004"/>
                  <a:pt x="4737" y="13470"/>
                  <a:pt x="4737" y="13470"/>
                </a:cubicBezTo>
                <a:close/>
                <a:moveTo>
                  <a:pt x="10411" y="17792"/>
                </a:moveTo>
                <a:lnTo>
                  <a:pt x="0" y="17792"/>
                </a:lnTo>
                <a:lnTo>
                  <a:pt x="0" y="0"/>
                </a:lnTo>
                <a:lnTo>
                  <a:pt x="17541" y="0"/>
                </a:lnTo>
                <a:lnTo>
                  <a:pt x="17541" y="8207"/>
                </a:lnTo>
                <a:cubicBezTo>
                  <a:pt x="17010" y="7944"/>
                  <a:pt x="16438" y="7769"/>
                  <a:pt x="15838" y="7700"/>
                </a:cubicBezTo>
                <a:lnTo>
                  <a:pt x="15838" y="4240"/>
                </a:lnTo>
                <a:lnTo>
                  <a:pt x="1702" y="4240"/>
                </a:lnTo>
                <a:lnTo>
                  <a:pt x="1702" y="15842"/>
                </a:lnTo>
                <a:lnTo>
                  <a:pt x="9679" y="15842"/>
                </a:lnTo>
                <a:cubicBezTo>
                  <a:pt x="9831" y="16542"/>
                  <a:pt x="10080" y="17199"/>
                  <a:pt x="10411" y="17792"/>
                </a:cubicBezTo>
                <a:close/>
                <a:moveTo>
                  <a:pt x="15262" y="17256"/>
                </a:moveTo>
                <a:cubicBezTo>
                  <a:pt x="13816" y="17256"/>
                  <a:pt x="12640" y="15909"/>
                  <a:pt x="12640" y="14254"/>
                </a:cubicBezTo>
                <a:cubicBezTo>
                  <a:pt x="12640" y="12599"/>
                  <a:pt x="13816" y="11252"/>
                  <a:pt x="15262" y="11252"/>
                </a:cubicBezTo>
                <a:cubicBezTo>
                  <a:pt x="16708" y="11252"/>
                  <a:pt x="17884" y="12599"/>
                  <a:pt x="17884" y="14254"/>
                </a:cubicBezTo>
                <a:cubicBezTo>
                  <a:pt x="17884" y="15909"/>
                  <a:pt x="16708" y="17256"/>
                  <a:pt x="15262" y="17256"/>
                </a:cubicBezTo>
                <a:close/>
                <a:moveTo>
                  <a:pt x="18794" y="16811"/>
                </a:moveTo>
                <a:cubicBezTo>
                  <a:pt x="19204" y="16071"/>
                  <a:pt x="19442" y="15194"/>
                  <a:pt x="19442" y="14254"/>
                </a:cubicBezTo>
                <a:cubicBezTo>
                  <a:pt x="19442" y="11615"/>
                  <a:pt x="17567" y="9468"/>
                  <a:pt x="15262" y="9468"/>
                </a:cubicBezTo>
                <a:cubicBezTo>
                  <a:pt x="12957" y="9468"/>
                  <a:pt x="11082" y="11615"/>
                  <a:pt x="11082" y="14254"/>
                </a:cubicBezTo>
                <a:cubicBezTo>
                  <a:pt x="11082" y="16893"/>
                  <a:pt x="12957" y="19040"/>
                  <a:pt x="15262" y="19040"/>
                </a:cubicBezTo>
                <a:cubicBezTo>
                  <a:pt x="16042" y="19040"/>
                  <a:pt x="16772" y="18794"/>
                  <a:pt x="17398" y="18366"/>
                </a:cubicBezTo>
                <a:lnTo>
                  <a:pt x="20222" y="21600"/>
                </a:lnTo>
                <a:lnTo>
                  <a:pt x="21599" y="20023"/>
                </a:lnTo>
                <a:cubicBezTo>
                  <a:pt x="21599" y="20023"/>
                  <a:pt x="18794" y="16811"/>
                  <a:pt x="18794" y="16811"/>
                </a:cubicBezTo>
                <a:close/>
              </a:path>
            </a:pathLst>
          </a:custGeom>
          <a:solidFill>
            <a:srgbClr val="FFFFFF"/>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C0C0C0"/>
                </a:outerShdw>
              </a:effectLst>
              <a:latin typeface="Lato" panose="020F0502020204030203" pitchFamily="34" charset="0"/>
            </a:endParaRPr>
          </a:p>
        </p:txBody>
      </p:sp>
      <p:sp>
        <p:nvSpPr>
          <p:cNvPr id="25" name="Rectangle 24"/>
          <p:cNvSpPr/>
          <p:nvPr/>
        </p:nvSpPr>
        <p:spPr>
          <a:xfrm>
            <a:off x="15540037" y="4994869"/>
            <a:ext cx="4727576" cy="92333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fr-FR" sz="5400" b="1"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To </a:t>
            </a:r>
            <a:r>
              <a:rPr lang="fr-FR" sz="5400" b="1" dirty="0" err="1">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be</a:t>
            </a:r>
            <a:r>
              <a:rPr lang="fr-FR" sz="5400" b="1"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 </a:t>
            </a:r>
            <a:r>
              <a:rPr lang="fr-FR" sz="5400" b="1" dirty="0" err="1">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updated</a:t>
            </a:r>
            <a:endParaRPr lang="fr-FR" sz="5400" b="1"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pic>
        <p:nvPicPr>
          <p:cNvPr id="3" name="Picture 2"/>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5490134" y="1725613"/>
            <a:ext cx="6350000" cy="9525000"/>
          </a:xfrm>
          <a:prstGeom prst="rect">
            <a:avLst/>
          </a:prstGeom>
        </p:spPr>
      </p:pic>
      <p:pic>
        <p:nvPicPr>
          <p:cNvPr id="14" name="Picture Placeholder 13"/>
          <p:cNvPicPr>
            <a:picLocks noGrp="1" noChangeAspect="1"/>
          </p:cNvPicPr>
          <p:nvPr>
            <p:ph type="pic" sz="quarter" idx="10"/>
          </p:nvPr>
        </p:nvPicPr>
        <p:blipFill>
          <a:blip r:embed="rId4">
            <a:extLst>
              <a:ext uri="{28A0092B-C50C-407E-A947-70E740481C1C}">
                <a14:useLocalDpi xmlns:a14="http://schemas.microsoft.com/office/drawing/2010/main" xmlns="" val="0"/>
              </a:ext>
            </a:extLst>
          </a:blip>
          <a:srcRect t="12340" b="12340"/>
          <a:stretch>
            <a:fillRect/>
          </a:stretch>
        </p:blipFill>
        <p:spPr/>
      </p:pic>
      <p:pic>
        <p:nvPicPr>
          <p:cNvPr id="12" name="Picture 11"/>
          <p:cNvPicPr>
            <a:picLocks/>
          </p:cNvPicPr>
          <p:nvPr/>
        </p:nvPicPr>
        <p:blipFill>
          <a:blip r:embed="rId5" cstate="email">
            <a:extLst>
              <a:ext uri="{28A0092B-C50C-407E-A947-70E740481C1C}">
                <a14:useLocalDpi xmlns:a14="http://schemas.microsoft.com/office/drawing/2010/main" xmlns="" val="0"/>
              </a:ext>
            </a:extLst>
          </a:blip>
          <a:stretch>
            <a:fillRect/>
          </a:stretch>
        </p:blipFill>
        <p:spPr>
          <a:xfrm>
            <a:off x="14560296" y="3386513"/>
            <a:ext cx="7498079" cy="4668875"/>
          </a:xfrm>
          <a:prstGeom prst="rect">
            <a:avLst/>
          </a:prstGeom>
        </p:spPr>
      </p:pic>
      <p:pic>
        <p:nvPicPr>
          <p:cNvPr id="7" name="Picture 6"/>
          <p:cNvPicPr>
            <a:picLocks noChangeAspect="1"/>
          </p:cNvPicPr>
          <p:nvPr/>
        </p:nvPicPr>
        <p:blipFill>
          <a:blip r:embed="rId6" cstate="email">
            <a:extLst>
              <a:ext uri="{28A0092B-C50C-407E-A947-70E740481C1C}">
                <a14:useLocalDpi xmlns:a14="http://schemas.microsoft.com/office/drawing/2010/main" xmlns="" val="0"/>
              </a:ext>
            </a:extLst>
          </a:blip>
          <a:stretch>
            <a:fillRect/>
          </a:stretch>
        </p:blipFill>
        <p:spPr>
          <a:xfrm>
            <a:off x="1838325" y="6867050"/>
            <a:ext cx="914400" cy="914400"/>
          </a:xfrm>
          <a:prstGeom prst="rect">
            <a:avLst/>
          </a:prstGeom>
        </p:spPr>
      </p:pic>
      <p:pic>
        <p:nvPicPr>
          <p:cNvPr id="8" name="Picture 7"/>
          <p:cNvPicPr>
            <a:picLocks noChangeAspect="1"/>
          </p:cNvPicPr>
          <p:nvPr/>
        </p:nvPicPr>
        <p:blipFill>
          <a:blip r:embed="rId7" cstate="email">
            <a:extLst>
              <a:ext uri="{28A0092B-C50C-407E-A947-70E740481C1C}">
                <a14:useLocalDpi xmlns:a14="http://schemas.microsoft.com/office/drawing/2010/main" xmlns="" val="0"/>
              </a:ext>
            </a:extLst>
          </a:blip>
          <a:stretch>
            <a:fillRect/>
          </a:stretch>
        </p:blipFill>
        <p:spPr>
          <a:xfrm>
            <a:off x="1929765" y="11189310"/>
            <a:ext cx="731520" cy="731520"/>
          </a:xfrm>
          <a:prstGeom prst="rect">
            <a:avLst/>
          </a:prstGeom>
        </p:spPr>
      </p:pic>
    </p:spTree>
    <p:extLst>
      <p:ext uri="{BB962C8B-B14F-4D97-AF65-F5344CB8AC3E}">
        <p14:creationId xmlns:p14="http://schemas.microsoft.com/office/powerpoint/2010/main" xmlns="" val="1686478917"/>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AutoShape 1"/>
          <p:cNvSpPr>
            <a:spLocks/>
          </p:cNvSpPr>
          <p:nvPr/>
        </p:nvSpPr>
        <p:spPr bwMode="auto">
          <a:xfrm>
            <a:off x="8724900" y="-14288"/>
            <a:ext cx="15724188" cy="13800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9246" y="23"/>
                </a:moveTo>
                <a:lnTo>
                  <a:pt x="21530" y="0"/>
                </a:lnTo>
                <a:lnTo>
                  <a:pt x="21600" y="21600"/>
                </a:lnTo>
                <a:lnTo>
                  <a:pt x="0" y="21547"/>
                </a:lnTo>
                <a:lnTo>
                  <a:pt x="9246" y="23"/>
                </a:lnTo>
                <a:close/>
              </a:path>
            </a:pathLst>
          </a:custGeom>
          <a:solidFill>
            <a:schemeClr val="tx1">
              <a:lumMod val="75000"/>
              <a:alpha val="9000"/>
            </a:schemeClr>
          </a:solidFill>
          <a:ln>
            <a:noFill/>
          </a:ln>
          <a:effectLst/>
          <a:extLst/>
        </p:spPr>
        <p:txBody>
          <a:bodyPr wrap="square" lIns="38100" tIns="38100" rIns="38100" bIns="38100" anchor="ctr">
            <a:noAutofit/>
          </a:bodyPr>
          <a:lstStyle/>
          <a:p>
            <a:pPr defTabSz="457200"/>
            <a:endParaRPr lang="en-US" sz="3000" dirty="0">
              <a:solidFill>
                <a:srgbClr val="FFFFFF"/>
              </a:solidFill>
              <a:effectLst>
                <a:outerShdw blurRad="38100" dist="38100" dir="2700000" algn="tl">
                  <a:srgbClr val="000000"/>
                </a:outerShdw>
              </a:effectLst>
              <a:latin typeface="Lato" panose="020F0502020204030203" pitchFamily="34" charset="0"/>
            </a:endParaRPr>
          </a:p>
        </p:txBody>
      </p:sp>
      <p:sp>
        <p:nvSpPr>
          <p:cNvPr id="77829" name="AutoShape 5"/>
          <p:cNvSpPr>
            <a:spLocks/>
          </p:cNvSpPr>
          <p:nvPr/>
        </p:nvSpPr>
        <p:spPr bwMode="auto">
          <a:xfrm>
            <a:off x="10668000" y="3657600"/>
            <a:ext cx="11798300" cy="75009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21599"/>
                </a:moveTo>
                <a:lnTo>
                  <a:pt x="0" y="21599"/>
                </a:lnTo>
                <a:lnTo>
                  <a:pt x="0" y="0"/>
                </a:lnTo>
                <a:lnTo>
                  <a:pt x="21599" y="0"/>
                </a:lnTo>
                <a:cubicBezTo>
                  <a:pt x="21599" y="0"/>
                  <a:pt x="21599" y="21599"/>
                  <a:pt x="21599" y="21599"/>
                </a:cubicBezTo>
                <a:close/>
              </a:path>
            </a:pathLst>
          </a:custGeom>
          <a:solidFill>
            <a:srgbClr val="000000"/>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DCDEE0"/>
                </a:outerShdw>
              </a:effectLst>
              <a:latin typeface="Lato" panose="020F0502020204030203" pitchFamily="34" charset="0"/>
            </a:endParaRPr>
          </a:p>
        </p:txBody>
      </p:sp>
      <p:sp>
        <p:nvSpPr>
          <p:cNvPr id="77833" name="AutoShape 9"/>
          <p:cNvSpPr>
            <a:spLocks/>
          </p:cNvSpPr>
          <p:nvPr/>
        </p:nvSpPr>
        <p:spPr bwMode="auto">
          <a:xfrm>
            <a:off x="533400" y="5499100"/>
            <a:ext cx="8507413" cy="24003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4400" b="1" dirty="0">
                <a:solidFill>
                  <a:schemeClr val="tx1"/>
                </a:solidFill>
                <a:latin typeface="Aleo" panose="020F0502020204030203" pitchFamily="34" charset="0"/>
                <a:ea typeface="Aleo Regular" charset="0"/>
                <a:cs typeface="Aleo Regular" charset="0"/>
                <a:sym typeface="Aleo Regular" charset="0"/>
              </a:rPr>
              <a:t>French version</a:t>
            </a:r>
          </a:p>
          <a:p>
            <a:pPr algn="l"/>
            <a:endParaRPr lang="en-US" sz="4400" b="1" dirty="0">
              <a:solidFill>
                <a:schemeClr val="tx1"/>
              </a:solidFill>
              <a:latin typeface="Aleo" panose="020F0502020204030203" pitchFamily="34" charset="0"/>
              <a:sym typeface="Aleo Regular" charset="0"/>
            </a:endParaRPr>
          </a:p>
          <a:p>
            <a:pPr algn="l"/>
            <a:r>
              <a:rPr lang="en-US" sz="4400" b="1" dirty="0">
                <a:solidFill>
                  <a:schemeClr val="tx1"/>
                </a:solidFill>
                <a:latin typeface="Aleo" panose="020F0502020204030203" pitchFamily="34" charset="0"/>
                <a:sym typeface="Aleo Regular" charset="0"/>
              </a:rPr>
              <a:t>English version</a:t>
            </a:r>
            <a:endParaRPr lang="en-US" dirty="0">
              <a:solidFill>
                <a:schemeClr val="tx1"/>
              </a:solidFill>
              <a:latin typeface="Lato" panose="020F0502020204030203" pitchFamily="34" charset="0"/>
            </a:endParaRPr>
          </a:p>
        </p:txBody>
      </p:sp>
      <p:sp>
        <p:nvSpPr>
          <p:cNvPr id="77834" name="AutoShape 10"/>
          <p:cNvSpPr>
            <a:spLocks/>
          </p:cNvSpPr>
          <p:nvPr/>
        </p:nvSpPr>
        <p:spPr bwMode="auto">
          <a:xfrm>
            <a:off x="533400" y="6261100"/>
            <a:ext cx="10134600" cy="3454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l"/>
            <a:r>
              <a:rPr lang="fr-FR" sz="3200" dirty="0">
                <a:solidFill>
                  <a:schemeClr val="bg2">
                    <a:lumMod val="50000"/>
                  </a:schemeClr>
                </a:solidFill>
                <a:hlinkClick r:id="rId3"/>
              </a:rPr>
              <a:t>https://www.youtube.com/watch?v=WIVuv1KBpQo</a:t>
            </a:r>
            <a:endParaRPr lang="fr-FR" sz="3200" dirty="0">
              <a:solidFill>
                <a:schemeClr val="bg2">
                  <a:lumMod val="50000"/>
                </a:schemeClr>
              </a:solidFill>
            </a:endParaRPr>
          </a:p>
          <a:p>
            <a:pPr algn="l"/>
            <a:endParaRPr lang="fr-FR" sz="3200" dirty="0">
              <a:solidFill>
                <a:schemeClr val="bg2">
                  <a:lumMod val="50000"/>
                </a:schemeClr>
              </a:solidFill>
              <a:latin typeface="Lato" panose="020F0502020204030203" pitchFamily="34" charset="0"/>
            </a:endParaRPr>
          </a:p>
          <a:p>
            <a:pPr algn="l"/>
            <a:endParaRPr lang="fr-FR" sz="3200" dirty="0">
              <a:solidFill>
                <a:schemeClr val="bg2">
                  <a:lumMod val="50000"/>
                </a:schemeClr>
              </a:solidFill>
              <a:latin typeface="Lato" panose="020F0502020204030203" pitchFamily="34" charset="0"/>
            </a:endParaRPr>
          </a:p>
          <a:p>
            <a:pPr algn="l"/>
            <a:r>
              <a:rPr lang="fr-FR" sz="3200" dirty="0">
                <a:solidFill>
                  <a:schemeClr val="bg2">
                    <a:lumMod val="50000"/>
                  </a:schemeClr>
                </a:solidFill>
                <a:hlinkClick r:id="rId3"/>
              </a:rPr>
              <a:t>www.youtube.com/watch?v=eVC5SsI7HCg</a:t>
            </a:r>
            <a:endParaRPr lang="en-US" sz="3200" dirty="0">
              <a:solidFill>
                <a:schemeClr val="bg2">
                  <a:lumMod val="50000"/>
                </a:schemeClr>
              </a:solidFill>
              <a:hlinkClick r:id="rId3"/>
            </a:endParaRPr>
          </a:p>
        </p:txBody>
      </p:sp>
      <p:grpSp>
        <p:nvGrpSpPr>
          <p:cNvPr id="6" name="Group 5"/>
          <p:cNvGrpSpPr/>
          <p:nvPr/>
        </p:nvGrpSpPr>
        <p:grpSpPr>
          <a:xfrm>
            <a:off x="8305800" y="3263900"/>
            <a:ext cx="16494125" cy="8789988"/>
            <a:chOff x="8305800" y="3263900"/>
            <a:chExt cx="16494125" cy="8789988"/>
          </a:xfrm>
        </p:grpSpPr>
        <p:sp>
          <p:nvSpPr>
            <p:cNvPr id="77826" name="AutoShape 2"/>
            <p:cNvSpPr>
              <a:spLocks/>
            </p:cNvSpPr>
            <p:nvPr/>
          </p:nvSpPr>
          <p:spPr bwMode="auto">
            <a:xfrm>
              <a:off x="10134600" y="3263900"/>
              <a:ext cx="12814300" cy="85582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0453"/>
                  </a:moveTo>
                  <a:cubicBezTo>
                    <a:pt x="21600" y="21086"/>
                    <a:pt x="21251" y="21599"/>
                    <a:pt x="20820" y="21599"/>
                  </a:cubicBezTo>
                  <a:lnTo>
                    <a:pt x="779" y="21599"/>
                  </a:lnTo>
                  <a:cubicBezTo>
                    <a:pt x="348" y="21599"/>
                    <a:pt x="0" y="21086"/>
                    <a:pt x="0" y="20453"/>
                  </a:cubicBezTo>
                  <a:lnTo>
                    <a:pt x="0" y="1146"/>
                  </a:lnTo>
                  <a:cubicBezTo>
                    <a:pt x="0" y="513"/>
                    <a:pt x="348" y="0"/>
                    <a:pt x="779" y="0"/>
                  </a:cubicBezTo>
                  <a:lnTo>
                    <a:pt x="20820" y="0"/>
                  </a:lnTo>
                  <a:cubicBezTo>
                    <a:pt x="21251" y="0"/>
                    <a:pt x="21600" y="513"/>
                    <a:pt x="21600" y="1146"/>
                  </a:cubicBezTo>
                  <a:cubicBezTo>
                    <a:pt x="21600" y="1146"/>
                    <a:pt x="21600" y="20453"/>
                    <a:pt x="21600" y="20453"/>
                  </a:cubicBezTo>
                  <a:close/>
                </a:path>
              </a:pathLst>
            </a:custGeom>
            <a:solidFill>
              <a:srgbClr val="484849"/>
            </a:solidFill>
            <a:ln w="38100" cap="flat" cmpd="sng">
              <a:solidFill>
                <a:srgbClr val="6E6D6E"/>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sp>
          <p:nvSpPr>
            <p:cNvPr id="77827" name="AutoShape 3"/>
            <p:cNvSpPr>
              <a:spLocks/>
            </p:cNvSpPr>
            <p:nvPr/>
          </p:nvSpPr>
          <p:spPr bwMode="auto">
            <a:xfrm>
              <a:off x="10172700" y="3289300"/>
              <a:ext cx="10183813" cy="85582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980" y="21599"/>
                  </a:lnTo>
                  <a:cubicBezTo>
                    <a:pt x="438" y="21599"/>
                    <a:pt x="0" y="21086"/>
                    <a:pt x="0" y="20453"/>
                  </a:cubicBezTo>
                  <a:lnTo>
                    <a:pt x="0" y="1146"/>
                  </a:lnTo>
                  <a:cubicBezTo>
                    <a:pt x="0" y="513"/>
                    <a:pt x="438" y="0"/>
                    <a:pt x="980" y="0"/>
                  </a:cubicBezTo>
                  <a:lnTo>
                    <a:pt x="15217" y="0"/>
                  </a:lnTo>
                  <a:cubicBezTo>
                    <a:pt x="15217" y="0"/>
                    <a:pt x="21600" y="21599"/>
                    <a:pt x="21600" y="21599"/>
                  </a:cubicBezTo>
                  <a:close/>
                </a:path>
              </a:pathLst>
            </a:custGeom>
            <a:solidFill>
              <a:srgbClr val="424242"/>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sp>
          <p:nvSpPr>
            <p:cNvPr id="77828" name="AutoShape 4"/>
            <p:cNvSpPr>
              <a:spLocks/>
            </p:cNvSpPr>
            <p:nvPr/>
          </p:nvSpPr>
          <p:spPr bwMode="auto">
            <a:xfrm>
              <a:off x="16548100" y="3361532"/>
              <a:ext cx="217488" cy="214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794"/>
                  </a:moveTo>
                  <a:cubicBezTo>
                    <a:pt x="21600" y="16761"/>
                    <a:pt x="16755" y="21599"/>
                    <a:pt x="10791" y="21599"/>
                  </a:cubicBezTo>
                  <a:cubicBezTo>
                    <a:pt x="4831" y="21599"/>
                    <a:pt x="0" y="16761"/>
                    <a:pt x="0" y="10794"/>
                  </a:cubicBezTo>
                  <a:cubicBezTo>
                    <a:pt x="0" y="4832"/>
                    <a:pt x="4831" y="0"/>
                    <a:pt x="10791" y="0"/>
                  </a:cubicBezTo>
                  <a:cubicBezTo>
                    <a:pt x="16755" y="0"/>
                    <a:pt x="21600" y="4832"/>
                    <a:pt x="21600" y="10794"/>
                  </a:cubicBezTo>
                  <a:close/>
                </a:path>
              </a:pathLst>
            </a:custGeom>
            <a:solidFill>
              <a:srgbClr val="232323"/>
            </a:solidFill>
            <a:ln w="12700" cap="flat" cmpd="sng">
              <a:solidFill>
                <a:srgbClr val="232323"/>
              </a:solidFill>
              <a:prstDash val="solid"/>
              <a:miter lim="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sp>
          <p:nvSpPr>
            <p:cNvPr id="77830" name="AutoShape 6"/>
            <p:cNvSpPr>
              <a:spLocks/>
            </p:cNvSpPr>
            <p:nvPr/>
          </p:nvSpPr>
          <p:spPr bwMode="auto">
            <a:xfrm>
              <a:off x="8305800" y="11569700"/>
              <a:ext cx="16494125" cy="4841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999" y="0"/>
                  </a:moveTo>
                  <a:lnTo>
                    <a:pt x="20988" y="0"/>
                  </a:lnTo>
                  <a:lnTo>
                    <a:pt x="611" y="0"/>
                  </a:lnTo>
                  <a:lnTo>
                    <a:pt x="600" y="0"/>
                  </a:lnTo>
                  <a:cubicBezTo>
                    <a:pt x="268" y="0"/>
                    <a:pt x="0" y="4463"/>
                    <a:pt x="0" y="9970"/>
                  </a:cubicBezTo>
                  <a:lnTo>
                    <a:pt x="0" y="11632"/>
                  </a:lnTo>
                  <a:cubicBezTo>
                    <a:pt x="0" y="17137"/>
                    <a:pt x="268" y="21599"/>
                    <a:pt x="600" y="21599"/>
                  </a:cubicBezTo>
                  <a:lnTo>
                    <a:pt x="611" y="21599"/>
                  </a:lnTo>
                  <a:lnTo>
                    <a:pt x="20988" y="21599"/>
                  </a:lnTo>
                  <a:lnTo>
                    <a:pt x="20999" y="21599"/>
                  </a:lnTo>
                  <a:cubicBezTo>
                    <a:pt x="21331" y="21599"/>
                    <a:pt x="21600" y="17137"/>
                    <a:pt x="21600" y="11632"/>
                  </a:cubicBezTo>
                  <a:lnTo>
                    <a:pt x="21600" y="9970"/>
                  </a:lnTo>
                  <a:cubicBezTo>
                    <a:pt x="21600" y="4463"/>
                    <a:pt x="21331" y="0"/>
                    <a:pt x="20999" y="0"/>
                  </a:cubicBezTo>
                  <a:close/>
                </a:path>
              </a:pathLst>
            </a:custGeom>
            <a:solidFill>
              <a:srgbClr val="B4B6B8"/>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sp>
          <p:nvSpPr>
            <p:cNvPr id="77831" name="AutoShape 7"/>
            <p:cNvSpPr>
              <a:spLocks/>
            </p:cNvSpPr>
            <p:nvPr/>
          </p:nvSpPr>
          <p:spPr bwMode="auto">
            <a:xfrm>
              <a:off x="8305800" y="11569700"/>
              <a:ext cx="16494125" cy="2603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ubicBezTo>
                    <a:pt x="0" y="21599"/>
                    <a:pt x="0" y="0"/>
                    <a:pt x="0" y="0"/>
                  </a:cubicBezTo>
                  <a:close/>
                </a:path>
              </a:pathLst>
            </a:custGeom>
            <a:solidFill>
              <a:srgbClr val="D9DADB"/>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000000"/>
                  </a:outerShdw>
                </a:effectLst>
                <a:latin typeface="Lato" panose="020F0502020204030203" pitchFamily="34" charset="0"/>
              </a:endParaRPr>
            </a:p>
          </p:txBody>
        </p:sp>
        <p:pic>
          <p:nvPicPr>
            <p:cNvPr id="77835" name="Picture 11" descr="Zdjęcie duże-01.png"/>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10574338" y="3652838"/>
              <a:ext cx="11922125" cy="752475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grpSp>
      <p:sp>
        <p:nvSpPr>
          <p:cNvPr id="2" name="Title 1"/>
          <p:cNvSpPr>
            <a:spLocks noGrp="1"/>
          </p:cNvSpPr>
          <p:nvPr>
            <p:ph type="title"/>
          </p:nvPr>
        </p:nvSpPr>
        <p:spPr>
          <a:xfrm>
            <a:off x="1318792" y="874148"/>
            <a:ext cx="9044079" cy="1508105"/>
          </a:xfrm>
        </p:spPr>
        <p:txBody>
          <a:bodyPr/>
          <a:lstStyle/>
          <a:p>
            <a:r>
              <a:rPr lang="en-US" dirty="0">
                <a:ea typeface="Aleo Regular" charset="0"/>
                <a:cs typeface="Aleo Regular" charset="0"/>
                <a:sym typeface="Aleo Regular" charset="0"/>
              </a:rPr>
              <a:t>Product overview</a:t>
            </a:r>
            <a:endParaRPr lang="en-US" dirty="0"/>
          </a:p>
        </p:txBody>
      </p:sp>
      <p:pic>
        <p:nvPicPr>
          <p:cNvPr id="375811" name="Picture 3"/>
          <p:cNvPicPr>
            <a:picLocks noGrp="1" noChangeAspect="1" noChangeArrowheads="1"/>
          </p:cNvPicPr>
          <p:nvPr>
            <p:ph type="pic" sz="quarter" idx="10"/>
          </p:nvPr>
        </p:nvPicPr>
        <p:blipFill>
          <a:blip r:embed="rId5"/>
          <a:srcRect/>
          <a:stretch>
            <a:fillRect/>
          </a:stretch>
        </p:blipFill>
        <p:spPr bwMode="auto">
          <a:xfrm>
            <a:off x="10574338" y="3648075"/>
            <a:ext cx="11922125" cy="7529513"/>
          </a:xfrm>
          <a:prstGeom prst="rect">
            <a:avLst/>
          </a:prstGeom>
          <a:noFill/>
          <a:ln w="9525">
            <a:noFill/>
            <a:miter lim="800000"/>
            <a:headEnd/>
            <a:tailEnd/>
          </a:ln>
          <a:effectLst/>
        </p:spPr>
      </p:pic>
      <p:sp>
        <p:nvSpPr>
          <p:cNvPr id="15" name="AutoShape 8">
            <a:hlinkClick r:id="rId3"/>
          </p:cNvPr>
          <p:cNvSpPr>
            <a:spLocks/>
          </p:cNvSpPr>
          <p:nvPr/>
        </p:nvSpPr>
        <p:spPr bwMode="auto">
          <a:xfrm>
            <a:off x="15065375" y="6917531"/>
            <a:ext cx="2166938" cy="21415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207" y="16168"/>
                </a:moveTo>
                <a:lnTo>
                  <a:pt x="8207" y="5696"/>
                </a:lnTo>
                <a:lnTo>
                  <a:pt x="16643" y="10932"/>
                </a:lnTo>
                <a:cubicBezTo>
                  <a:pt x="16643" y="10932"/>
                  <a:pt x="8207" y="16168"/>
                  <a:pt x="8207" y="16168"/>
                </a:cubicBezTo>
                <a:close/>
                <a:moveTo>
                  <a:pt x="10799" y="0"/>
                </a:moveTo>
                <a:cubicBezTo>
                  <a:pt x="4835" y="0"/>
                  <a:pt x="0" y="4835"/>
                  <a:pt x="0" y="10800"/>
                </a:cubicBezTo>
                <a:cubicBezTo>
                  <a:pt x="0" y="16764"/>
                  <a:pt x="4835" y="21599"/>
                  <a:pt x="10799" y="21599"/>
                </a:cubicBezTo>
                <a:cubicBezTo>
                  <a:pt x="16764" y="21599"/>
                  <a:pt x="21600" y="16764"/>
                  <a:pt x="21600" y="10800"/>
                </a:cubicBezTo>
                <a:cubicBezTo>
                  <a:pt x="21600" y="4835"/>
                  <a:pt x="16764" y="0"/>
                  <a:pt x="10799" y="0"/>
                </a:cubicBezTo>
                <a:cubicBezTo>
                  <a:pt x="10799" y="0"/>
                  <a:pt x="10799" y="0"/>
                  <a:pt x="10799" y="0"/>
                </a:cubicBezTo>
                <a:close/>
                <a:moveTo>
                  <a:pt x="10799" y="2122"/>
                </a:moveTo>
                <a:cubicBezTo>
                  <a:pt x="13129" y="2122"/>
                  <a:pt x="15318" y="3028"/>
                  <a:pt x="16962" y="4673"/>
                </a:cubicBezTo>
                <a:cubicBezTo>
                  <a:pt x="18600" y="6311"/>
                  <a:pt x="19502" y="8486"/>
                  <a:pt x="19502" y="10800"/>
                </a:cubicBezTo>
                <a:cubicBezTo>
                  <a:pt x="19502" y="13112"/>
                  <a:pt x="18600" y="15288"/>
                  <a:pt x="16962" y="16926"/>
                </a:cubicBezTo>
                <a:cubicBezTo>
                  <a:pt x="15318" y="18571"/>
                  <a:pt x="13129" y="19477"/>
                  <a:pt x="10799" y="19477"/>
                </a:cubicBezTo>
                <a:cubicBezTo>
                  <a:pt x="8470" y="19477"/>
                  <a:pt x="6281" y="18571"/>
                  <a:pt x="4637" y="16926"/>
                </a:cubicBezTo>
                <a:cubicBezTo>
                  <a:pt x="2999" y="15288"/>
                  <a:pt x="2097" y="13112"/>
                  <a:pt x="2097" y="10800"/>
                </a:cubicBezTo>
                <a:cubicBezTo>
                  <a:pt x="2097" y="8486"/>
                  <a:pt x="2999" y="6311"/>
                  <a:pt x="4637" y="4673"/>
                </a:cubicBezTo>
                <a:cubicBezTo>
                  <a:pt x="6281" y="3028"/>
                  <a:pt x="8470" y="2122"/>
                  <a:pt x="10799" y="2122"/>
                </a:cubicBezTo>
              </a:path>
            </a:pathLst>
          </a:custGeom>
          <a:solidFill>
            <a:schemeClr val="accent2"/>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8100" tIns="38100" rIns="38100" bIns="38100" anchor="ctr"/>
          <a:lstStyle>
            <a:lvl1pPr defTabSz="457200">
              <a:defRPr sz="5600">
                <a:solidFill>
                  <a:srgbClr val="000000"/>
                </a:solidFill>
                <a:latin typeface="Gill Sans" charset="0"/>
                <a:ea typeface="Gill Sans" charset="0"/>
                <a:cs typeface="Gill Sans" charset="0"/>
                <a:sym typeface="Gill Sans" charset="0"/>
              </a:defRPr>
            </a:lvl1pPr>
            <a:lvl2pPr defTabSz="457200">
              <a:defRPr sz="5600">
                <a:solidFill>
                  <a:srgbClr val="000000"/>
                </a:solidFill>
                <a:latin typeface="Gill Sans" charset="0"/>
                <a:ea typeface="Gill Sans" charset="0"/>
                <a:cs typeface="Gill Sans" charset="0"/>
                <a:sym typeface="Gill Sans" charset="0"/>
              </a:defRPr>
            </a:lvl2pPr>
            <a:lvl3pPr defTabSz="457200">
              <a:defRPr sz="5600">
                <a:solidFill>
                  <a:srgbClr val="000000"/>
                </a:solidFill>
                <a:latin typeface="Gill Sans" charset="0"/>
                <a:ea typeface="Gill Sans" charset="0"/>
                <a:cs typeface="Gill Sans" charset="0"/>
                <a:sym typeface="Gill Sans" charset="0"/>
              </a:defRPr>
            </a:lvl3pPr>
            <a:lvl4pPr defTabSz="457200">
              <a:defRPr sz="5600">
                <a:solidFill>
                  <a:srgbClr val="000000"/>
                </a:solidFill>
                <a:latin typeface="Gill Sans" charset="0"/>
                <a:ea typeface="Gill Sans" charset="0"/>
                <a:cs typeface="Gill Sans" charset="0"/>
                <a:sym typeface="Gill Sans" charset="0"/>
              </a:defRPr>
            </a:lvl4pPr>
            <a:lvl5pPr defTabSz="457200">
              <a:defRPr sz="5600">
                <a:solidFill>
                  <a:srgbClr val="000000"/>
                </a:solidFill>
                <a:latin typeface="Gill Sans" charset="0"/>
                <a:ea typeface="Gill Sans" charset="0"/>
                <a:cs typeface="Gill Sans" charset="0"/>
                <a:sym typeface="Gill Sans" charset="0"/>
              </a:defRPr>
            </a:lvl5pPr>
            <a:lvl6pPr marL="18288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457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3000" dirty="0">
              <a:solidFill>
                <a:srgbClr val="FFFFFF"/>
              </a:solidFill>
              <a:effectLst>
                <a:outerShdw blurRad="38100" dist="38100" dir="2700000" algn="tl">
                  <a:srgbClr val="C0C0C0"/>
                </a:outerShdw>
              </a:effectLst>
              <a:latin typeface="Lato" panose="020F0502020204030203" pitchFamily="34" charset="0"/>
            </a:endParaRPr>
          </a:p>
        </p:txBody>
      </p:sp>
    </p:spTree>
    <p:extLst>
      <p:ext uri="{BB962C8B-B14F-4D97-AF65-F5344CB8AC3E}">
        <p14:creationId xmlns:p14="http://schemas.microsoft.com/office/powerpoint/2010/main" xmlns="" val="15363368"/>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6" name="AutoShape 10"/>
          <p:cNvSpPr>
            <a:spLocks/>
          </p:cNvSpPr>
          <p:nvPr/>
        </p:nvSpPr>
        <p:spPr bwMode="auto">
          <a:xfrm>
            <a:off x="2916381" y="8915400"/>
            <a:ext cx="4648215" cy="1422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4400" dirty="0">
                <a:solidFill>
                  <a:schemeClr val="tx1"/>
                </a:solidFill>
                <a:latin typeface="Lato Light" panose="020F0302020204030203" pitchFamily="34" charset="0"/>
                <a:ea typeface="Lato Light" panose="020F0302020204030203" pitchFamily="34" charset="0"/>
                <a:cs typeface="Lato Light" panose="020F0302020204030203" pitchFamily="34" charset="0"/>
              </a:rPr>
              <a:t>No ERP technical expertise required</a:t>
            </a:r>
          </a:p>
        </p:txBody>
      </p:sp>
      <p:sp>
        <p:nvSpPr>
          <p:cNvPr id="75787" name="AutoShape 11"/>
          <p:cNvSpPr>
            <a:spLocks/>
          </p:cNvSpPr>
          <p:nvPr/>
        </p:nvSpPr>
        <p:spPr bwMode="auto">
          <a:xfrm>
            <a:off x="14784148" y="5080000"/>
            <a:ext cx="6057900" cy="1422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4400" dirty="0">
                <a:solidFill>
                  <a:schemeClr val="tx1"/>
                </a:solidFill>
                <a:latin typeface="Lato Light" panose="020F0302020204030203" pitchFamily="34" charset="0"/>
                <a:ea typeface="Lato Light" panose="020F0302020204030203" pitchFamily="34" charset="0"/>
                <a:cs typeface="Lato Light" panose="020F0302020204030203" pitchFamily="34" charset="0"/>
              </a:rPr>
              <a:t>Industry specific auditing rules with permanent updates</a:t>
            </a:r>
          </a:p>
        </p:txBody>
      </p:sp>
      <p:sp>
        <p:nvSpPr>
          <p:cNvPr id="75788" name="AutoShape 12"/>
          <p:cNvSpPr>
            <a:spLocks/>
          </p:cNvSpPr>
          <p:nvPr/>
        </p:nvSpPr>
        <p:spPr bwMode="auto">
          <a:xfrm>
            <a:off x="16971177" y="8902700"/>
            <a:ext cx="6057900" cy="1422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4400" dirty="0">
                <a:solidFill>
                  <a:schemeClr val="tx1"/>
                </a:solidFill>
                <a:latin typeface="Lato Light" panose="020F0302020204030203" pitchFamily="34" charset="0"/>
                <a:ea typeface="Lato Light" panose="020F0302020204030203" pitchFamily="34" charset="0"/>
                <a:cs typeface="Lato Light" panose="020F0302020204030203" pitchFamily="34" charset="0"/>
              </a:rPr>
              <a:t>At-Will analysis for 100% of all financial ERP data</a:t>
            </a:r>
          </a:p>
        </p:txBody>
      </p:sp>
      <p:sp>
        <p:nvSpPr>
          <p:cNvPr id="2" name="Title 1"/>
          <p:cNvSpPr>
            <a:spLocks noGrp="1"/>
          </p:cNvSpPr>
          <p:nvPr>
            <p:ph type="title"/>
          </p:nvPr>
        </p:nvSpPr>
        <p:spPr/>
        <p:txBody>
          <a:bodyPr/>
          <a:lstStyle/>
          <a:p>
            <a:r>
              <a:rPr lang="en-US" dirty="0">
                <a:ea typeface="Aleo Regular" charset="0"/>
                <a:cs typeface="Aleo Regular" charset="0"/>
                <a:sym typeface="Aleo Regular" charset="0"/>
              </a:rPr>
              <a:t>Our advantages</a:t>
            </a:r>
            <a:endParaRPr lang="en-US" dirty="0"/>
          </a:p>
        </p:txBody>
      </p:sp>
      <p:grpSp>
        <p:nvGrpSpPr>
          <p:cNvPr id="10" name="Group 9"/>
          <p:cNvGrpSpPr/>
          <p:nvPr/>
        </p:nvGrpSpPr>
        <p:grpSpPr>
          <a:xfrm>
            <a:off x="10247268" y="3505200"/>
            <a:ext cx="3925932" cy="4533952"/>
            <a:chOff x="10247268" y="3505200"/>
            <a:chExt cx="3925932" cy="4533952"/>
          </a:xfrm>
        </p:grpSpPr>
        <p:grpSp>
          <p:nvGrpSpPr>
            <p:cNvPr id="22" name="Group 21"/>
            <p:cNvGrpSpPr>
              <a:grpSpLocks noChangeAspect="1"/>
            </p:cNvGrpSpPr>
            <p:nvPr/>
          </p:nvGrpSpPr>
          <p:grpSpPr>
            <a:xfrm>
              <a:off x="10247268" y="3505200"/>
              <a:ext cx="3925932" cy="4533952"/>
              <a:chOff x="17503358" y="3594538"/>
              <a:chExt cx="3000754" cy="3465489"/>
            </a:xfrm>
          </p:grpSpPr>
          <p:sp>
            <p:nvSpPr>
              <p:cNvPr id="23" name="AutoShape 1"/>
              <p:cNvSpPr>
                <a:spLocks/>
              </p:cNvSpPr>
              <p:nvPr/>
            </p:nvSpPr>
            <p:spPr bwMode="auto">
              <a:xfrm>
                <a:off x="17503358" y="3594538"/>
                <a:ext cx="3000754" cy="346548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599"/>
                    </a:lnTo>
                    <a:lnTo>
                      <a:pt x="0" y="16199"/>
                    </a:lnTo>
                    <a:lnTo>
                      <a:pt x="0" y="5400"/>
                    </a:lnTo>
                    <a:close/>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24" name="Freeform 23"/>
              <p:cNvSpPr>
                <a:spLocks/>
              </p:cNvSpPr>
              <p:nvPr/>
            </p:nvSpPr>
            <p:spPr bwMode="auto">
              <a:xfrm>
                <a:off x="18043507" y="4951127"/>
                <a:ext cx="2460533" cy="1993575"/>
              </a:xfrm>
              <a:custGeom>
                <a:avLst/>
                <a:gdLst>
                  <a:gd name="connsiteX0" fmla="*/ 3473094 w 4275688"/>
                  <a:gd name="connsiteY0" fmla="*/ 0 h 3464251"/>
                  <a:gd name="connsiteX1" fmla="*/ 4275688 w 4275688"/>
                  <a:gd name="connsiteY1" fmla="*/ 698308 h 3464251"/>
                  <a:gd name="connsiteX2" fmla="*/ 4275572 w 4275688"/>
                  <a:gd name="connsiteY2" fmla="*/ 2159151 h 3464251"/>
                  <a:gd name="connsiteX3" fmla="*/ 2014990 w 4275688"/>
                  <a:gd name="connsiteY3" fmla="*/ 3464251 h 3464251"/>
                  <a:gd name="connsiteX4" fmla="*/ 0 w 4275688"/>
                  <a:gd name="connsiteY4" fmla="*/ 1702349 h 346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5688" h="3464251">
                    <a:moveTo>
                      <a:pt x="3473094" y="0"/>
                    </a:moveTo>
                    <a:lnTo>
                      <a:pt x="4275688" y="698308"/>
                    </a:lnTo>
                    <a:lnTo>
                      <a:pt x="4275572" y="2159151"/>
                    </a:lnTo>
                    <a:lnTo>
                      <a:pt x="2014990" y="3464251"/>
                    </a:lnTo>
                    <a:lnTo>
                      <a:pt x="0" y="1702349"/>
                    </a:lnTo>
                    <a:close/>
                  </a:path>
                </a:pathLst>
              </a:custGeom>
              <a:solidFill>
                <a:schemeClr val="accent3">
                  <a:lumMod val="75000"/>
                  <a:alpha val="75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25" name="AutoShape 3"/>
              <p:cNvSpPr>
                <a:spLocks/>
              </p:cNvSpPr>
              <p:nvPr/>
            </p:nvSpPr>
            <p:spPr bwMode="auto">
              <a:xfrm>
                <a:off x="17970476" y="4134211"/>
                <a:ext cx="2066519" cy="238614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600"/>
                    </a:lnTo>
                    <a:lnTo>
                      <a:pt x="0" y="16199"/>
                    </a:lnTo>
                    <a:lnTo>
                      <a:pt x="0" y="5400"/>
                    </a:lnTo>
                    <a:close/>
                  </a:path>
                </a:pathLst>
              </a:custGeom>
              <a:solidFill>
                <a:schemeClr val="accent4"/>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pic>
          <p:nvPicPr>
            <p:cNvPr id="3" name="Picture 2"/>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1429184" y="4857775"/>
              <a:ext cx="1828800" cy="1828800"/>
            </a:xfrm>
            <a:prstGeom prst="rect">
              <a:avLst/>
            </a:prstGeom>
          </p:spPr>
        </p:pic>
      </p:grpSp>
      <p:grpSp>
        <p:nvGrpSpPr>
          <p:cNvPr id="9" name="Group 8"/>
          <p:cNvGrpSpPr/>
          <p:nvPr/>
        </p:nvGrpSpPr>
        <p:grpSpPr>
          <a:xfrm>
            <a:off x="8079689" y="7359623"/>
            <a:ext cx="3925932" cy="4533952"/>
            <a:chOff x="8079689" y="7359623"/>
            <a:chExt cx="3925932" cy="4533952"/>
          </a:xfrm>
        </p:grpSpPr>
        <p:grpSp>
          <p:nvGrpSpPr>
            <p:cNvPr id="18" name="Group 17"/>
            <p:cNvGrpSpPr>
              <a:grpSpLocks noChangeAspect="1"/>
            </p:cNvGrpSpPr>
            <p:nvPr/>
          </p:nvGrpSpPr>
          <p:grpSpPr>
            <a:xfrm>
              <a:off x="8079689" y="7359623"/>
              <a:ext cx="3925932" cy="4533952"/>
              <a:chOff x="13441865" y="7632738"/>
              <a:chExt cx="3000754" cy="3465489"/>
            </a:xfrm>
          </p:grpSpPr>
          <p:sp>
            <p:nvSpPr>
              <p:cNvPr id="19" name="AutoShape 1"/>
              <p:cNvSpPr>
                <a:spLocks/>
              </p:cNvSpPr>
              <p:nvPr/>
            </p:nvSpPr>
            <p:spPr bwMode="auto">
              <a:xfrm>
                <a:off x="13441865" y="7632738"/>
                <a:ext cx="3000754" cy="346548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599"/>
                    </a:lnTo>
                    <a:lnTo>
                      <a:pt x="0" y="16199"/>
                    </a:lnTo>
                    <a:lnTo>
                      <a:pt x="0" y="5400"/>
                    </a:lnTo>
                    <a:close/>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20" name="Freeform 19"/>
              <p:cNvSpPr>
                <a:spLocks/>
              </p:cNvSpPr>
              <p:nvPr/>
            </p:nvSpPr>
            <p:spPr bwMode="auto">
              <a:xfrm>
                <a:off x="13982014" y="8989327"/>
                <a:ext cx="2460533" cy="1993575"/>
              </a:xfrm>
              <a:custGeom>
                <a:avLst/>
                <a:gdLst>
                  <a:gd name="connsiteX0" fmla="*/ 3473094 w 4275688"/>
                  <a:gd name="connsiteY0" fmla="*/ 0 h 3464251"/>
                  <a:gd name="connsiteX1" fmla="*/ 4275688 w 4275688"/>
                  <a:gd name="connsiteY1" fmla="*/ 698308 h 3464251"/>
                  <a:gd name="connsiteX2" fmla="*/ 4275572 w 4275688"/>
                  <a:gd name="connsiteY2" fmla="*/ 2159151 h 3464251"/>
                  <a:gd name="connsiteX3" fmla="*/ 2014990 w 4275688"/>
                  <a:gd name="connsiteY3" fmla="*/ 3464251 h 3464251"/>
                  <a:gd name="connsiteX4" fmla="*/ 0 w 4275688"/>
                  <a:gd name="connsiteY4" fmla="*/ 1702349 h 346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5688" h="3464251">
                    <a:moveTo>
                      <a:pt x="3473094" y="0"/>
                    </a:moveTo>
                    <a:lnTo>
                      <a:pt x="4275688" y="698308"/>
                    </a:lnTo>
                    <a:lnTo>
                      <a:pt x="4275572" y="2159151"/>
                    </a:lnTo>
                    <a:lnTo>
                      <a:pt x="2014990" y="3464251"/>
                    </a:lnTo>
                    <a:lnTo>
                      <a:pt x="0" y="1702349"/>
                    </a:lnTo>
                    <a:close/>
                  </a:path>
                </a:pathLst>
              </a:custGeom>
              <a:solidFill>
                <a:schemeClr val="accent6">
                  <a:lumMod val="75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21" name="AutoShape 3"/>
              <p:cNvSpPr>
                <a:spLocks/>
              </p:cNvSpPr>
              <p:nvPr/>
            </p:nvSpPr>
            <p:spPr bwMode="auto">
              <a:xfrm>
                <a:off x="13908983" y="8172411"/>
                <a:ext cx="2066519" cy="238614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600"/>
                    </a:lnTo>
                    <a:lnTo>
                      <a:pt x="0" y="16199"/>
                    </a:lnTo>
                    <a:lnTo>
                      <a:pt x="0" y="5400"/>
                    </a:lnTo>
                    <a:close/>
                  </a:path>
                </a:pathLst>
              </a:custGeom>
              <a:solidFill>
                <a:schemeClr val="accent6"/>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pic>
          <p:nvPicPr>
            <p:cNvPr id="4" name="Picture 3"/>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9082535" y="8652162"/>
              <a:ext cx="1920240" cy="1920240"/>
            </a:xfrm>
            <a:prstGeom prst="rect">
              <a:avLst/>
            </a:prstGeom>
          </p:spPr>
        </p:pic>
      </p:grpSp>
      <p:grpSp>
        <p:nvGrpSpPr>
          <p:cNvPr id="11" name="Group 10"/>
          <p:cNvGrpSpPr/>
          <p:nvPr/>
        </p:nvGrpSpPr>
        <p:grpSpPr>
          <a:xfrm>
            <a:off x="12438834" y="7359624"/>
            <a:ext cx="3925932" cy="4533952"/>
            <a:chOff x="12438834" y="7359624"/>
            <a:chExt cx="3925932" cy="4533952"/>
          </a:xfrm>
        </p:grpSpPr>
        <p:grpSp>
          <p:nvGrpSpPr>
            <p:cNvPr id="26" name="Group 25"/>
            <p:cNvGrpSpPr>
              <a:grpSpLocks noChangeAspect="1"/>
            </p:cNvGrpSpPr>
            <p:nvPr/>
          </p:nvGrpSpPr>
          <p:grpSpPr>
            <a:xfrm>
              <a:off x="12438834" y="7359624"/>
              <a:ext cx="3925932" cy="4533952"/>
              <a:chOff x="17459244" y="7562551"/>
              <a:chExt cx="3000754" cy="3465489"/>
            </a:xfrm>
          </p:grpSpPr>
          <p:sp>
            <p:nvSpPr>
              <p:cNvPr id="27" name="AutoShape 1"/>
              <p:cNvSpPr>
                <a:spLocks/>
              </p:cNvSpPr>
              <p:nvPr/>
            </p:nvSpPr>
            <p:spPr bwMode="auto">
              <a:xfrm>
                <a:off x="17459244" y="7562551"/>
                <a:ext cx="3000754" cy="346548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599"/>
                    </a:lnTo>
                    <a:lnTo>
                      <a:pt x="0" y="16199"/>
                    </a:lnTo>
                    <a:lnTo>
                      <a:pt x="0" y="5400"/>
                    </a:lnTo>
                    <a:close/>
                  </a:path>
                </a:pathLst>
              </a:custGeom>
              <a:solidFill>
                <a:schemeClr val="tx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28" name="Freeform 27"/>
              <p:cNvSpPr>
                <a:spLocks/>
              </p:cNvSpPr>
              <p:nvPr/>
            </p:nvSpPr>
            <p:spPr bwMode="auto">
              <a:xfrm>
                <a:off x="17999393" y="8919140"/>
                <a:ext cx="2460533" cy="1993575"/>
              </a:xfrm>
              <a:custGeom>
                <a:avLst/>
                <a:gdLst>
                  <a:gd name="connsiteX0" fmla="*/ 3473094 w 4275688"/>
                  <a:gd name="connsiteY0" fmla="*/ 0 h 3464251"/>
                  <a:gd name="connsiteX1" fmla="*/ 4275688 w 4275688"/>
                  <a:gd name="connsiteY1" fmla="*/ 698308 h 3464251"/>
                  <a:gd name="connsiteX2" fmla="*/ 4275572 w 4275688"/>
                  <a:gd name="connsiteY2" fmla="*/ 2159151 h 3464251"/>
                  <a:gd name="connsiteX3" fmla="*/ 2014990 w 4275688"/>
                  <a:gd name="connsiteY3" fmla="*/ 3464251 h 3464251"/>
                  <a:gd name="connsiteX4" fmla="*/ 0 w 4275688"/>
                  <a:gd name="connsiteY4" fmla="*/ 1702349 h 346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5688" h="3464251">
                    <a:moveTo>
                      <a:pt x="3473094" y="0"/>
                    </a:moveTo>
                    <a:lnTo>
                      <a:pt x="4275688" y="698308"/>
                    </a:lnTo>
                    <a:lnTo>
                      <a:pt x="4275572" y="2159151"/>
                    </a:lnTo>
                    <a:lnTo>
                      <a:pt x="2014990" y="3464251"/>
                    </a:lnTo>
                    <a:lnTo>
                      <a:pt x="0" y="1702349"/>
                    </a:lnTo>
                    <a:close/>
                  </a:path>
                </a:pathLst>
              </a:custGeom>
              <a:solidFill>
                <a:schemeClr val="tx2">
                  <a:lumMod val="75000"/>
                  <a:alpha val="75000"/>
                </a:schemeClr>
              </a:solidFill>
              <a:ln>
                <a:noFill/>
              </a:ln>
              <a:effectLst/>
              <a:extLst/>
            </p:spPr>
            <p:txBody>
              <a:bodyPr wrap="square" lIns="0" tIns="0" rIns="0" bIns="0" anchor="ctr">
                <a:noAutofit/>
              </a:bodyPr>
              <a:lstStyle/>
              <a:p>
                <a:endParaRPr lang="en-US" dirty="0">
                  <a:latin typeface="Lato" panose="020F0502020204030203" pitchFamily="34" charset="0"/>
                </a:endParaRPr>
              </a:p>
            </p:txBody>
          </p:sp>
          <p:sp>
            <p:nvSpPr>
              <p:cNvPr id="29" name="AutoShape 3"/>
              <p:cNvSpPr>
                <a:spLocks/>
              </p:cNvSpPr>
              <p:nvPr/>
            </p:nvSpPr>
            <p:spPr bwMode="auto">
              <a:xfrm>
                <a:off x="17926362" y="8102224"/>
                <a:ext cx="2066519" cy="238614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5400"/>
                    </a:lnTo>
                    <a:lnTo>
                      <a:pt x="21599" y="16200"/>
                    </a:lnTo>
                    <a:lnTo>
                      <a:pt x="10799" y="21600"/>
                    </a:lnTo>
                    <a:lnTo>
                      <a:pt x="0" y="16199"/>
                    </a:lnTo>
                    <a:lnTo>
                      <a:pt x="0" y="5400"/>
                    </a:lnTo>
                    <a:close/>
                  </a:path>
                </a:pathLst>
              </a:custGeom>
              <a:solidFill>
                <a:schemeClr val="bg2"/>
              </a:solidFill>
              <a:ln w="25400" cap="flat" cmpd="sng">
                <a:solidFill>
                  <a:srgbClr val="000000">
                    <a:alpha val="0"/>
                  </a:srgbClr>
                </a:solidFill>
                <a:prstDash val="solid"/>
                <a:miter lim="0"/>
                <a:headEnd/>
                <a:tailEnd/>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pic>
          <p:nvPicPr>
            <p:cNvPr id="5" name="Picture 4"/>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13487400" y="8697882"/>
              <a:ext cx="1828800" cy="1828800"/>
            </a:xfrm>
            <a:prstGeom prst="rect">
              <a:avLst/>
            </a:prstGeom>
          </p:spPr>
        </p:pic>
      </p:grpSp>
    </p:spTree>
    <p:extLst>
      <p:ext uri="{BB962C8B-B14F-4D97-AF65-F5344CB8AC3E}">
        <p14:creationId xmlns:p14="http://schemas.microsoft.com/office/powerpoint/2010/main" xmlns="" val="51149336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787"/>
                                        </p:tgtEl>
                                        <p:attrNameLst>
                                          <p:attrName>style.visibility</p:attrName>
                                        </p:attrNameLst>
                                      </p:cBhvr>
                                      <p:to>
                                        <p:strVal val="visible"/>
                                      </p:to>
                                    </p:set>
                                    <p:animEffect transition="in" filter="fade">
                                      <p:cBhvr>
                                        <p:cTn id="7" dur="500"/>
                                        <p:tgtEl>
                                          <p:spTgt spid="75787"/>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5788"/>
                                        </p:tgtEl>
                                        <p:attrNameLst>
                                          <p:attrName>style.visibility</p:attrName>
                                        </p:attrNameLst>
                                      </p:cBhvr>
                                      <p:to>
                                        <p:strVal val="visible"/>
                                      </p:to>
                                    </p:set>
                                    <p:animEffect transition="in" filter="fade">
                                      <p:cBhvr>
                                        <p:cTn id="15" dur="500"/>
                                        <p:tgtEl>
                                          <p:spTgt spid="75788"/>
                                        </p:tgtEl>
                                      </p:cBhvr>
                                    </p:animEffect>
                                  </p:childTnLst>
                                </p:cTn>
                              </p:par>
                              <p:par>
                                <p:cTn id="16" presetID="10" presetClass="entr" presetSubtype="0" fill="hold"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5786"/>
                                        </p:tgtEl>
                                        <p:attrNameLst>
                                          <p:attrName>style.visibility</p:attrName>
                                        </p:attrNameLst>
                                      </p:cBhvr>
                                      <p:to>
                                        <p:strVal val="visible"/>
                                      </p:to>
                                    </p:set>
                                    <p:animEffect transition="in" filter="fade">
                                      <p:cBhvr>
                                        <p:cTn id="26" dur="500"/>
                                        <p:tgtEl>
                                          <p:spTgt spid="757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786" grpId="0"/>
      <p:bldP spid="75787" grpId="0"/>
      <p:bldP spid="7578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484313" y="8650091"/>
            <a:ext cx="10246133" cy="4559300"/>
            <a:chOff x="1484313" y="8650091"/>
            <a:chExt cx="10246133" cy="4559300"/>
          </a:xfrm>
        </p:grpSpPr>
        <p:sp>
          <p:nvSpPr>
            <p:cNvPr id="76802" name="AutoShape 2"/>
            <p:cNvSpPr>
              <a:spLocks/>
            </p:cNvSpPr>
            <p:nvPr/>
          </p:nvSpPr>
          <p:spPr bwMode="auto">
            <a:xfrm>
              <a:off x="1484313" y="8650091"/>
              <a:ext cx="7569200" cy="762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pPr algn="l"/>
              <a:r>
                <a:rPr lang="en-US" sz="4400" b="1" dirty="0">
                  <a:solidFill>
                    <a:schemeClr val="tx1"/>
                  </a:solidFill>
                  <a:latin typeface="Aleo" panose="020F0502020204030203" pitchFamily="34" charset="0"/>
                  <a:ea typeface="Aleo Regular" charset="0"/>
                  <a:cs typeface="Aleo Regular" charset="0"/>
                  <a:sym typeface="Aleo Regular" charset="0"/>
                </a:rPr>
                <a:t>Mid-Market Opportunities</a:t>
              </a:r>
              <a:endParaRPr lang="en-US" dirty="0">
                <a:solidFill>
                  <a:schemeClr val="tx1"/>
                </a:solidFill>
                <a:latin typeface="Lato" panose="020F0502020204030203" pitchFamily="34" charset="0"/>
              </a:endParaRPr>
            </a:p>
          </p:txBody>
        </p:sp>
        <p:sp>
          <p:nvSpPr>
            <p:cNvPr id="76812" name="AutoShape 12"/>
            <p:cNvSpPr>
              <a:spLocks/>
            </p:cNvSpPr>
            <p:nvPr/>
          </p:nvSpPr>
          <p:spPr bwMode="auto">
            <a:xfrm>
              <a:off x="1485899" y="9754991"/>
              <a:ext cx="10244547" cy="3454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lstStyle/>
            <a:p>
              <a:pPr algn="l">
                <a:buFont typeface="Arial" pitchFamily="34" charset="0"/>
                <a:buChar char="•"/>
              </a:pPr>
              <a:r>
                <a:rPr lang="en-US" sz="4000" dirty="0">
                  <a:solidFill>
                    <a:schemeClr val="tx1"/>
                  </a:solidFill>
                  <a:latin typeface="Lato Light" panose="020F0302020204030203" pitchFamily="34" charset="0"/>
                  <a:sym typeface="Lato Light" panose="020F0302020204030203" pitchFamily="34" charset="0"/>
                </a:rPr>
                <a:t> 180,000 companies in Europe top 13 countries</a:t>
              </a:r>
            </a:p>
            <a:p>
              <a:pPr algn="l">
                <a:lnSpc>
                  <a:spcPct val="150000"/>
                </a:lnSpc>
                <a:buFont typeface="Arial" pitchFamily="34" charset="0"/>
                <a:buChar char="•"/>
              </a:pPr>
              <a:r>
                <a:rPr lang="en-US" sz="4000" dirty="0">
                  <a:solidFill>
                    <a:schemeClr val="tx1"/>
                  </a:solidFill>
                  <a:latin typeface="Lato Light" panose="020F0302020204030203" pitchFamily="34" charset="0"/>
                  <a:sym typeface="Lato Light" panose="020F0302020204030203" pitchFamily="34" charset="0"/>
                </a:rPr>
                <a:t> 33% investing in process innovation</a:t>
              </a:r>
            </a:p>
            <a:p>
              <a:pPr algn="l">
                <a:lnSpc>
                  <a:spcPct val="150000"/>
                </a:lnSpc>
                <a:buFont typeface="Arial" pitchFamily="34" charset="0"/>
                <a:buChar char="•"/>
              </a:pPr>
              <a:r>
                <a:rPr lang="en-US" sz="4000" dirty="0">
                  <a:solidFill>
                    <a:schemeClr val="tx1"/>
                  </a:solidFill>
                  <a:latin typeface="Lato Light" panose="020F0302020204030203" pitchFamily="34" charset="0"/>
                  <a:sym typeface="Lato Light" panose="020F0302020204030203" pitchFamily="34" charset="0"/>
                </a:rPr>
                <a:t> 44% investing in organizational innovation</a:t>
              </a:r>
              <a:endParaRPr lang="en-US" sz="6000" dirty="0">
                <a:solidFill>
                  <a:schemeClr val="tx1"/>
                </a:solidFill>
                <a:latin typeface="Lato" panose="020F0502020204030203" pitchFamily="34" charset="0"/>
              </a:endParaRPr>
            </a:p>
          </p:txBody>
        </p:sp>
      </p:grpSp>
      <p:grpSp>
        <p:nvGrpSpPr>
          <p:cNvPr id="4" name="Group 3"/>
          <p:cNvGrpSpPr/>
          <p:nvPr/>
        </p:nvGrpSpPr>
        <p:grpSpPr>
          <a:xfrm>
            <a:off x="17272000" y="1039813"/>
            <a:ext cx="6043613" cy="6045200"/>
            <a:chOff x="17272000" y="1039813"/>
            <a:chExt cx="6043613" cy="6045200"/>
          </a:xfrm>
        </p:grpSpPr>
        <p:sp>
          <p:nvSpPr>
            <p:cNvPr id="76803" name="AutoShape 3"/>
            <p:cNvSpPr>
              <a:spLocks/>
            </p:cNvSpPr>
            <p:nvPr/>
          </p:nvSpPr>
          <p:spPr bwMode="auto">
            <a:xfrm>
              <a:off x="17272000" y="1039813"/>
              <a:ext cx="6043613" cy="60452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6804" name="AutoShape 4"/>
            <p:cNvSpPr>
              <a:spLocks/>
            </p:cNvSpPr>
            <p:nvPr/>
          </p:nvSpPr>
          <p:spPr bwMode="auto">
            <a:xfrm>
              <a:off x="19653250" y="2659063"/>
              <a:ext cx="3641725" cy="4300537"/>
            </a:xfrm>
            <a:custGeom>
              <a:avLst/>
              <a:gdLst>
                <a:gd name="T0" fmla="*/ 10255 w 20511"/>
                <a:gd name="T1" fmla="*/ 10800 h 21600"/>
                <a:gd name="T2" fmla="*/ 10255 w 20511"/>
                <a:gd name="T3" fmla="*/ 10800 h 21600"/>
                <a:gd name="T4" fmla="*/ 10255 w 20511"/>
                <a:gd name="T5" fmla="*/ 10800 h 21600"/>
                <a:gd name="T6" fmla="*/ 10255 w 20511"/>
                <a:gd name="T7" fmla="*/ 10800 h 21600"/>
              </a:gdLst>
              <a:ahLst/>
              <a:cxnLst>
                <a:cxn ang="0">
                  <a:pos x="T0" y="T1"/>
                </a:cxn>
                <a:cxn ang="0">
                  <a:pos x="T2" y="T3"/>
                </a:cxn>
                <a:cxn ang="0">
                  <a:pos x="T4" y="T5"/>
                </a:cxn>
                <a:cxn ang="0">
                  <a:pos x="T6" y="T7"/>
                </a:cxn>
              </a:cxnLst>
              <a:rect l="0" t="0" r="r" b="b"/>
              <a:pathLst>
                <a:path w="20511" h="21600">
                  <a:moveTo>
                    <a:pt x="0" y="17019"/>
                  </a:moveTo>
                  <a:lnTo>
                    <a:pt x="8317" y="21600"/>
                  </a:lnTo>
                  <a:cubicBezTo>
                    <a:pt x="8317" y="21600"/>
                    <a:pt x="21599" y="18552"/>
                    <a:pt x="20439" y="5212"/>
                  </a:cubicBezTo>
                  <a:lnTo>
                    <a:pt x="12207" y="0"/>
                  </a:lnTo>
                  <a:lnTo>
                    <a:pt x="0" y="17019"/>
                  </a:lnTo>
                  <a:close/>
                </a:path>
              </a:pathLst>
            </a:custGeom>
            <a:solidFill>
              <a:schemeClr val="accent1">
                <a:lumMod val="75000"/>
                <a:alpha val="50000"/>
              </a:schemeClr>
            </a:solidFill>
            <a:ln>
              <a:noFill/>
            </a:ln>
            <a:effectLst/>
            <a:extLst/>
          </p:spPr>
          <p:txBody>
            <a:bodyPr lIns="0" tIns="0" rIns="0" bIns="0" anchor="ctr"/>
            <a:lstStyle/>
            <a:p>
              <a:endParaRPr lang="en-US" dirty="0">
                <a:latin typeface="Lato" panose="020F0502020204030203" pitchFamily="34" charset="0"/>
              </a:endParaRPr>
            </a:p>
          </p:txBody>
        </p:sp>
        <p:sp>
          <p:nvSpPr>
            <p:cNvPr id="76805" name="AutoShape 5"/>
            <p:cNvSpPr>
              <a:spLocks/>
            </p:cNvSpPr>
            <p:nvPr/>
          </p:nvSpPr>
          <p:spPr bwMode="auto">
            <a:xfrm>
              <a:off x="18186400" y="1955800"/>
              <a:ext cx="4168775" cy="416877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2"/>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6813" name="AutoShape 13"/>
            <p:cNvSpPr>
              <a:spLocks/>
            </p:cNvSpPr>
            <p:nvPr/>
          </p:nvSpPr>
          <p:spPr bwMode="auto">
            <a:xfrm>
              <a:off x="18742025" y="2914650"/>
              <a:ext cx="3108325" cy="22733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4800" b="1" dirty="0">
                  <a:solidFill>
                    <a:srgbClr val="FFFFFF"/>
                  </a:solidFill>
                  <a:latin typeface="Aleo" panose="020F0502020204030203" pitchFamily="34" charset="0"/>
                  <a:ea typeface="Aleo Regular" charset="0"/>
                  <a:cs typeface="Aleo Regular" charset="0"/>
                  <a:sym typeface="Aleo Regular" charset="0"/>
                </a:rPr>
                <a:t>100,000</a:t>
              </a:r>
            </a:p>
            <a:p>
              <a:r>
                <a:rPr lang="en-US" sz="4800" b="1" dirty="0">
                  <a:solidFill>
                    <a:srgbClr val="FFFFFF"/>
                  </a:solidFill>
                  <a:latin typeface="Aleo" panose="020F0502020204030203" pitchFamily="34" charset="0"/>
                  <a:ea typeface="Aleo Regular" charset="0"/>
                  <a:cs typeface="Aleo Regular" charset="0"/>
                  <a:sym typeface="Aleo Regular" charset="0"/>
                </a:rPr>
                <a:t>ERP clients</a:t>
              </a:r>
            </a:p>
            <a:p>
              <a:r>
                <a:rPr lang="en-US" sz="4800" b="1" dirty="0">
                  <a:solidFill>
                    <a:srgbClr val="FFFFFF"/>
                  </a:solidFill>
                  <a:latin typeface="Aleo" panose="020F0502020204030203" pitchFamily="34" charset="0"/>
                  <a:sym typeface="Aleo Regular" charset="0"/>
                </a:rPr>
                <a:t>in Europe</a:t>
              </a:r>
              <a:endParaRPr lang="en-US" dirty="0">
                <a:latin typeface="Lato" panose="020F0502020204030203" pitchFamily="34" charset="0"/>
              </a:endParaRPr>
            </a:p>
          </p:txBody>
        </p:sp>
      </p:grpSp>
      <p:grpSp>
        <p:nvGrpSpPr>
          <p:cNvPr id="3" name="Group 2"/>
          <p:cNvGrpSpPr/>
          <p:nvPr/>
        </p:nvGrpSpPr>
        <p:grpSpPr>
          <a:xfrm>
            <a:off x="16141700" y="8039100"/>
            <a:ext cx="4762500" cy="4762500"/>
            <a:chOff x="16141700" y="8039100"/>
            <a:chExt cx="4762500" cy="4762500"/>
          </a:xfrm>
        </p:grpSpPr>
        <p:sp>
          <p:nvSpPr>
            <p:cNvPr id="76806" name="AutoShape 6"/>
            <p:cNvSpPr>
              <a:spLocks/>
            </p:cNvSpPr>
            <p:nvPr/>
          </p:nvSpPr>
          <p:spPr bwMode="auto">
            <a:xfrm>
              <a:off x="16141700" y="8039100"/>
              <a:ext cx="4762500" cy="47625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5"/>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6810" name="AutoShape 10"/>
            <p:cNvSpPr>
              <a:spLocks/>
            </p:cNvSpPr>
            <p:nvPr/>
          </p:nvSpPr>
          <p:spPr bwMode="auto">
            <a:xfrm>
              <a:off x="18016538" y="9313863"/>
              <a:ext cx="2870200" cy="3387725"/>
            </a:xfrm>
            <a:custGeom>
              <a:avLst/>
              <a:gdLst>
                <a:gd name="T0" fmla="*/ 10255 w 20511"/>
                <a:gd name="T1" fmla="*/ 10800 h 21600"/>
                <a:gd name="T2" fmla="*/ 10255 w 20511"/>
                <a:gd name="T3" fmla="*/ 10800 h 21600"/>
                <a:gd name="T4" fmla="*/ 10255 w 20511"/>
                <a:gd name="T5" fmla="*/ 10800 h 21600"/>
                <a:gd name="T6" fmla="*/ 10255 w 20511"/>
                <a:gd name="T7" fmla="*/ 10800 h 21600"/>
              </a:gdLst>
              <a:ahLst/>
              <a:cxnLst>
                <a:cxn ang="0">
                  <a:pos x="T0" y="T1"/>
                </a:cxn>
                <a:cxn ang="0">
                  <a:pos x="T2" y="T3"/>
                </a:cxn>
                <a:cxn ang="0">
                  <a:pos x="T4" y="T5"/>
                </a:cxn>
                <a:cxn ang="0">
                  <a:pos x="T6" y="T7"/>
                </a:cxn>
              </a:cxnLst>
              <a:rect l="0" t="0" r="r" b="b"/>
              <a:pathLst>
                <a:path w="20511" h="21600">
                  <a:moveTo>
                    <a:pt x="0" y="17019"/>
                  </a:moveTo>
                  <a:lnTo>
                    <a:pt x="8317" y="21599"/>
                  </a:lnTo>
                  <a:cubicBezTo>
                    <a:pt x="8317" y="21599"/>
                    <a:pt x="21599" y="18552"/>
                    <a:pt x="20439" y="5212"/>
                  </a:cubicBezTo>
                  <a:lnTo>
                    <a:pt x="12207" y="0"/>
                  </a:lnTo>
                  <a:lnTo>
                    <a:pt x="0" y="17019"/>
                  </a:lnTo>
                  <a:close/>
                </a:path>
              </a:pathLst>
            </a:custGeom>
            <a:solidFill>
              <a:schemeClr val="accent6">
                <a:lumMod val="75000"/>
              </a:schemeClr>
            </a:solidFill>
            <a:ln>
              <a:noFill/>
            </a:ln>
            <a:effectLst/>
            <a:extLst/>
          </p:spPr>
          <p:txBody>
            <a:bodyPr lIns="0" tIns="0" rIns="0" bIns="0" anchor="ctr"/>
            <a:lstStyle/>
            <a:p>
              <a:endParaRPr lang="en-US" dirty="0">
                <a:latin typeface="Lato" panose="020F0502020204030203" pitchFamily="34" charset="0"/>
              </a:endParaRPr>
            </a:p>
          </p:txBody>
        </p:sp>
        <p:sp>
          <p:nvSpPr>
            <p:cNvPr id="76811" name="AutoShape 11"/>
            <p:cNvSpPr>
              <a:spLocks/>
            </p:cNvSpPr>
            <p:nvPr/>
          </p:nvSpPr>
          <p:spPr bwMode="auto">
            <a:xfrm>
              <a:off x="16862425" y="8759825"/>
              <a:ext cx="3282950" cy="328295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6"/>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76815" name="AutoShape 15"/>
            <p:cNvSpPr>
              <a:spLocks/>
            </p:cNvSpPr>
            <p:nvPr/>
          </p:nvSpPr>
          <p:spPr bwMode="auto">
            <a:xfrm>
              <a:off x="17206913" y="9531350"/>
              <a:ext cx="2636837" cy="1778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3600" b="1" dirty="0">
                  <a:solidFill>
                    <a:srgbClr val="FFFFFF"/>
                  </a:solidFill>
                  <a:latin typeface="Aleo" panose="020F0502020204030203" pitchFamily="34" charset="0"/>
                  <a:ea typeface="Aleo Regular" charset="0"/>
                  <a:cs typeface="Aleo Regular" charset="0"/>
                  <a:sym typeface="Aleo Regular" charset="0"/>
                </a:rPr>
                <a:t>35,000</a:t>
              </a:r>
            </a:p>
            <a:p>
              <a:r>
                <a:rPr lang="en-US" sz="3600" b="1" dirty="0">
                  <a:solidFill>
                    <a:srgbClr val="FFFFFF"/>
                  </a:solidFill>
                  <a:latin typeface="Aleo" panose="020F0502020204030203" pitchFamily="34" charset="0"/>
                  <a:ea typeface="Aleo Regular" charset="0"/>
                  <a:cs typeface="Aleo Regular" charset="0"/>
                  <a:sym typeface="Aleo Regular" charset="0"/>
                </a:rPr>
                <a:t>SAP R3</a:t>
              </a:r>
            </a:p>
            <a:p>
              <a:r>
                <a:rPr lang="en-US" sz="3600" b="1" dirty="0">
                  <a:solidFill>
                    <a:srgbClr val="FFFFFF"/>
                  </a:solidFill>
                  <a:latin typeface="Aleo" panose="020F0502020204030203" pitchFamily="34" charset="0"/>
                  <a:ea typeface="Aleo Regular" charset="0"/>
                  <a:cs typeface="Aleo Regular" charset="0"/>
                  <a:sym typeface="Aleo Regular" charset="0"/>
                </a:rPr>
                <a:t>Customers</a:t>
              </a:r>
              <a:endParaRPr lang="en-US" dirty="0">
                <a:latin typeface="Lato" panose="020F0502020204030203" pitchFamily="34" charset="0"/>
              </a:endParaRPr>
            </a:p>
          </p:txBody>
        </p:sp>
      </p:grpSp>
      <p:sp>
        <p:nvSpPr>
          <p:cNvPr id="2" name="Title 1"/>
          <p:cNvSpPr>
            <a:spLocks noGrp="1"/>
          </p:cNvSpPr>
          <p:nvPr>
            <p:ph type="title"/>
          </p:nvPr>
        </p:nvSpPr>
        <p:spPr>
          <a:xfrm>
            <a:off x="1318792" y="874148"/>
            <a:ext cx="6114174" cy="1508105"/>
          </a:xfrm>
        </p:spPr>
        <p:txBody>
          <a:bodyPr/>
          <a:lstStyle/>
          <a:p>
            <a:r>
              <a:rPr lang="en-US" dirty="0">
                <a:ea typeface="Aleo Regular" charset="0"/>
                <a:cs typeface="Aleo Regular" charset="0"/>
                <a:sym typeface="Aleo Regular" charset="0"/>
              </a:rPr>
              <a:t>Market size</a:t>
            </a:r>
            <a:endParaRPr lang="en-US" dirty="0"/>
          </a:p>
        </p:txBody>
      </p:sp>
      <p:grpSp>
        <p:nvGrpSpPr>
          <p:cNvPr id="5" name="Group 4"/>
          <p:cNvGrpSpPr/>
          <p:nvPr/>
        </p:nvGrpSpPr>
        <p:grpSpPr>
          <a:xfrm>
            <a:off x="9294812" y="1547813"/>
            <a:ext cx="9094787" cy="9097175"/>
            <a:chOff x="9294812" y="1547813"/>
            <a:chExt cx="9094787" cy="9097175"/>
          </a:xfrm>
        </p:grpSpPr>
        <p:grpSp>
          <p:nvGrpSpPr>
            <p:cNvPr id="17" name="Group 16"/>
            <p:cNvGrpSpPr>
              <a:grpSpLocks noChangeAspect="1"/>
            </p:cNvGrpSpPr>
            <p:nvPr/>
          </p:nvGrpSpPr>
          <p:grpSpPr>
            <a:xfrm>
              <a:off x="9294812" y="1547813"/>
              <a:ext cx="9094787" cy="9097175"/>
              <a:chOff x="7287257" y="3571346"/>
              <a:chExt cx="3477922" cy="3478835"/>
            </a:xfrm>
          </p:grpSpPr>
          <p:sp>
            <p:nvSpPr>
              <p:cNvPr id="18" name="AutoShape 3"/>
              <p:cNvSpPr>
                <a:spLocks/>
              </p:cNvSpPr>
              <p:nvPr/>
            </p:nvSpPr>
            <p:spPr bwMode="auto">
              <a:xfrm>
                <a:off x="7287257" y="3571346"/>
                <a:ext cx="3477922" cy="347883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3"/>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sp>
            <p:nvSpPr>
              <p:cNvPr id="19" name="Freeform 18"/>
              <p:cNvSpPr>
                <a:spLocks/>
              </p:cNvSpPr>
              <p:nvPr/>
            </p:nvSpPr>
            <p:spPr bwMode="auto">
              <a:xfrm>
                <a:off x="7870961" y="4145915"/>
                <a:ext cx="2894085" cy="2834079"/>
              </a:xfrm>
              <a:custGeom>
                <a:avLst/>
                <a:gdLst>
                  <a:gd name="connsiteX0" fmla="*/ 2061265 w 5029075"/>
                  <a:gd name="connsiteY0" fmla="*/ 0 h 4924802"/>
                  <a:gd name="connsiteX1" fmla="*/ 3362285 w 5029075"/>
                  <a:gd name="connsiteY1" fmla="*/ 462187 h 4924802"/>
                  <a:gd name="connsiteX2" fmla="*/ 3475453 w 5029075"/>
                  <a:gd name="connsiteY2" fmla="*/ 564451 h 4924802"/>
                  <a:gd name="connsiteX3" fmla="*/ 5000990 w 5029075"/>
                  <a:gd name="connsiteY3" fmla="*/ 1635358 h 4924802"/>
                  <a:gd name="connsiteX4" fmla="*/ 5015245 w 5029075"/>
                  <a:gd name="connsiteY4" fmla="*/ 1734152 h 4924802"/>
                  <a:gd name="connsiteX5" fmla="*/ 4143909 w 5029075"/>
                  <a:gd name="connsiteY5" fmla="*/ 4161136 h 4924802"/>
                  <a:gd name="connsiteX6" fmla="*/ 2867497 w 5029075"/>
                  <a:gd name="connsiteY6" fmla="*/ 4922026 h 4924802"/>
                  <a:gd name="connsiteX7" fmla="*/ 2856135 w 5029075"/>
                  <a:gd name="connsiteY7" fmla="*/ 4924802 h 4924802"/>
                  <a:gd name="connsiteX8" fmla="*/ 1363446 w 5029075"/>
                  <a:gd name="connsiteY8" fmla="*/ 3998957 h 4924802"/>
                  <a:gd name="connsiteX9" fmla="*/ 1285607 w 5029075"/>
                  <a:gd name="connsiteY9" fmla="*/ 3971726 h 4924802"/>
                  <a:gd name="connsiteX10" fmla="*/ 603673 w 5029075"/>
                  <a:gd name="connsiteY10" fmla="*/ 3518854 h 4924802"/>
                  <a:gd name="connsiteX11" fmla="*/ 603673 w 5029075"/>
                  <a:gd name="connsiteY11" fmla="*/ 603672 h 4924802"/>
                  <a:gd name="connsiteX12" fmla="*/ 2061265 w 5029075"/>
                  <a:gd name="connsiteY12" fmla="*/ 0 h 49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075" h="4924802">
                    <a:moveTo>
                      <a:pt x="2061265" y="0"/>
                    </a:moveTo>
                    <a:cubicBezTo>
                      <a:pt x="2522844" y="0"/>
                      <a:pt x="2984423" y="154062"/>
                      <a:pt x="3362285" y="462187"/>
                    </a:cubicBezTo>
                    <a:lnTo>
                      <a:pt x="3475453" y="564451"/>
                    </a:lnTo>
                    <a:lnTo>
                      <a:pt x="5000990" y="1635358"/>
                    </a:lnTo>
                    <a:lnTo>
                      <a:pt x="5015245" y="1734152"/>
                    </a:lnTo>
                    <a:cubicBezTo>
                      <a:pt x="5098229" y="2601125"/>
                      <a:pt x="4807784" y="3497086"/>
                      <a:pt x="4143909" y="4161136"/>
                    </a:cubicBezTo>
                    <a:cubicBezTo>
                      <a:pt x="3775089" y="4530053"/>
                      <a:pt x="3334711" y="4783683"/>
                      <a:pt x="2867497" y="4922026"/>
                    </a:cubicBezTo>
                    <a:lnTo>
                      <a:pt x="2856135" y="4924802"/>
                    </a:lnTo>
                    <a:lnTo>
                      <a:pt x="1363446" y="3998957"/>
                    </a:lnTo>
                    <a:lnTo>
                      <a:pt x="1285607" y="3971726"/>
                    </a:lnTo>
                    <a:cubicBezTo>
                      <a:pt x="1037468" y="3871088"/>
                      <a:pt x="804950" y="3720131"/>
                      <a:pt x="603673" y="3518854"/>
                    </a:cubicBezTo>
                    <a:cubicBezTo>
                      <a:pt x="-201224" y="2713749"/>
                      <a:pt x="-201224" y="1408778"/>
                      <a:pt x="603673" y="603672"/>
                    </a:cubicBezTo>
                    <a:cubicBezTo>
                      <a:pt x="1006226" y="201224"/>
                      <a:pt x="1533745" y="0"/>
                      <a:pt x="2061265" y="0"/>
                    </a:cubicBezTo>
                    <a:close/>
                  </a:path>
                </a:pathLst>
              </a:custGeom>
              <a:solidFill>
                <a:schemeClr val="accent3">
                  <a:lumMod val="75000"/>
                  <a:alpha val="75000"/>
                </a:schemeClr>
              </a:solidFill>
              <a:ln>
                <a:noFill/>
              </a:ln>
              <a:effectLst/>
              <a:extLst/>
            </p:spPr>
            <p:txBody>
              <a:bodyPr lIns="0" tIns="0" rIns="0" bIns="0" anchor="ctr"/>
              <a:lstStyle/>
              <a:p>
                <a:endParaRPr lang="en-US" dirty="0">
                  <a:latin typeface="Lato" panose="020F0502020204030203" pitchFamily="34" charset="0"/>
                </a:endParaRPr>
              </a:p>
            </p:txBody>
          </p:sp>
          <p:sp>
            <p:nvSpPr>
              <p:cNvPr id="20" name="AutoShape 5"/>
              <p:cNvSpPr>
                <a:spLocks/>
              </p:cNvSpPr>
              <p:nvPr/>
            </p:nvSpPr>
            <p:spPr bwMode="auto">
              <a:xfrm>
                <a:off x="7826714" y="4111260"/>
                <a:ext cx="2399008" cy="23990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4"/>
              </a:solidFill>
              <a:ln>
                <a:noFill/>
              </a:ln>
              <a:effectLst/>
              <a:extLst/>
            </p:spPr>
            <p:txBody>
              <a:bodyPr lIns="0" tIns="0" rIns="0" bIns="0" anchor="ctr"/>
              <a:lstStyle>
                <a:lvl1pPr defTabSz="584200">
                  <a:defRPr sz="5600">
                    <a:solidFill>
                      <a:srgbClr val="000000"/>
                    </a:solidFill>
                    <a:latin typeface="Gill Sans" charset="0"/>
                    <a:ea typeface="Gill Sans" charset="0"/>
                    <a:cs typeface="Gill Sans" charset="0"/>
                    <a:sym typeface="Gill Sans" charset="0"/>
                  </a:defRPr>
                </a:lvl1pPr>
                <a:lvl2pPr defTabSz="584200">
                  <a:defRPr sz="5600">
                    <a:solidFill>
                      <a:srgbClr val="000000"/>
                    </a:solidFill>
                    <a:latin typeface="Gill Sans" charset="0"/>
                    <a:ea typeface="Gill Sans" charset="0"/>
                    <a:cs typeface="Gill Sans" charset="0"/>
                    <a:sym typeface="Gill Sans" charset="0"/>
                  </a:defRPr>
                </a:lvl2pPr>
                <a:lvl3pPr defTabSz="584200">
                  <a:defRPr sz="5600">
                    <a:solidFill>
                      <a:srgbClr val="000000"/>
                    </a:solidFill>
                    <a:latin typeface="Gill Sans" charset="0"/>
                    <a:ea typeface="Gill Sans" charset="0"/>
                    <a:cs typeface="Gill Sans" charset="0"/>
                    <a:sym typeface="Gill Sans" charset="0"/>
                  </a:defRPr>
                </a:lvl3pPr>
                <a:lvl4pPr defTabSz="584200">
                  <a:defRPr sz="5600">
                    <a:solidFill>
                      <a:srgbClr val="000000"/>
                    </a:solidFill>
                    <a:latin typeface="Gill Sans" charset="0"/>
                    <a:ea typeface="Gill Sans" charset="0"/>
                    <a:cs typeface="Gill Sans" charset="0"/>
                    <a:sym typeface="Gill Sans" charset="0"/>
                  </a:defRPr>
                </a:lvl4pPr>
                <a:lvl5pPr defTabSz="584200">
                  <a:defRPr sz="5600">
                    <a:solidFill>
                      <a:srgbClr val="000000"/>
                    </a:solidFill>
                    <a:latin typeface="Gill Sans" charset="0"/>
                    <a:ea typeface="Gill Sans" charset="0"/>
                    <a:cs typeface="Gill Sans" charset="0"/>
                    <a:sym typeface="Gill Sans" charset="0"/>
                  </a:defRPr>
                </a:lvl5pPr>
                <a:lvl6pPr marL="18288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6pPr>
                <a:lvl7pPr marL="22860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7pPr>
                <a:lvl8pPr marL="27432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8pPr>
                <a:lvl9pPr marL="3200400" algn="ctr" defTabSz="584200" fontAlgn="base" hangingPunct="0">
                  <a:spcBef>
                    <a:spcPct val="0"/>
                  </a:spcBef>
                  <a:spcAft>
                    <a:spcPct val="0"/>
                  </a:spcAft>
                  <a:defRPr sz="5600">
                    <a:solidFill>
                      <a:srgbClr val="000000"/>
                    </a:solidFill>
                    <a:latin typeface="Gill Sans" charset="0"/>
                    <a:ea typeface="Gill Sans" charset="0"/>
                    <a:cs typeface="Gill Sans" charset="0"/>
                    <a:sym typeface="Gill Sans" charset="0"/>
                  </a:defRPr>
                </a:lvl9pPr>
              </a:lstStyle>
              <a:p>
                <a:endParaRPr lang="en-US" sz="4000" dirty="0">
                  <a:solidFill>
                    <a:srgbClr val="FFFFFF"/>
                  </a:solidFill>
                  <a:effectLst>
                    <a:outerShdw blurRad="38100" dist="38100" dir="2700000" algn="tl">
                      <a:srgbClr val="000000"/>
                    </a:outerShdw>
                  </a:effectLst>
                  <a:latin typeface="Lato" panose="020F0502020204030203" pitchFamily="34" charset="0"/>
                </a:endParaRPr>
              </a:p>
            </p:txBody>
          </p:sp>
        </p:grpSp>
        <p:sp>
          <p:nvSpPr>
            <p:cNvPr id="76814" name="AutoShape 14"/>
            <p:cNvSpPr>
              <a:spLocks/>
            </p:cNvSpPr>
            <p:nvPr/>
          </p:nvSpPr>
          <p:spPr bwMode="auto">
            <a:xfrm>
              <a:off x="11928475" y="4432300"/>
              <a:ext cx="4213225" cy="3378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50800" tIns="50800" rIns="50800" bIns="50800" anchor="ctr"/>
            <a:lstStyle/>
            <a:p>
              <a:r>
                <a:rPr lang="en-US" sz="6600" b="1" dirty="0">
                  <a:solidFill>
                    <a:srgbClr val="FFFFFF"/>
                  </a:solidFill>
                  <a:latin typeface="Aleo" panose="020F0502020204030203" pitchFamily="34" charset="0"/>
                  <a:ea typeface="Aleo Regular" charset="0"/>
                  <a:cs typeface="Aleo Regular" charset="0"/>
                  <a:sym typeface="Aleo Regular" charset="0"/>
                </a:rPr>
                <a:t>€ 3.5B</a:t>
              </a:r>
            </a:p>
            <a:p>
              <a:r>
                <a:rPr lang="en-US" sz="6600" b="1" dirty="0">
                  <a:solidFill>
                    <a:srgbClr val="FFFFFF"/>
                  </a:solidFill>
                  <a:latin typeface="Aleo" panose="020F0502020204030203" pitchFamily="34" charset="0"/>
                  <a:sym typeface="Aleo Regular" charset="0"/>
                </a:rPr>
                <a:t>European market</a:t>
              </a:r>
              <a:endParaRPr lang="en-US" sz="6600" dirty="0">
                <a:latin typeface="Lato" panose="020F0502020204030203" pitchFamily="34" charset="0"/>
              </a:endParaRPr>
            </a:p>
          </p:txBody>
        </p:sp>
      </p:grpSp>
    </p:spTree>
    <p:extLst>
      <p:ext uri="{BB962C8B-B14F-4D97-AF65-F5344CB8AC3E}">
        <p14:creationId xmlns:p14="http://schemas.microsoft.com/office/powerpoint/2010/main" xmlns="" val="33242259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2.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Regular Theme">
  <a:themeElements>
    <a:clrScheme name="PitchDeck - Regular">
      <a:dk1>
        <a:srgbClr val="333333"/>
      </a:dk1>
      <a:lt1>
        <a:srgbClr val="F4F4F4"/>
      </a:lt1>
      <a:dk2>
        <a:srgbClr val="5CBEB6"/>
      </a:dk2>
      <a:lt2>
        <a:srgbClr val="69C9BF"/>
      </a:lt2>
      <a:accent1>
        <a:srgbClr val="37485D"/>
      </a:accent1>
      <a:accent2>
        <a:srgbClr val="41596D"/>
      </a:accent2>
      <a:accent3>
        <a:srgbClr val="E59428"/>
      </a:accent3>
      <a:accent4>
        <a:srgbClr val="E7A556"/>
      </a:accent4>
      <a:accent5>
        <a:srgbClr val="7D3F65"/>
      </a:accent5>
      <a:accent6>
        <a:srgbClr val="814974"/>
      </a:accent6>
      <a:hlink>
        <a:srgbClr val="3E1F32"/>
      </a:hlink>
      <a:folHlink>
        <a:srgbClr val="5D2F4B"/>
      </a:folHlink>
    </a:clrScheme>
    <a:fontScheme name="Pitch Deck">
      <a:majorFont>
        <a:latin typeface="Aleo"/>
        <a:ea typeface="Helvetica"/>
        <a:cs typeface="Helvetica"/>
      </a:majorFont>
      <a:minorFont>
        <a:latin typeface="Lato"/>
        <a:ea typeface="Helvetica"/>
        <a:cs typeface="Helvetic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tx2"/>
        </a:solidFill>
        <a:ln>
          <a:noFill/>
        </a:ln>
        <a:effectLst/>
        <a:extLst/>
      </a:spPr>
      <a:bodyPr lIns="0" tIns="0" rIns="0" bIns="0" anchor="ctr"/>
      <a:lstStyle>
        <a:defPPr>
          <a:defRPr sz="4000">
            <a:solidFill>
              <a:srgbClr val="FFFFFF"/>
            </a:solidFill>
            <a:effectLst>
              <a:outerShdw blurRad="38100" dist="38100" dir="2700000" algn="tl">
                <a:srgbClr val="000000"/>
              </a:outerShdw>
            </a:effectLst>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bodyPr>
      <a:lstStyle>
        <a:defPPr marL="342900" marR="0" indent="0" algn="ctr" defTabSz="825500" rtl="0" eaLnBrk="1" fontAlgn="base" latinLnBrk="0" hangingPunct="0">
          <a:lnSpc>
            <a:spcPct val="100000"/>
          </a:lnSpc>
          <a:spcBef>
            <a:spcPct val="0"/>
          </a:spcBef>
          <a:spcAft>
            <a:spcPct val="0"/>
          </a:spcAft>
          <a:buClrTx/>
          <a:buSzTx/>
          <a:buFontTx/>
          <a:buNone/>
          <a:tabLst/>
          <a:defRPr kumimoji="0" lang="en-US" sz="5600" b="0" i="0" u="none" strike="noStrike" cap="none" normalizeH="0" baseline="0" smtClean="0">
            <a:ln>
              <a:noFill/>
            </a:ln>
            <a:solidFill>
              <a:srgbClr val="000000"/>
            </a:solidFill>
            <a:effectLst/>
            <a:latin typeface="Gill Sans" charset="0"/>
            <a:ea typeface="Gill Sans" charset="0"/>
            <a:cs typeface="Gill Sans" charset="0"/>
            <a:sym typeface="Gill Sans" charset="0"/>
          </a:defRPr>
        </a:defPPr>
      </a:lstStyle>
    </a:lnDef>
    <a:txDef>
      <a:spPr>
        <a:noFill/>
      </a:spPr>
      <a:bodyPr wrap="square" rtlCol="0">
        <a:spAutoFit/>
      </a:bodyPr>
      <a:lstStyle>
        <a:defPPr algn="l">
          <a:defRPr sz="3200" dirty="0" smtClean="0">
            <a:solidFill>
              <a:schemeClr val="tx1"/>
            </a:solidFill>
            <a:latin typeface="Lato Light" panose="020F0302020204030203" pitchFamily="34" charset="0"/>
            <a:ea typeface="Lato Light" panose="020F0302020204030203" pitchFamily="34" charset="0"/>
            <a:cs typeface="Lato Light" panose="020F0302020204030203" pitchFamily="34" charset="0"/>
          </a:defRPr>
        </a:defPPr>
      </a:lstStyle>
    </a:txDef>
  </a:objectDefaults>
  <a:extraClrSchemeLst/>
  <a:extLst>
    <a:ext uri="{05A4C25C-085E-4340-85A3-A5531E510DB2}">
      <thm15:themeFamily xmlns:thm15="http://schemas.microsoft.com/office/thememl/2012/main" xmlns="" name="Theme1" id="{7208066F-19C8-483D-B31C-9E57DED5542C}" vid="{F0B5F4A7-0125-4C3A-AAF5-9E68DB261BCF}"/>
    </a:ext>
  </a:extLst>
</a:theme>
</file>

<file path=ppt/theme/theme2.xml><?xml version="1.0" encoding="utf-8"?>
<a:theme xmlns:a="http://schemas.openxmlformats.org/drawingml/2006/main" name="Blue Theme">
  <a:themeElements>
    <a:clrScheme name="PitchDeck - Blue">
      <a:dk1>
        <a:srgbClr val="333333"/>
      </a:dk1>
      <a:lt1>
        <a:srgbClr val="F4F4F4"/>
      </a:lt1>
      <a:dk2>
        <a:srgbClr val="0068C4"/>
      </a:dk2>
      <a:lt2>
        <a:srgbClr val="0086EA"/>
      </a:lt2>
      <a:accent1>
        <a:srgbClr val="0086EA"/>
      </a:accent1>
      <a:accent2>
        <a:srgbClr val="0097F4"/>
      </a:accent2>
      <a:accent3>
        <a:srgbClr val="004B8D"/>
      </a:accent3>
      <a:accent4>
        <a:srgbClr val="0068C4"/>
      </a:accent4>
      <a:accent5>
        <a:srgbClr val="3C7CBA"/>
      </a:accent5>
      <a:accent6>
        <a:srgbClr val="4999D8"/>
      </a:accent6>
      <a:hlink>
        <a:srgbClr val="3D7CBB"/>
      </a:hlink>
      <a:folHlink>
        <a:srgbClr val="50A6EB"/>
      </a:folHlink>
    </a:clrScheme>
    <a:fontScheme name="Pitch Deck">
      <a:majorFont>
        <a:latin typeface="Aleo"/>
        <a:ea typeface="Helvetica"/>
        <a:cs typeface="Helvetica"/>
      </a:majorFont>
      <a:minorFont>
        <a:latin typeface="Lato"/>
        <a:ea typeface="Helvetica"/>
        <a:cs typeface="Helvetic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rgbClr val="7B3B65"/>
        </a:solidFill>
        <a:ln>
          <a:noFill/>
        </a:ln>
        <a:effectLst/>
        <a:extLst/>
      </a:spPr>
      <a:bodyPr lIns="50800" tIns="50800" rIns="50800" bIns="50800" rtlCol="0" anchor="ctr"/>
      <a:lstStyle>
        <a:defPPr algn="l">
          <a:defRPr sz="3200" dirty="0" err="1">
            <a:solidFill>
              <a:srgbClr val="333333"/>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bodyPr>
      <a:lstStyle>
        <a:defPPr marL="342900" marR="0" indent="0" algn="ctr" defTabSz="825500" rtl="0" eaLnBrk="1" fontAlgn="base" latinLnBrk="0" hangingPunct="0">
          <a:lnSpc>
            <a:spcPct val="100000"/>
          </a:lnSpc>
          <a:spcBef>
            <a:spcPct val="0"/>
          </a:spcBef>
          <a:spcAft>
            <a:spcPct val="0"/>
          </a:spcAft>
          <a:buClrTx/>
          <a:buSzTx/>
          <a:buFontTx/>
          <a:buNone/>
          <a:tabLst/>
          <a:defRPr kumimoji="0" lang="en-US" sz="5600" b="0" i="0" u="none" strike="noStrike" cap="none" normalizeH="0" baseline="0" smtClean="0">
            <a:ln>
              <a:noFill/>
            </a:ln>
            <a:solidFill>
              <a:srgbClr val="000000"/>
            </a:solidFill>
            <a:effectLst/>
            <a:latin typeface="Gill Sans" charset="0"/>
            <a:ea typeface="Gill Sans" charset="0"/>
            <a:cs typeface="Gill Sans" charset="0"/>
            <a:sym typeface="Gill Sans" charset="0"/>
          </a:defRPr>
        </a:defPPr>
      </a:lstStyle>
    </a:lnDef>
    <a:txDef>
      <a:spPr>
        <a:noFill/>
      </a:spPr>
      <a:bodyPr wrap="none" rtlCol="0">
        <a:spAutoFit/>
      </a:bodyPr>
      <a:lstStyle>
        <a:defPPr>
          <a:defRPr sz="3200" dirty="0" err="1">
            <a:solidFill>
              <a:srgbClr val="333333"/>
            </a:solidFill>
            <a:latin typeface="Lato Light" panose="020F0302020204030203" pitchFamily="34" charset="0"/>
            <a:ea typeface="Lato Light" panose="020F0302020204030203" pitchFamily="34" charset="0"/>
            <a:cs typeface="Lato Light" panose="020F0302020204030203" pitchFamily="34" charset="0"/>
          </a:defRPr>
        </a:defPPr>
      </a:lstStyle>
    </a:txDef>
  </a:objectDefaults>
  <a:extraClrSchemeLst/>
  <a:extLst>
    <a:ext uri="{05A4C25C-085E-4340-85A3-A5531E510DB2}">
      <thm15:themeFamily xmlns:thm15="http://schemas.microsoft.com/office/thememl/2012/main" xmlns="" name="blue" id="{4EED1AF0-C81C-4A50-B625-EE9D814D3763}" vid="{F94FDB15-82B6-4EFB-A280-FFD4E62A48A8}"/>
    </a:ext>
  </a:extLst>
</a:theme>
</file>

<file path=ppt/theme/theme3.xml><?xml version="1.0" encoding="utf-8"?>
<a:theme xmlns:a="http://schemas.openxmlformats.org/drawingml/2006/main" name="Red Theme">
  <a:themeElements>
    <a:clrScheme name="PitchDeck - Red">
      <a:dk1>
        <a:srgbClr val="333333"/>
      </a:dk1>
      <a:lt1>
        <a:srgbClr val="F4F4F4"/>
      </a:lt1>
      <a:dk2>
        <a:srgbClr val="B70016"/>
      </a:dk2>
      <a:lt2>
        <a:srgbClr val="E00030"/>
      </a:lt2>
      <a:accent1>
        <a:srgbClr val="CE1B28"/>
      </a:accent1>
      <a:accent2>
        <a:srgbClr val="ED1C24"/>
      </a:accent2>
      <a:accent3>
        <a:srgbClr val="8C0000"/>
      </a:accent3>
      <a:accent4>
        <a:srgbClr val="C10000"/>
      </a:accent4>
      <a:accent5>
        <a:srgbClr val="B73E3E"/>
      </a:accent5>
      <a:accent6>
        <a:srgbClr val="D64C4C"/>
      </a:accent6>
      <a:hlink>
        <a:srgbClr val="B70016"/>
      </a:hlink>
      <a:folHlink>
        <a:srgbClr val="E00030"/>
      </a:folHlink>
    </a:clrScheme>
    <a:fontScheme name="Pitch Deck">
      <a:majorFont>
        <a:latin typeface="Aleo"/>
        <a:ea typeface="Helvetica"/>
        <a:cs typeface="Helvetica"/>
      </a:majorFont>
      <a:minorFont>
        <a:latin typeface="Lato"/>
        <a:ea typeface="Helvetica"/>
        <a:cs typeface="Helvetic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rgbClr val="7B3B65"/>
        </a:solidFill>
        <a:ln>
          <a:noFill/>
        </a:ln>
        <a:effectLst/>
        <a:extLst/>
      </a:spPr>
      <a:bodyPr lIns="50800" tIns="50800" rIns="50800" bIns="50800" rtlCol="0" anchor="ctr"/>
      <a:lstStyle>
        <a:defPPr algn="l">
          <a:defRPr sz="3200" dirty="0" err="1">
            <a:solidFill>
              <a:srgbClr val="333333"/>
            </a:solidFill>
            <a:latin typeface="Lato Light" panose="020F0302020204030203" pitchFamily="34" charset="0"/>
            <a:ea typeface="Lato Light" panose="020F0302020204030203" pitchFamily="34" charset="0"/>
            <a:cs typeface="Lato Light" panose="020F0302020204030203" pitchFamily="34" charset="0"/>
            <a:sym typeface="Lato Light" panose="020F0302020204030203" pitchFamily="34"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bodyPr>
      <a:lstStyle>
        <a:defPPr marL="342900" marR="0" indent="0" algn="ctr" defTabSz="825500" rtl="0" eaLnBrk="1" fontAlgn="base" latinLnBrk="0" hangingPunct="0">
          <a:lnSpc>
            <a:spcPct val="100000"/>
          </a:lnSpc>
          <a:spcBef>
            <a:spcPct val="0"/>
          </a:spcBef>
          <a:spcAft>
            <a:spcPct val="0"/>
          </a:spcAft>
          <a:buClrTx/>
          <a:buSzTx/>
          <a:buFontTx/>
          <a:buNone/>
          <a:tabLst/>
          <a:defRPr kumimoji="0" lang="en-US" sz="5600" b="0" i="0" u="none" strike="noStrike" cap="none" normalizeH="0" baseline="0" smtClean="0">
            <a:ln>
              <a:noFill/>
            </a:ln>
            <a:solidFill>
              <a:srgbClr val="000000"/>
            </a:solidFill>
            <a:effectLst/>
            <a:latin typeface="Gill Sans" charset="0"/>
            <a:ea typeface="Gill Sans" charset="0"/>
            <a:cs typeface="Gill Sans" charset="0"/>
            <a:sym typeface="Gill Sans" charset="0"/>
          </a:defRPr>
        </a:defPPr>
      </a:lstStyle>
    </a:lnDef>
    <a:txDef>
      <a:spPr>
        <a:noFill/>
      </a:spPr>
      <a:bodyPr wrap="none" rtlCol="0">
        <a:spAutoFit/>
      </a:bodyPr>
      <a:lstStyle>
        <a:defPPr>
          <a:defRPr sz="3200" dirty="0" err="1">
            <a:solidFill>
              <a:srgbClr val="333333"/>
            </a:solidFill>
            <a:latin typeface="Lato Light" panose="020F0302020204030203" pitchFamily="34" charset="0"/>
            <a:ea typeface="Lato Light" panose="020F0302020204030203" pitchFamily="34" charset="0"/>
            <a:cs typeface="Lato Light" panose="020F0302020204030203" pitchFamily="34" charset="0"/>
          </a:defRPr>
        </a:defPPr>
      </a:lstStyle>
    </a:txDef>
  </a:objectDefaults>
  <a:extraClrSchemeLst/>
  <a:extLst>
    <a:ext uri="{05A4C25C-085E-4340-85A3-A5531E510DB2}">
      <thm15:themeFamily xmlns:thm15="http://schemas.microsoft.com/office/thememl/2012/main" xmlns="" name="red" id="{8B9A302C-2879-4F11-B0A9-02A5A0F40D5A}" vid="{55ACE8DA-1D88-465E-A019-501BAAD00D83}"/>
    </a:ext>
  </a:extLst>
</a:theme>
</file>

<file path=ppt/theme/theme4.xml><?xml version="1.0" encoding="utf-8"?>
<a:theme xmlns:a="http://schemas.openxmlformats.org/drawingml/2006/main" name="3_Office Theme">
  <a:themeElements>
    <a:clrScheme name="Custom 54">
      <a:dk1>
        <a:sysClr val="windowText" lastClr="000000"/>
      </a:dk1>
      <a:lt1>
        <a:sysClr val="window" lastClr="FFFFFF"/>
      </a:lt1>
      <a:dk2>
        <a:srgbClr val="7F7F7F"/>
      </a:dk2>
      <a:lt2>
        <a:srgbClr val="F3F3F3"/>
      </a:lt2>
      <a:accent1>
        <a:srgbClr val="306EAB"/>
      </a:accent1>
      <a:accent2>
        <a:srgbClr val="CE202A"/>
      </a:accent2>
      <a:accent3>
        <a:srgbClr val="219D0D"/>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heme1.thmx</Template>
  <TotalTime>23316</TotalTime>
  <Words>1902</Words>
  <Application>Microsoft Macintosh PowerPoint</Application>
  <PresentationFormat>Personnalisé</PresentationFormat>
  <Paragraphs>402</Paragraphs>
  <Slides>23</Slides>
  <Notes>23</Notes>
  <HiddenSlides>0</HiddenSlides>
  <MMClips>0</MMClips>
  <ScaleCrop>false</ScaleCrop>
  <HeadingPairs>
    <vt:vector size="4" baseType="variant">
      <vt:variant>
        <vt:lpstr>Thème</vt:lpstr>
      </vt:variant>
      <vt:variant>
        <vt:i4>4</vt:i4>
      </vt:variant>
      <vt:variant>
        <vt:lpstr>Titres des diapositives</vt:lpstr>
      </vt:variant>
      <vt:variant>
        <vt:i4>23</vt:i4>
      </vt:variant>
    </vt:vector>
  </HeadingPairs>
  <TitlesOfParts>
    <vt:vector size="27" baseType="lpstr">
      <vt:lpstr>Regular Theme</vt:lpstr>
      <vt:lpstr>Blue Theme</vt:lpstr>
      <vt:lpstr>Red Theme</vt:lpstr>
      <vt:lpstr>3_Office Theme</vt:lpstr>
      <vt:lpstr>Before we start</vt:lpstr>
      <vt:lpstr>Diapositive 2</vt:lpstr>
      <vt:lpstr>Eye2Scan Team</vt:lpstr>
      <vt:lpstr>The internal auditing headache</vt:lpstr>
      <vt:lpstr>Market validation</vt:lpstr>
      <vt:lpstr>Our solution</vt:lpstr>
      <vt:lpstr>Product overview</vt:lpstr>
      <vt:lpstr>Our advantages</vt:lpstr>
      <vt:lpstr>Market size</vt:lpstr>
      <vt:lpstr>Competitors analysis</vt:lpstr>
      <vt:lpstr>Value Curve – the CFO vision</vt:lpstr>
      <vt:lpstr>Sales forecast</vt:lpstr>
      <vt:lpstr>Diapositive 13</vt:lpstr>
      <vt:lpstr>Business model</vt:lpstr>
      <vt:lpstr>5 year plan</vt:lpstr>
      <vt:lpstr>Business Plan</vt:lpstr>
      <vt:lpstr>Investing strategy (3 rounds)</vt:lpstr>
      <vt:lpstr>Customer testimony</vt:lpstr>
      <vt:lpstr>Diapositive 19</vt:lpstr>
      <vt:lpstr>Diapositive 20</vt:lpstr>
      <vt:lpstr>Product pricing</vt:lpstr>
      <vt:lpstr>Five Year Roadmap Vision – Eye2Scan</vt:lpstr>
      <vt:lpstr>Market Milestones</vt:lpstr>
    </vt:vector>
  </TitlesOfParts>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tchDeck Premium</dc:title>
  <dc:creator>imprv</dc:creator>
  <cp:lastModifiedBy>CHAUVET</cp:lastModifiedBy>
  <cp:revision>517</cp:revision>
  <cp:lastPrinted>2016-05-30T12:56:26Z</cp:lastPrinted>
  <dcterms:created xsi:type="dcterms:W3CDTF">2015-04-13T09:23:02Z</dcterms:created>
  <dcterms:modified xsi:type="dcterms:W3CDTF">2016-11-13T11:31:55Z</dcterms:modified>
</cp:coreProperties>
</file>